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1.xml" ContentType="application/vnd.openxmlformats-officedocument.drawingml.chart+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xml" ContentType="application/vnd.openxmlformats-officedocument.presentationml.tags+xml"/>
  <Override PartName="/ppt/notesSlides/notesSlide46.xml" ContentType="application/vnd.openxmlformats-officedocument.presentationml.notesSlide+xml"/>
  <Override PartName="/ppt/tags/tag9.xml" ContentType="application/vnd.openxmlformats-officedocument.presentationml.tags+xml"/>
  <Override PartName="/ppt/notesSlides/notesSlide4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0.xml" ContentType="application/vnd.openxmlformats-officedocument.presentationml.tags+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09"/>
  </p:notesMasterIdLst>
  <p:sldIdLst>
    <p:sldId id="277" r:id="rId2"/>
    <p:sldId id="568" r:id="rId3"/>
    <p:sldId id="570" r:id="rId4"/>
    <p:sldId id="260" r:id="rId5"/>
    <p:sldId id="369" r:id="rId6"/>
    <p:sldId id="368" r:id="rId7"/>
    <p:sldId id="364" r:id="rId8"/>
    <p:sldId id="357" r:id="rId9"/>
    <p:sldId id="370" r:id="rId10"/>
    <p:sldId id="378" r:id="rId11"/>
    <p:sldId id="475" r:id="rId12"/>
    <p:sldId id="498" r:id="rId13"/>
    <p:sldId id="497" r:id="rId14"/>
    <p:sldId id="367" r:id="rId15"/>
    <p:sldId id="297" r:id="rId16"/>
    <p:sldId id="477" r:id="rId17"/>
    <p:sldId id="422" r:id="rId18"/>
    <p:sldId id="525" r:id="rId19"/>
    <p:sldId id="423" r:id="rId20"/>
    <p:sldId id="424" r:id="rId21"/>
    <p:sldId id="425" r:id="rId22"/>
    <p:sldId id="426" r:id="rId23"/>
    <p:sldId id="427" r:id="rId24"/>
    <p:sldId id="428" r:id="rId25"/>
    <p:sldId id="429" r:id="rId26"/>
    <p:sldId id="430" r:id="rId27"/>
    <p:sldId id="431" r:id="rId28"/>
    <p:sldId id="432" r:id="rId29"/>
    <p:sldId id="345" r:id="rId30"/>
    <p:sldId id="415" r:id="rId31"/>
    <p:sldId id="531" r:id="rId32"/>
    <p:sldId id="533" r:id="rId33"/>
    <p:sldId id="433" r:id="rId34"/>
    <p:sldId id="526" r:id="rId35"/>
    <p:sldId id="527" r:id="rId36"/>
    <p:sldId id="528" r:id="rId37"/>
    <p:sldId id="534" r:id="rId38"/>
    <p:sldId id="529" r:id="rId39"/>
    <p:sldId id="535" r:id="rId40"/>
    <p:sldId id="343" r:id="rId41"/>
    <p:sldId id="436" r:id="rId42"/>
    <p:sldId id="437" r:id="rId43"/>
    <p:sldId id="478" r:id="rId44"/>
    <p:sldId id="312" r:id="rId45"/>
    <p:sldId id="479" r:id="rId46"/>
    <p:sldId id="515" r:id="rId47"/>
    <p:sldId id="349" r:id="rId48"/>
    <p:sldId id="516" r:id="rId49"/>
    <p:sldId id="493" r:id="rId50"/>
    <p:sldId id="488" r:id="rId51"/>
    <p:sldId id="489" r:id="rId52"/>
    <p:sldId id="490" r:id="rId53"/>
    <p:sldId id="481" r:id="rId54"/>
    <p:sldId id="576" r:id="rId55"/>
    <p:sldId id="540" r:id="rId56"/>
    <p:sldId id="538" r:id="rId57"/>
    <p:sldId id="577" r:id="rId58"/>
    <p:sldId id="574" r:id="rId59"/>
    <p:sldId id="573" r:id="rId60"/>
    <p:sldId id="539" r:id="rId61"/>
    <p:sldId id="572" r:id="rId62"/>
    <p:sldId id="519" r:id="rId63"/>
    <p:sldId id="482" r:id="rId64"/>
    <p:sldId id="483" r:id="rId65"/>
    <p:sldId id="484" r:id="rId66"/>
    <p:sldId id="485" r:id="rId67"/>
    <p:sldId id="486" r:id="rId68"/>
    <p:sldId id="487" r:id="rId69"/>
    <p:sldId id="491" r:id="rId70"/>
    <p:sldId id="520" r:id="rId71"/>
    <p:sldId id="521" r:id="rId72"/>
    <p:sldId id="517" r:id="rId73"/>
    <p:sldId id="518" r:id="rId74"/>
    <p:sldId id="524" r:id="rId75"/>
    <p:sldId id="508" r:id="rId76"/>
    <p:sldId id="492" r:id="rId77"/>
    <p:sldId id="536" r:id="rId78"/>
    <p:sldId id="494" r:id="rId79"/>
    <p:sldId id="496" r:id="rId80"/>
    <p:sldId id="499" r:id="rId81"/>
    <p:sldId id="541" r:id="rId82"/>
    <p:sldId id="500" r:id="rId83"/>
    <p:sldId id="502" r:id="rId84"/>
    <p:sldId id="542" r:id="rId85"/>
    <p:sldId id="503" r:id="rId86"/>
    <p:sldId id="501" r:id="rId87"/>
    <p:sldId id="543" r:id="rId88"/>
    <p:sldId id="547" r:id="rId89"/>
    <p:sldId id="552" r:id="rId90"/>
    <p:sldId id="548" r:id="rId91"/>
    <p:sldId id="553" r:id="rId92"/>
    <p:sldId id="549" r:id="rId93"/>
    <p:sldId id="551" r:id="rId94"/>
    <p:sldId id="554" r:id="rId95"/>
    <p:sldId id="546" r:id="rId96"/>
    <p:sldId id="559" r:id="rId97"/>
    <p:sldId id="560" r:id="rId98"/>
    <p:sldId id="561" r:id="rId99"/>
    <p:sldId id="562" r:id="rId100"/>
    <p:sldId id="545" r:id="rId101"/>
    <p:sldId id="565" r:id="rId102"/>
    <p:sldId id="556" r:id="rId103"/>
    <p:sldId id="557" r:id="rId104"/>
    <p:sldId id="566" r:id="rId105"/>
    <p:sldId id="567" r:id="rId106"/>
    <p:sldId id="571" r:id="rId107"/>
    <p:sldId id="307" r:id="rId108"/>
  </p:sldIdLst>
  <p:sldSz cx="9144000" cy="6858000" type="screen4x3"/>
  <p:notesSz cx="6858000" cy="9144000"/>
  <p:defaultTextStyle>
    <a:defPPr>
      <a:defRPr lang="pt-BR"/>
    </a:defPPr>
    <a:lvl1pPr marL="0" algn="l" defTabSz="914400" rtl="0" eaLnBrk="1" latinLnBrk="0" hangingPunct="1">
      <a:defRPr lang="pt-BR" sz="1800" kern="1200">
        <a:solidFill>
          <a:schemeClr val="tx1"/>
        </a:solidFill>
        <a:latin typeface="+mn-lt"/>
        <a:ea typeface="+mn-ea"/>
        <a:cs typeface="+mn-cs"/>
      </a:defRPr>
    </a:lvl1pPr>
    <a:lvl2pPr marL="457200" algn="l" defTabSz="914400" rtl="0" eaLnBrk="1" latinLnBrk="0" hangingPunct="1">
      <a:defRPr lang="pt-BR" sz="1800" kern="1200">
        <a:solidFill>
          <a:schemeClr val="tx1"/>
        </a:solidFill>
        <a:latin typeface="+mn-lt"/>
        <a:ea typeface="+mn-ea"/>
        <a:cs typeface="+mn-cs"/>
      </a:defRPr>
    </a:lvl2pPr>
    <a:lvl3pPr marL="914400" algn="l" defTabSz="914400" rtl="0" eaLnBrk="1" latinLnBrk="0" hangingPunct="1">
      <a:defRPr lang="pt-BR" sz="1800" kern="1200">
        <a:solidFill>
          <a:schemeClr val="tx1"/>
        </a:solidFill>
        <a:latin typeface="+mn-lt"/>
        <a:ea typeface="+mn-ea"/>
        <a:cs typeface="+mn-cs"/>
      </a:defRPr>
    </a:lvl3pPr>
    <a:lvl4pPr marL="1371600" algn="l" defTabSz="914400" rtl="0" eaLnBrk="1" latinLnBrk="0" hangingPunct="1">
      <a:defRPr lang="pt-BR" sz="1800" kern="1200">
        <a:solidFill>
          <a:schemeClr val="tx1"/>
        </a:solidFill>
        <a:latin typeface="+mn-lt"/>
        <a:ea typeface="+mn-ea"/>
        <a:cs typeface="+mn-cs"/>
      </a:defRPr>
    </a:lvl4pPr>
    <a:lvl5pPr marL="1828800" algn="l" defTabSz="914400" rtl="0" eaLnBrk="1" latinLnBrk="0" hangingPunct="1">
      <a:defRPr lang="pt-BR" sz="1800" kern="1200">
        <a:solidFill>
          <a:schemeClr val="tx1"/>
        </a:solidFill>
        <a:latin typeface="+mn-lt"/>
        <a:ea typeface="+mn-ea"/>
        <a:cs typeface="+mn-cs"/>
      </a:defRPr>
    </a:lvl5pPr>
    <a:lvl6pPr marL="2286000" algn="l" defTabSz="914400" rtl="0" eaLnBrk="1" latinLnBrk="0" hangingPunct="1">
      <a:defRPr lang="pt-BR" sz="1800" kern="1200">
        <a:solidFill>
          <a:schemeClr val="tx1"/>
        </a:solidFill>
        <a:latin typeface="+mn-lt"/>
        <a:ea typeface="+mn-ea"/>
        <a:cs typeface="+mn-cs"/>
      </a:defRPr>
    </a:lvl6pPr>
    <a:lvl7pPr marL="2743200" algn="l" defTabSz="914400" rtl="0" eaLnBrk="1" latinLnBrk="0" hangingPunct="1">
      <a:defRPr lang="pt-BR" sz="1800" kern="1200">
        <a:solidFill>
          <a:schemeClr val="tx1"/>
        </a:solidFill>
        <a:latin typeface="+mn-lt"/>
        <a:ea typeface="+mn-ea"/>
        <a:cs typeface="+mn-cs"/>
      </a:defRPr>
    </a:lvl7pPr>
    <a:lvl8pPr marL="3200400" algn="l" defTabSz="914400" rtl="0" eaLnBrk="1" latinLnBrk="0" hangingPunct="1">
      <a:defRPr lang="pt-BR" sz="1800" kern="1200">
        <a:solidFill>
          <a:schemeClr val="tx1"/>
        </a:solidFill>
        <a:latin typeface="+mn-lt"/>
        <a:ea typeface="+mn-ea"/>
        <a:cs typeface="+mn-cs"/>
      </a:defRPr>
    </a:lvl8pPr>
    <a:lvl9pPr marL="3657600" algn="l" defTabSz="914400" rtl="0" eaLnBrk="1" latinLnBrk="0" hangingPunct="1">
      <a:defRPr lang="pt-B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ção" id="{CB6BBEF7-9717-4733-A929-535518E6EBF6}">
          <p14:sldIdLst>
            <p14:sldId id="277"/>
          </p14:sldIdLst>
        </p14:section>
        <p14:section name="Crie sua Apresentação" id="{16378913-E5ED-4281-BAF5-F1F938CB0BED}">
          <p14:sldIdLst>
            <p14:sldId id="568"/>
            <p14:sldId id="570"/>
            <p14:sldId id="260"/>
            <p14:sldId id="369"/>
            <p14:sldId id="368"/>
            <p14:sldId id="364"/>
            <p14:sldId id="357"/>
            <p14:sldId id="370"/>
            <p14:sldId id="378"/>
            <p14:sldId id="475"/>
            <p14:sldId id="498"/>
            <p14:sldId id="497"/>
            <p14:sldId id="367"/>
            <p14:sldId id="297"/>
            <p14:sldId id="477"/>
            <p14:sldId id="422"/>
            <p14:sldId id="525"/>
            <p14:sldId id="423"/>
            <p14:sldId id="424"/>
            <p14:sldId id="425"/>
            <p14:sldId id="426"/>
            <p14:sldId id="427"/>
            <p14:sldId id="428"/>
            <p14:sldId id="429"/>
            <p14:sldId id="430"/>
            <p14:sldId id="431"/>
            <p14:sldId id="432"/>
            <p14:sldId id="345"/>
            <p14:sldId id="415"/>
            <p14:sldId id="531"/>
            <p14:sldId id="533"/>
            <p14:sldId id="433"/>
            <p14:sldId id="526"/>
            <p14:sldId id="527"/>
            <p14:sldId id="528"/>
            <p14:sldId id="534"/>
            <p14:sldId id="529"/>
            <p14:sldId id="535"/>
            <p14:sldId id="343"/>
            <p14:sldId id="436"/>
            <p14:sldId id="437"/>
            <p14:sldId id="478"/>
            <p14:sldId id="312"/>
            <p14:sldId id="479"/>
            <p14:sldId id="515"/>
            <p14:sldId id="349"/>
            <p14:sldId id="516"/>
            <p14:sldId id="493"/>
            <p14:sldId id="488"/>
            <p14:sldId id="489"/>
            <p14:sldId id="490"/>
            <p14:sldId id="481"/>
            <p14:sldId id="576"/>
            <p14:sldId id="540"/>
            <p14:sldId id="538"/>
            <p14:sldId id="577"/>
            <p14:sldId id="574"/>
            <p14:sldId id="573"/>
            <p14:sldId id="539"/>
            <p14:sldId id="572"/>
            <p14:sldId id="519"/>
            <p14:sldId id="482"/>
            <p14:sldId id="483"/>
            <p14:sldId id="484"/>
            <p14:sldId id="485"/>
            <p14:sldId id="486"/>
            <p14:sldId id="487"/>
            <p14:sldId id="491"/>
            <p14:sldId id="520"/>
            <p14:sldId id="521"/>
            <p14:sldId id="517"/>
            <p14:sldId id="518"/>
            <p14:sldId id="524"/>
            <p14:sldId id="508"/>
            <p14:sldId id="492"/>
            <p14:sldId id="536"/>
            <p14:sldId id="494"/>
            <p14:sldId id="496"/>
            <p14:sldId id="499"/>
            <p14:sldId id="541"/>
            <p14:sldId id="500"/>
            <p14:sldId id="502"/>
            <p14:sldId id="542"/>
            <p14:sldId id="503"/>
            <p14:sldId id="501"/>
            <p14:sldId id="543"/>
            <p14:sldId id="547"/>
            <p14:sldId id="552"/>
            <p14:sldId id="548"/>
            <p14:sldId id="553"/>
            <p14:sldId id="549"/>
            <p14:sldId id="551"/>
            <p14:sldId id="554"/>
            <p14:sldId id="546"/>
            <p14:sldId id="559"/>
            <p14:sldId id="560"/>
            <p14:sldId id="561"/>
            <p14:sldId id="562"/>
            <p14:sldId id="545"/>
            <p14:sldId id="565"/>
            <p14:sldId id="556"/>
            <p14:sldId id="557"/>
            <p14:sldId id="566"/>
            <p14:sldId id="567"/>
            <p14:sldId id="571"/>
          </p14:sldIdLst>
        </p14:section>
        <p14:section name="Aprimore sua Apresentação" id="{E2D565D1-BA5E-44E6-A40E-50A644912248}">
          <p14:sldIdLst/>
        </p14:section>
        <p14:section name="Faça sua Apresentação" id="{71D59651-8EFA-4415-9623-98B4C4A8699C}">
          <p14:sldIdLst/>
        </p14:section>
        <p14:section name="Ainda Tem Mais!" id="{2E16B512-814A-4DC1-A986-25475E10E0EF}">
          <p14:sldIdLst>
            <p14:sldId id="30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91C201-B28E-44A7-89BC-E9E5B74A284B}" v="25" dt="2019-04-15T19:37:25.386"/>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62" autoAdjust="0"/>
    <p:restoredTop sz="89825" autoAdjust="0"/>
  </p:normalViewPr>
  <p:slideViewPr>
    <p:cSldViewPr>
      <p:cViewPr varScale="1">
        <p:scale>
          <a:sx n="102" d="100"/>
          <a:sy n="102" d="100"/>
        </p:scale>
        <p:origin x="660" y="96"/>
      </p:cViewPr>
      <p:guideLst>
        <p:guide orient="horz" pos="2160"/>
        <p:guide pos="2880"/>
      </p:guideLst>
    </p:cSldViewPr>
  </p:slideViewPr>
  <p:outlineViewPr>
    <p:cViewPr>
      <p:scale>
        <a:sx n="33" d="100"/>
        <a:sy n="33" d="100"/>
      </p:scale>
      <p:origin x="0" y="19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microsoft.com/office/2015/10/relationships/revisionInfo" Target="revisionInfo.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Heliton\Documents\NOVO\artigoaltura2511\Altura.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Trevisan01\Desktop\2011_Provas_24_11_completa_com_%20densidad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a:ea typeface="Arial"/>
                <a:cs typeface="Arial"/>
              </a:defRPr>
            </a:pPr>
            <a:r>
              <a:rPr lang="pt-BR"/>
              <a:t>Função de Verossimilhança para cada indivíduo</a:t>
            </a:r>
          </a:p>
        </c:rich>
      </c:tx>
      <c:layout>
        <c:manualLayout>
          <c:xMode val="edge"/>
          <c:yMode val="edge"/>
          <c:x val="0.19607878149089641"/>
          <c:y val="3.0567685589519705E-2"/>
        </c:manualLayout>
      </c:layout>
      <c:overlay val="0"/>
      <c:spPr>
        <a:noFill/>
        <a:ln w="25400">
          <a:noFill/>
        </a:ln>
      </c:spPr>
    </c:title>
    <c:autoTitleDeleted val="0"/>
    <c:plotArea>
      <c:layout>
        <c:manualLayout>
          <c:layoutTarget val="inner"/>
          <c:xMode val="edge"/>
          <c:yMode val="edge"/>
          <c:x val="7.843149770140441E-2"/>
          <c:y val="0.13537117903930132"/>
          <c:w val="0.82679870493563767"/>
          <c:h val="0.74017467248908619"/>
        </c:manualLayout>
      </c:layout>
      <c:scatterChart>
        <c:scatterStyle val="lineMarker"/>
        <c:varyColors val="0"/>
        <c:ser>
          <c:idx val="0"/>
          <c:order val="0"/>
          <c:tx>
            <c:strRef>
              <c:f>Calc!$D$6</c:f>
              <c:strCache>
                <c:ptCount val="1"/>
                <c:pt idx="0">
                  <c:v>1</c:v>
                </c:pt>
              </c:strCache>
            </c:strRef>
          </c:tx>
          <c:spPr>
            <a:ln w="28575">
              <a:noFill/>
            </a:ln>
          </c:spPr>
          <c:marker>
            <c:symbol val="circle"/>
            <c:size val="3"/>
            <c:spPr>
              <a:solidFill>
                <a:srgbClr val="000080"/>
              </a:solidFill>
              <a:ln>
                <a:solidFill>
                  <a:srgbClr val="000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D$7:$D$807</c:f>
              <c:numCache>
                <c:formatCode>000,000,000</c:formatCode>
                <c:ptCount val="801"/>
                <c:pt idx="0">
                  <c:v>7.9614210244097126E-17</c:v>
                </c:pt>
                <c:pt idx="1">
                  <c:v>8.7161602715598609E-17</c:v>
                </c:pt>
                <c:pt idx="2">
                  <c:v>9.5423937582449534E-17</c:v>
                </c:pt>
                <c:pt idx="3">
                  <c:v>1.0446887976948017E-16</c:v>
                </c:pt>
                <c:pt idx="4">
                  <c:v>1.1437049179925657E-16</c:v>
                </c:pt>
                <c:pt idx="5">
                  <c:v>1.252098379679315E-16</c:v>
                </c:pt>
                <c:pt idx="6">
                  <c:v>1.3707564550118978E-16</c:v>
                </c:pt>
                <c:pt idx="7">
                  <c:v>1.5006502805569374E-16</c:v>
                </c:pt>
                <c:pt idx="8">
                  <c:v>1.642842774356979E-16</c:v>
                </c:pt>
                <c:pt idx="9">
                  <c:v>1.7984972994615154E-16</c:v>
                </c:pt>
                <c:pt idx="10">
                  <c:v>1.9688871440688301E-16</c:v>
                </c:pt>
                <c:pt idx="11">
                  <c:v>2.15540589512353E-16</c:v>
                </c:pt>
                <c:pt idx="12">
                  <c:v>2.3595787894321489E-16</c:v>
                </c:pt>
                <c:pt idx="13">
                  <c:v>2.5830751342521409E-16</c:v>
                </c:pt>
                <c:pt idx="14">
                  <c:v>2.827721897943946E-16</c:v>
                </c:pt>
                <c:pt idx="15">
                  <c:v>3.0955185807158177E-16</c:v>
                </c:pt>
                <c:pt idx="16">
                  <c:v>3.3886534858189874E-16</c:v>
                </c:pt>
                <c:pt idx="17">
                  <c:v>3.70952152284136E-16</c:v>
                </c:pt>
                <c:pt idx="18">
                  <c:v>4.060743687099209E-16</c:v>
                </c:pt>
                <c:pt idx="19">
                  <c:v>4.4451883726303445E-16</c:v>
                </c:pt>
                <c:pt idx="20">
                  <c:v>4.8659946910611415E-16</c:v>
                </c:pt>
                <c:pt idx="21">
                  <c:v>5.3265979847700275E-16</c:v>
                </c:pt>
                <c:pt idx="22">
                  <c:v>5.8307577404292769E-16</c:v>
                </c:pt>
                <c:pt idx="23">
                  <c:v>6.3825881283180413E-16</c:v>
                </c:pt>
                <c:pt idx="24">
                  <c:v>6.9865914139153866E-16</c:v>
                </c:pt>
                <c:pt idx="25">
                  <c:v>7.6476945113682834E-16</c:v>
                </c:pt>
                <c:pt idx="26">
                  <c:v>8.3712889736773234E-16</c:v>
                </c:pt>
                <c:pt idx="27">
                  <c:v>9.1632747420416862E-16</c:v>
                </c:pt>
                <c:pt idx="28">
                  <c:v>1.0030108006985627E-15</c:v>
                </c:pt>
                <c:pt idx="29">
                  <c:v>1.0978853566881513E-15</c:v>
                </c:pt>
                <c:pt idx="30">
                  <c:v>1.2017242105559956E-15</c:v>
                </c:pt>
                <c:pt idx="31">
                  <c:v>1.3153732850134155E-15</c:v>
                </c:pt>
                <c:pt idx="32">
                  <c:v>1.439758211327821E-15</c:v>
                </c:pt>
                <c:pt idx="33">
                  <c:v>1.5758918271338127E-15</c:v>
                </c:pt>
                <c:pt idx="34">
                  <c:v>1.7248823781173056E-15</c:v>
                </c:pt>
                <c:pt idx="35">
                  <c:v>1.887942489495568E-15</c:v>
                </c:pt>
                <c:pt idx="36">
                  <c:v>2.0663989793728327E-15</c:v>
                </c:pt>
                <c:pt idx="37">
                  <c:v>2.2617035927811569E-15</c:v>
                </c:pt>
                <c:pt idx="38">
                  <c:v>2.4754447425733804E-15</c:v>
                </c:pt>
                <c:pt idx="39">
                  <c:v>2.7093603513755808E-15</c:v>
                </c:pt>
                <c:pt idx="40">
                  <c:v>2.9653518975945761E-15</c:v>
                </c:pt>
                <c:pt idx="41">
                  <c:v>3.2454997780836005E-15</c:v>
                </c:pt>
                <c:pt idx="42">
                  <c:v>3.5520801105654459E-15</c:v>
                </c:pt>
                <c:pt idx="43">
                  <c:v>3.8875831103877529E-15</c:v>
                </c:pt>
                <c:pt idx="44">
                  <c:v>4.2547331887245317E-15</c:v>
                </c:pt>
                <c:pt idx="45">
                  <c:v>4.6565109330396123E-15</c:v>
                </c:pt>
                <c:pt idx="46">
                  <c:v>5.0961771456053202E-15</c:v>
                </c:pt>
                <c:pt idx="47">
                  <c:v>5.5772991322307672E-15</c:v>
                </c:pt>
                <c:pt idx="48">
                  <c:v>6.1037794512381867E-15</c:v>
                </c:pt>
                <c:pt idx="49">
                  <c:v>6.6798873522629629E-15</c:v>
                </c:pt>
                <c:pt idx="50">
                  <c:v>7.3102931558017187E-15</c:v>
                </c:pt>
                <c:pt idx="51">
                  <c:v>8.0001058477610271E-15</c:v>
                </c:pt>
                <c:pt idx="52">
                  <c:v>8.7549141887413686E-15</c:v>
                </c:pt>
                <c:pt idx="53">
                  <c:v>9.580831665639283E-15</c:v>
                </c:pt>
                <c:pt idx="54">
                  <c:v>1.0484545643564497E-14</c:v>
                </c:pt>
                <c:pt idx="55">
                  <c:v>1.1473371109305701E-14</c:v>
                </c:pt>
                <c:pt idx="56">
                  <c:v>1.2555309433875888E-14</c:v>
                </c:pt>
                <c:pt idx="57">
                  <c:v>1.3739112621328734E-14</c:v>
                </c:pt>
                <c:pt idx="58">
                  <c:v>1.5034353554349136E-14</c:v>
                </c:pt>
                <c:pt idx="59">
                  <c:v>1.6451502794440982E-14</c:v>
                </c:pt>
                <c:pt idx="60">
                  <c:v>1.8002012546207786E-14</c:v>
                </c:pt>
                <c:pt idx="61">
                  <c:v>1.9698408451669118E-14</c:v>
                </c:pt>
                <c:pt idx="62">
                  <c:v>2.1554389942199233E-14</c:v>
                </c:pt>
                <c:pt idx="63">
                  <c:v>2.3584939942990461E-14</c:v>
                </c:pt>
                <c:pt idx="64">
                  <c:v>2.5806444798471183E-14</c:v>
                </c:pt>
                <c:pt idx="65">
                  <c:v>2.8236825367382443E-14</c:v>
                </c:pt>
                <c:pt idx="66">
                  <c:v>3.0895680323887817E-14</c:v>
                </c:pt>
                <c:pt idx="67">
                  <c:v>3.3804442796810307E-14</c:v>
                </c:pt>
                <c:pt idx="68">
                  <c:v>3.6986551583606762E-14</c:v>
                </c:pt>
                <c:pt idx="69">
                  <c:v>4.0467638289795784E-14</c:v>
                </c:pt>
                <c:pt idx="70">
                  <c:v>4.427573186914239E-14</c:v>
                </c:pt>
                <c:pt idx="71">
                  <c:v>4.8441482175893147E-14</c:v>
                </c:pt>
                <c:pt idx="72">
                  <c:v>5.2998404288837759E-14</c:v>
                </c:pt>
                <c:pt idx="73">
                  <c:v>5.7983145529018079E-14</c:v>
                </c:pt>
                <c:pt idx="74">
                  <c:v>6.3435777269826505E-14</c:v>
                </c:pt>
                <c:pt idx="75">
                  <c:v>6.9400113831294211E-14</c:v>
                </c:pt>
                <c:pt idx="76">
                  <c:v>7.5924060961112528E-14</c:v>
                </c:pt>
                <c:pt idx="77">
                  <c:v>8.3059996634917226E-14</c:v>
                </c:pt>
                <c:pt idx="78">
                  <c:v>9.0865187159320971E-14</c:v>
                </c:pt>
                <c:pt idx="79">
                  <c:v>9.9402241835089661E-14</c:v>
                </c:pt>
                <c:pt idx="80">
                  <c:v>1.0873960973667686E-13</c:v>
                </c:pt>
                <c:pt idx="81">
                  <c:v>1.1895212249040657E-13</c:v>
                </c:pt>
                <c:pt idx="82">
                  <c:v>1.3012158728937738E-13</c:v>
                </c:pt>
                <c:pt idx="83">
                  <c:v>1.4233743477125971E-13</c:v>
                </c:pt>
                <c:pt idx="84">
                  <c:v>1.5569742680857766E-13</c:v>
                </c:pt>
                <c:pt idx="85">
                  <c:v>1.7030842972293294E-13</c:v>
                </c:pt>
                <c:pt idx="86">
                  <c:v>1.8628725893845822E-13</c:v>
                </c:pt>
                <c:pt idx="87">
                  <c:v>2.0376160163920255E-13</c:v>
                </c:pt>
                <c:pt idx="88">
                  <c:v>2.2287102459454034E-13</c:v>
                </c:pt>
                <c:pt idx="89">
                  <c:v>2.4376807497014135E-13</c:v>
                </c:pt>
                <c:pt idx="90">
                  <c:v>2.6661948265483211E-13</c:v>
                </c:pt>
                <c:pt idx="91">
                  <c:v>2.9160747341070358E-13</c:v>
                </c:pt>
                <c:pt idx="92">
                  <c:v>3.1893120300117532E-13</c:v>
                </c:pt>
                <c:pt idx="93">
                  <c:v>3.4880832337547332E-13</c:v>
                </c:pt>
                <c:pt idx="94">
                  <c:v>3.8147669299505564E-13</c:v>
                </c:pt>
                <c:pt idx="95">
                  <c:v>4.1719624448522163E-13</c:v>
                </c:pt>
                <c:pt idx="96">
                  <c:v>4.5625102399179314E-13</c:v>
                </c:pt>
                <c:pt idx="97">
                  <c:v>4.9895141792684101E-13</c:v>
                </c:pt>
                <c:pt idx="98">
                  <c:v>5.4563658420863959E-13</c:v>
                </c:pt>
                <c:pt idx="99">
                  <c:v>5.966771066500342E-13</c:v>
                </c:pt>
                <c:pt idx="100">
                  <c:v>6.5247789283678832E-13</c:v>
                </c:pt>
                <c:pt idx="101">
                  <c:v>7.1348133767648883E-13</c:v>
                </c:pt>
                <c:pt idx="102">
                  <c:v>7.8017077680163506E-13</c:v>
                </c:pt>
                <c:pt idx="103">
                  <c:v>8.5307425619285563E-13</c:v>
                </c:pt>
                <c:pt idx="104">
                  <c:v>9.3276864676531839E-13</c:v>
                </c:pt>
                <c:pt idx="105">
                  <c:v>1.019884135250093E-12</c:v>
                </c:pt>
                <c:pt idx="106">
                  <c:v>1.1151091255220148E-12</c:v>
                </c:pt>
                <c:pt idx="107">
                  <c:v>1.2191955875956363E-12</c:v>
                </c:pt>
                <c:pt idx="108">
                  <c:v>1.3329648948540927E-12</c:v>
                </c:pt>
                <c:pt idx="109">
                  <c:v>1.4573141937152537E-12</c:v>
                </c:pt>
                <c:pt idx="110">
                  <c:v>1.5932233539019504E-12</c:v>
                </c:pt>
                <c:pt idx="111">
                  <c:v>1.74176255179585E-12</c:v>
                </c:pt>
                <c:pt idx="112">
                  <c:v>1.9041005440487738E-12</c:v>
                </c:pt>
                <c:pt idx="113">
                  <c:v>2.0815136937339503E-12</c:v>
                </c:pt>
                <c:pt idx="114">
                  <c:v>2.2753958168782203E-12</c:v>
                </c:pt>
                <c:pt idx="115">
                  <c:v>2.48726892326497E-12</c:v>
                </c:pt>
                <c:pt idx="116">
                  <c:v>2.718794931976991E-12</c:v>
                </c:pt>
                <c:pt idx="117">
                  <c:v>2.9717884493062157E-12</c:v>
                </c:pt>
                <c:pt idx="118">
                  <c:v>3.2482307044420853E-12</c:v>
                </c:pt>
                <c:pt idx="119">
                  <c:v>3.5502847468159859E-12</c:v>
                </c:pt>
                <c:pt idx="120">
                  <c:v>3.8803120181858966E-12</c:v>
                </c:pt>
                <c:pt idx="121">
                  <c:v>4.2408904225530866E-12</c:v>
                </c:pt>
                <c:pt idx="122">
                  <c:v>4.6348340278837219E-12</c:v>
                </c:pt>
                <c:pt idx="123">
                  <c:v>5.0652145454359407E-12</c:v>
                </c:pt>
                <c:pt idx="124">
                  <c:v>5.5353847453438311E-12</c:v>
                </c:pt>
                <c:pt idx="125">
                  <c:v>6.0490039810787924E-12</c:v>
                </c:pt>
                <c:pt idx="126">
                  <c:v>6.610066010582353E-12</c:v>
                </c:pt>
                <c:pt idx="127">
                  <c:v>7.2229293183498764E-12</c:v>
                </c:pt>
                <c:pt idx="128">
                  <c:v>7.8923501606500256E-12</c:v>
                </c:pt>
                <c:pt idx="129">
                  <c:v>8.6235185755095687E-12</c:v>
                </c:pt>
                <c:pt idx="130">
                  <c:v>9.4220976202095271E-12</c:v>
                </c:pt>
                <c:pt idx="131">
                  <c:v>1.029426612195894E-11</c:v>
                </c:pt>
                <c:pt idx="132">
                  <c:v>1.1246765252298312E-11</c:v>
                </c:pt>
                <c:pt idx="133">
                  <c:v>1.228694926278724E-11</c:v>
                </c:pt>
                <c:pt idx="134">
                  <c:v>1.3422840748837322E-11</c:v>
                </c:pt>
                <c:pt idx="135">
                  <c:v>1.4663190840342071E-11</c:v>
                </c:pt>
                <c:pt idx="136">
                  <c:v>1.6017544752242638E-11</c:v>
                </c:pt>
                <c:pt idx="137">
                  <c:v>1.749631316557037E-11</c:v>
                </c:pt>
                <c:pt idx="138">
                  <c:v>1.911084995006222E-11</c:v>
                </c:pt>
                <c:pt idx="139">
                  <c:v>2.0873536783413E-11</c:v>
                </c:pt>
                <c:pt idx="140">
                  <c:v>2.2797875269885562E-11</c:v>
                </c:pt>
                <c:pt idx="141">
                  <c:v>2.4898587212643719E-11</c:v>
                </c:pt>
                <c:pt idx="142">
                  <c:v>2.719172375013032E-11</c:v>
                </c:pt>
                <c:pt idx="143">
                  <c:v>2.9694784127424645E-11</c:v>
                </c:pt>
                <c:pt idx="144">
                  <c:v>3.2426844939158061E-11</c:v>
                </c:pt>
                <c:pt idx="145">
                  <c:v>3.540870075164601E-11</c:v>
                </c:pt>
                <c:pt idx="146">
                  <c:v>3.8663017088833946E-11</c:v>
                </c:pt>
                <c:pt idx="147">
                  <c:v>4.2214496849929365E-11</c:v>
                </c:pt>
                <c:pt idx="148">
                  <c:v>4.6090061316687941E-11</c:v>
                </c:pt>
                <c:pt idx="149">
                  <c:v>5.0319047005799027E-11</c:v>
                </c:pt>
                <c:pt idx="150">
                  <c:v>5.4933419727201645E-11</c:v>
                </c:pt>
                <c:pt idx="151">
                  <c:v>5.9968007323146424E-11</c:v>
                </c:pt>
                <c:pt idx="152">
                  <c:v>6.5460752685987584E-11</c:v>
                </c:pt>
                <c:pt idx="153">
                  <c:v>7.1452988785809706E-11</c:v>
                </c:pt>
                <c:pt idx="154">
                  <c:v>7.7989737582786304E-11</c:v>
                </c:pt>
                <c:pt idx="155">
                  <c:v>8.5120034854492558E-11</c:v>
                </c:pt>
                <c:pt idx="156">
                  <c:v>9.2897283136050168E-11</c:v>
                </c:pt>
                <c:pt idx="157">
                  <c:v>1.0137963515198719E-10</c:v>
                </c:pt>
                <c:pt idx="158">
                  <c:v>1.1063041031398172E-10</c:v>
                </c:pt>
                <c:pt idx="159">
                  <c:v>1.2071854706929327E-10</c:v>
                </c:pt>
                <c:pt idx="160">
                  <c:v>1.3171909411185864E-10</c:v>
                </c:pt>
                <c:pt idx="161">
                  <c:v>1.4371374371286434E-10</c:v>
                </c:pt>
                <c:pt idx="162">
                  <c:v>1.567914106914681E-10</c:v>
                </c:pt>
                <c:pt idx="163">
                  <c:v>1.7104886083056862E-10</c:v>
                </c:pt>
                <c:pt idx="164">
                  <c:v>1.8659139284853806E-10</c:v>
                </c:pt>
                <c:pt idx="165">
                  <c:v>2.0353357836731018E-10</c:v>
                </c:pt>
                <c:pt idx="166">
                  <c:v>2.2200006467161389E-10</c:v>
                </c:pt>
                <c:pt idx="167">
                  <c:v>2.4212644543539732E-10</c:v>
                </c:pt>
                <c:pt idx="168">
                  <c:v>2.6406020500133615E-10</c:v>
                </c:pt>
                <c:pt idx="169">
                  <c:v>2.8796174223974754E-10</c:v>
                </c:pt>
                <c:pt idx="170">
                  <c:v>3.1400548048635202E-10</c:v>
                </c:pt>
                <c:pt idx="171">
                  <c:v>3.4238107056624863E-10</c:v>
                </c:pt>
                <c:pt idx="172">
                  <c:v>3.732946944566161E-10</c:v>
                </c:pt>
                <c:pt idx="173">
                  <c:v>4.0697047772536437E-10</c:v>
                </c:pt>
                <c:pt idx="174">
                  <c:v>4.4365201950981553E-10</c:v>
                </c:pt>
                <c:pt idx="175">
                  <c:v>4.8360404947124311E-10</c:v>
                </c:pt>
                <c:pt idx="176">
                  <c:v>5.2711422188051544E-10</c:v>
                </c:pt>
                <c:pt idx="177">
                  <c:v>5.7449505776010993E-10</c:v>
                </c:pt>
                <c:pt idx="178">
                  <c:v>6.2608604683154871E-10</c:v>
                </c:pt>
                <c:pt idx="179">
                  <c:v>6.8225592189793759E-10</c:v>
                </c:pt>
                <c:pt idx="180">
                  <c:v>7.4340511923248299E-10</c:v>
                </c:pt>
                <c:pt idx="181">
                  <c:v>8.0996843954844616E-10</c:v>
                </c:pt>
                <c:pt idx="182">
                  <c:v>8.8241792519828832E-10</c:v>
                </c:pt>
                <c:pt idx="183">
                  <c:v>9.6126597039319944E-10</c:v>
                </c:pt>
                <c:pt idx="184">
                  <c:v>1.0470686824521781E-9</c:v>
                </c:pt>
                <c:pt idx="185">
                  <c:v>1.1404295133874937E-9</c:v>
                </c:pt>
                <c:pt idx="186">
                  <c:v>1.2420031825130607E-9</c:v>
                </c:pt>
                <c:pt idx="187">
                  <c:v>1.3524999122299477E-9</c:v>
                </c:pt>
                <c:pt idx="188">
                  <c:v>1.4726900007013791E-9</c:v>
                </c:pt>
                <c:pt idx="189">
                  <c:v>1.603408756783703E-9</c:v>
                </c:pt>
                <c:pt idx="190">
                  <c:v>1.7455618243334681E-9</c:v>
                </c:pt>
                <c:pt idx="191">
                  <c:v>1.9001309248681954E-9</c:v>
                </c:pt>
                <c:pt idx="192">
                  <c:v>2.068180049524055E-9</c:v>
                </c:pt>
                <c:pt idx="193">
                  <c:v>2.25086213333146E-9</c:v>
                </c:pt>
                <c:pt idx="194">
                  <c:v>2.4494262470232073E-9</c:v>
                </c:pt>
                <c:pt idx="195">
                  <c:v>2.6652253439038134E-9</c:v>
                </c:pt>
                <c:pt idx="196">
                  <c:v>2.8997246017453815E-9</c:v>
                </c:pt>
                <c:pt idx="197">
                  <c:v>3.1545104022391525E-9</c:v>
                </c:pt>
                <c:pt idx="198">
                  <c:v>3.4312999932252559E-9</c:v>
                </c:pt>
                <c:pt idx="199">
                  <c:v>3.7319518817475082E-9</c:v>
                </c:pt>
                <c:pt idx="200">
                  <c:v>4.0584770089396516E-9</c:v>
                </c:pt>
                <c:pt idx="201">
                  <c:v>4.4130507608421003E-9</c:v>
                </c:pt>
                <c:pt idx="202">
                  <c:v>4.7980258724784348E-9</c:v>
                </c:pt>
                <c:pt idx="203">
                  <c:v>5.2159462858830855E-9</c:v>
                </c:pt>
                <c:pt idx="204">
                  <c:v>5.6695620262708574E-9</c:v>
                </c:pt>
                <c:pt idx="205">
                  <c:v>6.1618451641659968E-9</c:v>
                </c:pt>
                <c:pt idx="206">
                  <c:v>6.6960069350636706E-9</c:v>
                </c:pt>
                <c:pt idx="207">
                  <c:v>7.275516092073673E-9</c:v>
                </c:pt>
                <c:pt idx="208">
                  <c:v>7.9041185709870211E-9</c:v>
                </c:pt>
                <c:pt idx="209">
                  <c:v>8.5858585513011405E-9</c:v>
                </c:pt>
                <c:pt idx="210">
                  <c:v>9.3251010009297476E-9</c:v>
                </c:pt>
                <c:pt idx="211">
                  <c:v>1.0126555796593828E-8</c:v>
                </c:pt>
                <c:pt idx="212">
                  <c:v>1.0995303516222275E-8</c:v>
                </c:pt>
                <c:pt idx="213">
                  <c:v>1.1936823004071349E-8</c:v>
                </c:pt>
                <c:pt idx="214">
                  <c:v>1.2957020813668966E-8</c:v>
                </c:pt>
                <c:pt idx="215">
                  <c:v>1.4062262638090165E-8</c:v>
                </c:pt>
                <c:pt idx="216">
                  <c:v>1.5259406841426577E-8</c:v>
                </c:pt>
                <c:pt idx="217">
                  <c:v>1.6555840209608981E-8</c:v>
                </c:pt>
                <c:pt idx="218">
                  <c:v>1.7959516042923416E-8</c:v>
                </c:pt>
                <c:pt idx="219">
                  <c:v>1.9478994716596693E-8</c:v>
                </c:pt>
                <c:pt idx="220">
                  <c:v>2.1123486839649893E-8</c:v>
                </c:pt>
                <c:pt idx="221">
                  <c:v>2.2902899145797294E-8</c:v>
                </c:pt>
                <c:pt idx="222">
                  <c:v>2.4827883253409085E-8</c:v>
                </c:pt>
                <c:pt idx="223">
                  <c:v>2.6909887434423298E-8</c:v>
                </c:pt>
                <c:pt idx="224">
                  <c:v>2.9161211534477406E-8</c:v>
                </c:pt>
                <c:pt idx="225">
                  <c:v>3.159506518837487E-8</c:v>
                </c:pt>
                <c:pt idx="226">
                  <c:v>3.4225629476191569E-8</c:v>
                </c:pt>
                <c:pt idx="227">
                  <c:v>3.7068122165776832E-8</c:v>
                </c:pt>
                <c:pt idx="228">
                  <c:v>4.0138866686987021E-8</c:v>
                </c:pt>
                <c:pt idx="229">
                  <c:v>4.345536498159972E-8</c:v>
                </c:pt>
                <c:pt idx="230">
                  <c:v>4.7036374370339869E-8</c:v>
                </c:pt>
                <c:pt idx="231">
                  <c:v>5.0901988574700245E-8</c:v>
                </c:pt>
                <c:pt idx="232">
                  <c:v>5.5073723026047913E-8</c:v>
                </c:pt>
                <c:pt idx="233">
                  <c:v>5.9574604587770537E-8</c:v>
                </c:pt>
                <c:pt idx="234">
                  <c:v>6.4429265807720887E-8</c:v>
                </c:pt>
                <c:pt idx="235">
                  <c:v>6.9664043807757794E-8</c:v>
                </c:pt>
                <c:pt idx="236">
                  <c:v>7.5307083904620822E-8</c:v>
                </c:pt>
                <c:pt idx="237">
                  <c:v>8.1388448041426182E-8</c:v>
                </c:pt>
                <c:pt idx="238">
                  <c:v>8.7940228091565134E-8</c:v>
                </c:pt>
                <c:pt idx="239">
                  <c:v>9.4996664076454305E-8</c:v>
                </c:pt>
                <c:pt idx="240">
                  <c:v>1.0259426731520821E-7</c:v>
                </c:pt>
                <c:pt idx="241">
                  <c:v>1.1077194849761405E-7</c:v>
                </c:pt>
                <c:pt idx="242">
                  <c:v>1.1957115064149457E-7</c:v>
                </c:pt>
                <c:pt idx="243">
                  <c:v>1.2903598686145534E-7</c:v>
                </c:pt>
                <c:pt idx="244">
                  <c:v>1.3921338283773136E-7</c:v>
                </c:pt>
                <c:pt idx="245">
                  <c:v>1.5015322383123451E-7</c:v>
                </c:pt>
                <c:pt idx="246">
                  <c:v>1.6190850604353361E-7</c:v>
                </c:pt>
                <c:pt idx="247">
                  <c:v>1.7453549206821525E-7</c:v>
                </c:pt>
                <c:pt idx="248">
                  <c:v>1.8809387012251886E-7</c:v>
                </c:pt>
                <c:pt idx="249">
                  <c:v>2.0264691668508992E-7</c:v>
                </c:pt>
                <c:pt idx="250">
                  <c:v>2.1826166209687158E-7</c:v>
                </c:pt>
                <c:pt idx="251">
                  <c:v>2.3500905860733229E-7</c:v>
                </c:pt>
                <c:pt idx="252">
                  <c:v>2.5296415026721261E-7</c:v>
                </c:pt>
                <c:pt idx="253">
                  <c:v>2.7220624398151875E-7</c:v>
                </c:pt>
                <c:pt idx="254">
                  <c:v>2.9281908094253908E-7</c:v>
                </c:pt>
                <c:pt idx="255">
                  <c:v>3.1489100756199126E-7</c:v>
                </c:pt>
                <c:pt idx="256">
                  <c:v>3.385151449141051E-7</c:v>
                </c:pt>
                <c:pt idx="257">
                  <c:v>3.6378955558736952E-7</c:v>
                </c:pt>
                <c:pt idx="258">
                  <c:v>3.9081740672199068E-7</c:v>
                </c:pt>
                <c:pt idx="259">
                  <c:v>4.197071278829509E-7</c:v>
                </c:pt>
                <c:pt idx="260">
                  <c:v>4.5057256228517081E-7</c:v>
                </c:pt>
                <c:pt idx="261">
                  <c:v>4.8353310974789911E-7</c:v>
                </c:pt>
                <c:pt idx="262">
                  <c:v>5.1871385961082319E-7</c:v>
                </c:pt>
                <c:pt idx="263">
                  <c:v>5.5624571169463994E-7</c:v>
                </c:pt>
                <c:pt idx="264">
                  <c:v>5.9626548323514011E-7</c:v>
                </c:pt>
                <c:pt idx="265">
                  <c:v>6.3891599956276747E-7</c:v>
                </c:pt>
                <c:pt idx="266">
                  <c:v>6.8434616614028245E-7</c:v>
                </c:pt>
                <c:pt idx="267">
                  <c:v>7.3271101941075703E-7</c:v>
                </c:pt>
                <c:pt idx="268">
                  <c:v>7.8417175374808718E-7</c:v>
                </c:pt>
                <c:pt idx="269">
                  <c:v>8.3889572164400547E-7</c:v>
                </c:pt>
                <c:pt idx="270">
                  <c:v>8.9705640411115846E-7</c:v>
                </c:pt>
                <c:pt idx="271">
                  <c:v>9.5883334813304334E-7</c:v>
                </c:pt>
                <c:pt idx="272">
                  <c:v>1.0244120678507698E-6</c:v>
                </c:pt>
                <c:pt idx="273">
                  <c:v>1.0939839060463137E-6</c:v>
                </c:pt>
                <c:pt idx="274">
                  <c:v>1.1677458523645881E-6</c:v>
                </c:pt>
                <c:pt idx="275">
                  <c:v>1.2459003146154621E-6</c:v>
                </c:pt>
                <c:pt idx="276">
                  <c:v>1.3286548394149094E-6</c:v>
                </c:pt>
                <c:pt idx="277">
                  <c:v>1.4162217783650993E-6</c:v>
                </c:pt>
                <c:pt idx="278">
                  <c:v>1.5088178959400737E-6</c:v>
                </c:pt>
                <c:pt idx="279">
                  <c:v>1.606663915240557E-6</c:v>
                </c:pt>
                <c:pt idx="280">
                  <c:v>1.7099839978123497E-6</c:v>
                </c:pt>
                <c:pt idx="281">
                  <c:v>1.8190051537918113E-6</c:v>
                </c:pt>
                <c:pt idx="282">
                  <c:v>1.933956578753273E-6</c:v>
                </c:pt>
                <c:pt idx="283">
                  <c:v>2.0550689137913992E-6</c:v>
                </c:pt>
                <c:pt idx="284">
                  <c:v>2.1825734255805692E-6</c:v>
                </c:pt>
                <c:pt idx="285">
                  <c:v>2.3167011034177241E-6</c:v>
                </c:pt>
                <c:pt idx="286">
                  <c:v>2.4576816705792418E-6</c:v>
                </c:pt>
                <c:pt idx="287">
                  <c:v>2.6057425077096188E-6</c:v>
                </c:pt>
                <c:pt idx="288">
                  <c:v>2.7611074864148043E-6</c:v>
                </c:pt>
                <c:pt idx="289">
                  <c:v>2.9239957117582737E-6</c:v>
                </c:pt>
                <c:pt idx="290">
                  <c:v>3.0946201729573771E-6</c:v>
                </c:pt>
                <c:pt idx="291">
                  <c:v>3.2731863022529049E-6</c:v>
                </c:pt>
                <c:pt idx="292">
                  <c:v>3.4598904426779774E-6</c:v>
                </c:pt>
                <c:pt idx="293">
                  <c:v>3.654918226284904E-6</c:v>
                </c:pt>
                <c:pt idx="294">
                  <c:v>3.8584428652998591E-6</c:v>
                </c:pt>
                <c:pt idx="295">
                  <c:v>4.0706233596648499E-6</c:v>
                </c:pt>
                <c:pt idx="296">
                  <c:v>4.291602625491885E-6</c:v>
                </c:pt>
                <c:pt idx="297">
                  <c:v>4.5215055500930913E-6</c:v>
                </c:pt>
                <c:pt idx="298">
                  <c:v>4.7604369804566491E-6</c:v>
                </c:pt>
                <c:pt idx="299">
                  <c:v>5.0084796533068175E-6</c:v>
                </c:pt>
                <c:pt idx="300">
                  <c:v>5.2656920762094212E-6</c:v>
                </c:pt>
                <c:pt idx="301">
                  <c:v>5.5321063705510423E-6</c:v>
                </c:pt>
                <c:pt idx="302">
                  <c:v>5.8077260886204619E-6</c:v>
                </c:pt>
                <c:pt idx="303">
                  <c:v>6.0925240184431797E-6</c:v>
                </c:pt>
                <c:pt idx="304">
                  <c:v>6.3864399914452415E-6</c:v>
                </c:pt>
                <c:pt idx="305">
                  <c:v>6.6893787094393615E-6</c:v>
                </c:pt>
                <c:pt idx="306">
                  <c:v>7.0012076088120289E-6</c:v>
                </c:pt>
                <c:pt idx="307">
                  <c:v>7.3217547811271237E-6</c:v>
                </c:pt>
                <c:pt idx="308">
                  <c:v>7.6508069706264463E-6</c:v>
                </c:pt>
                <c:pt idx="309">
                  <c:v>7.9881076702793124E-6</c:v>
                </c:pt>
                <c:pt idx="310">
                  <c:v>8.3333553390838846E-6</c:v>
                </c:pt>
                <c:pt idx="311">
                  <c:v>8.6862017642317965E-6</c:v>
                </c:pt>
                <c:pt idx="312">
                  <c:v>9.0462505924847184E-6</c:v>
                </c:pt>
                <c:pt idx="313">
                  <c:v>9.4130560556513803E-6</c:v>
                </c:pt>
                <c:pt idx="314">
                  <c:v>9.7861219153731546E-6</c:v>
                </c:pt>
                <c:pt idx="315">
                  <c:v>1.0164900652493587E-5</c:v>
                </c:pt>
                <c:pt idx="316">
                  <c:v>1.0548792926083979E-5</c:v>
                </c:pt>
                <c:pt idx="317">
                  <c:v>1.093714732669608E-5</c:v>
                </c:pt>
                <c:pt idx="318">
                  <c:v>1.1329260447592342E-5</c:v>
                </c:pt>
                <c:pt idx="319">
                  <c:v>1.1724377296550293E-5</c:v>
                </c:pt>
                <c:pt idx="320">
                  <c:v>1.2121692069328093E-5</c:v>
                </c:pt>
                <c:pt idx="321">
                  <c:v>1.2520349304008238E-5</c:v>
                </c:pt>
                <c:pt idx="322">
                  <c:v>1.2919445433192461E-5</c:v>
                </c:pt>
                <c:pt idx="323">
                  <c:v>1.3318030748407896E-5</c:v>
                </c:pt>
                <c:pt idx="324">
                  <c:v>1.3715111788096985E-5</c:v>
                </c:pt>
                <c:pt idx="325">
                  <c:v>1.4109654157219322E-5</c:v>
                </c:pt>
                <c:pt idx="326">
                  <c:v>1.4500585782800845E-5</c:v>
                </c:pt>
                <c:pt idx="327">
                  <c:v>1.4886800605750606E-5</c:v>
                </c:pt>
                <c:pt idx="328">
                  <c:v>1.5267162704955725E-5</c:v>
                </c:pt>
                <c:pt idx="329">
                  <c:v>1.5640510845095184E-5</c:v>
                </c:pt>
                <c:pt idx="330">
                  <c:v>1.6005663434825624E-5</c:v>
                </c:pt>
                <c:pt idx="331">
                  <c:v>1.6361423877040843E-5</c:v>
                </c:pt>
                <c:pt idx="332">
                  <c:v>1.6706586287837254E-5</c:v>
                </c:pt>
                <c:pt idx="333">
                  <c:v>1.7039941555702865E-5</c:v>
                </c:pt>
                <c:pt idx="334">
                  <c:v>1.7360283707345929E-5</c:v>
                </c:pt>
                <c:pt idx="335">
                  <c:v>1.7666416541564174E-5</c:v>
                </c:pt>
                <c:pt idx="336">
                  <c:v>1.7957160487706371E-5</c:v>
                </c:pt>
                <c:pt idx="337">
                  <c:v>1.8231359640664355E-5</c:v>
                </c:pt>
                <c:pt idx="338">
                  <c:v>1.8487888920039239E-5</c:v>
                </c:pt>
                <c:pt idx="339">
                  <c:v>1.8725661297229962E-5</c:v>
                </c:pt>
                <c:pt idx="340">
                  <c:v>1.8943635030767698E-5</c:v>
                </c:pt>
                <c:pt idx="341">
                  <c:v>1.9140820847346186E-5</c:v>
                </c:pt>
                <c:pt idx="342">
                  <c:v>1.9316289003742073E-5</c:v>
                </c:pt>
                <c:pt idx="343">
                  <c:v>1.9469176163245591E-5</c:v>
                </c:pt>
                <c:pt idx="344">
                  <c:v>1.9598692019390004E-5</c:v>
                </c:pt>
                <c:pt idx="345">
                  <c:v>1.9704125599721104E-5</c:v>
                </c:pt>
                <c:pt idx="346">
                  <c:v>1.9784851183128608E-5</c:v>
                </c:pt>
                <c:pt idx="347">
                  <c:v>1.9840333765892497E-5</c:v>
                </c:pt>
                <c:pt idx="348">
                  <c:v>1.9870134014093969E-5</c:v>
                </c:pt>
                <c:pt idx="349">
                  <c:v>1.9873912643405545E-5</c:v>
                </c:pt>
                <c:pt idx="350">
                  <c:v>1.9851434171489251E-5</c:v>
                </c:pt>
                <c:pt idx="351">
                  <c:v>1.9802569993276551E-5</c:v>
                </c:pt>
                <c:pt idx="352">
                  <c:v>1.9727300735226089E-5</c:v>
                </c:pt>
                <c:pt idx="353">
                  <c:v>1.9625717851209715E-5</c:v>
                </c:pt>
                <c:pt idx="354">
                  <c:v>1.9498024429884533E-5</c:v>
                </c:pt>
                <c:pt idx="355">
                  <c:v>1.9344535191191277E-5</c:v>
                </c:pt>
                <c:pt idx="356">
                  <c:v>1.9165675657879299E-5</c:v>
                </c:pt>
                <c:pt idx="357">
                  <c:v>1.8961980496592077E-5</c:v>
                </c:pt>
                <c:pt idx="358">
                  <c:v>1.8734091031932796E-5</c:v>
                </c:pt>
                <c:pt idx="359">
                  <c:v>1.8482751945957638E-5</c:v>
                </c:pt>
                <c:pt idx="360">
                  <c:v>1.8208807184571691E-5</c:v>
                </c:pt>
                <c:pt idx="361">
                  <c:v>1.7913195101211495E-5</c:v>
                </c:pt>
                <c:pt idx="362">
                  <c:v>1.759694287684832E-5</c:v>
                </c:pt>
                <c:pt idx="363">
                  <c:v>1.7261160263616146E-5</c:v>
                </c:pt>
                <c:pt idx="364">
                  <c:v>1.6907032707120763E-5</c:v>
                </c:pt>
                <c:pt idx="365">
                  <c:v>1.6535813909617502E-5</c:v>
                </c:pt>
                <c:pt idx="366">
                  <c:v>1.6148817902626823E-5</c:v>
                </c:pt>
                <c:pt idx="367">
                  <c:v>1.5747410703106307E-5</c:v>
                </c:pt>
                <c:pt idx="368">
                  <c:v>1.533300163191284E-5</c:v>
                </c:pt>
                <c:pt idx="369">
                  <c:v>1.4907034376909942E-5</c:v>
                </c:pt>
                <c:pt idx="370">
                  <c:v>1.4470977885637061E-5</c:v>
                </c:pt>
                <c:pt idx="371">
                  <c:v>1.4026317173923399E-5</c:v>
                </c:pt>
                <c:pt idx="372">
                  <c:v>1.3574544137182839E-5</c:v>
                </c:pt>
                <c:pt idx="373">
                  <c:v>1.3117148450354329E-5</c:v>
                </c:pt>
                <c:pt idx="374">
                  <c:v>1.265560864058293E-5</c:v>
                </c:pt>
                <c:pt idx="375">
                  <c:v>1.2191383413791915E-5</c:v>
                </c:pt>
                <c:pt idx="376">
                  <c:v>1.1725903312338604E-5</c:v>
                </c:pt>
                <c:pt idx="377">
                  <c:v>1.1260562776033803E-5</c:v>
                </c:pt>
                <c:pt idx="378">
                  <c:v>1.0796712673029172E-5</c:v>
                </c:pt>
                <c:pt idx="379">
                  <c:v>1.033565336052914E-5</c:v>
                </c:pt>
                <c:pt idx="380">
                  <c:v>9.8786283280739163E-6</c:v>
                </c:pt>
                <c:pt idx="381">
                  <c:v>9.4268184683905209E-6</c:v>
                </c:pt>
                <c:pt idx="382">
                  <c:v>8.9813370126362385E-6</c:v>
                </c:pt>
                <c:pt idx="383">
                  <c:v>8.5432251584015442E-6</c:v>
                </c:pt>
                <c:pt idx="384">
                  <c:v>8.1134484102256531E-6</c:v>
                </c:pt>
                <c:pt idx="385">
                  <c:v>7.6928936437391036E-6</c:v>
                </c:pt>
                <c:pt idx="386">
                  <c:v>7.282366896017997E-6</c:v>
                </c:pt>
                <c:pt idx="387">
                  <c:v>6.8825918764305804E-6</c:v>
                </c:pt>
                <c:pt idx="388">
                  <c:v>6.4942091843053824E-6</c:v>
                </c:pt>
                <c:pt idx="389">
                  <c:v>6.1177762122508774E-6</c:v>
                </c:pt>
                <c:pt idx="390">
                  <c:v>5.7537677070116989E-6</c:v>
                </c:pt>
                <c:pt idx="391">
                  <c:v>5.4025769534379612E-6</c:v>
                </c:pt>
                <c:pt idx="392">
                  <c:v>5.0645175415456006E-6</c:v>
                </c:pt>
                <c:pt idx="393">
                  <c:v>4.739825671808833E-6</c:v>
                </c:pt>
                <c:pt idx="394">
                  <c:v>4.4286629497977676E-6</c:v>
                </c:pt>
                <c:pt idx="395">
                  <c:v>4.1311196180763515E-6</c:v>
                </c:pt>
                <c:pt idx="396">
                  <c:v>3.8472181709198666E-6</c:v>
                </c:pt>
                <c:pt idx="397">
                  <c:v>3.5769172958958934E-6</c:v>
                </c:pt>
                <c:pt idx="398">
                  <c:v>3.3201160856555967E-6</c:v>
                </c:pt>
                <c:pt idx="399">
                  <c:v>3.0766584633756438E-6</c:v>
                </c:pt>
                <c:pt idx="400">
                  <c:v>2.8463377661299439E-6</c:v>
                </c:pt>
                <c:pt idx="401">
                  <c:v>2.6289014320020554E-6</c:v>
                </c:pt>
                <c:pt idx="402">
                  <c:v>2.4240557389113113E-6</c:v>
                </c:pt>
                <c:pt idx="403">
                  <c:v>2.23147054584683E-6</c:v>
                </c:pt>
                <c:pt idx="404">
                  <c:v>2.050783990411196E-6</c:v>
                </c:pt>
                <c:pt idx="405">
                  <c:v>1.8816071001877534E-6</c:v>
                </c:pt>
                <c:pt idx="406">
                  <c:v>1.7235282793831849E-6</c:v>
                </c:pt>
                <c:pt idx="407">
                  <c:v>1.5761176363770216E-6</c:v>
                </c:pt>
                <c:pt idx="408">
                  <c:v>1.4389311221529993E-6</c:v>
                </c:pt>
                <c:pt idx="409">
                  <c:v>1.3115144540152523E-6</c:v>
                </c:pt>
                <c:pt idx="410">
                  <c:v>1.1934068034316193E-6</c:v>
                </c:pt>
                <c:pt idx="411">
                  <c:v>1.0841442312283857E-6</c:v>
                </c:pt>
                <c:pt idx="412">
                  <c:v>9.8326285762307957E-7</c:v>
                </c:pt>
                <c:pt idx="413">
                  <c:v>8.903017586683758E-7</c:v>
                </c:pt>
                <c:pt idx="414">
                  <c:v>8.0480558454291407E-7</c:v>
                </c:pt>
                <c:pt idx="415">
                  <c:v>7.2632689872295045E-7</c:v>
                </c:pt>
                <c:pt idx="416">
                  <c:v>6.5442824036947756E-7</c:v>
                </c:pt>
                <c:pt idx="417">
                  <c:v>5.8868391524427833E-7</c:v>
                </c:pt>
                <c:pt idx="418">
                  <c:v>5.2868152310781428E-7</c:v>
                </c:pt>
                <c:pt idx="419">
                  <c:v>4.7402323184219197E-7</c:v>
                </c:pt>
                <c:pt idx="420">
                  <c:v>4.2432681048110906E-7</c:v>
                </c:pt>
                <c:pt idx="421">
                  <c:v>3.7922643491872404E-7</c:v>
                </c:pt>
                <c:pt idx="422">
                  <c:v>3.3837328132021993E-7</c:v>
                </c:pt>
                <c:pt idx="423">
                  <c:v>3.014359231825066E-7</c:v>
                </c:pt>
                <c:pt idx="424">
                  <c:v>2.6810054861237682E-7</c:v>
                </c:pt>
                <c:pt idx="425">
                  <c:v>2.3807101472323708E-7</c:v>
                </c:pt>
                <c:pt idx="426">
                  <c:v>2.1106875612483726E-7</c:v>
                </c:pt>
                <c:pt idx="427">
                  <c:v>1.8683256431956515E-7</c:v>
                </c:pt>
                <c:pt idx="428">
                  <c:v>1.6511825445150589E-7</c:v>
                </c:pt>
                <c:pt idx="429">
                  <c:v>1.4569823530881526E-7</c:v>
                </c:pt>
                <c:pt idx="430">
                  <c:v>1.2836099778416392E-7</c:v>
                </c:pt>
                <c:pt idx="431">
                  <c:v>1.1291053617958373E-7</c:v>
                </c:pt>
                <c:pt idx="432">
                  <c:v>9.9165715827678484E-8</c:v>
                </c:pt>
                <c:pt idx="433">
                  <c:v>8.6959599515794487E-8</c:v>
                </c:pt>
                <c:pt idx="434">
                  <c:v>7.6138744166818403E-8</c:v>
                </c:pt>
                <c:pt idx="435">
                  <c:v>6.6562478171183927E-8</c:v>
                </c:pt>
                <c:pt idx="436">
                  <c:v>5.8102168698554828E-8</c:v>
                </c:pt>
                <c:pt idx="437">
                  <c:v>5.0640487261566396E-8</c:v>
                </c:pt>
                <c:pt idx="438">
                  <c:v>4.4070680772563943E-8</c:v>
                </c:pt>
                <c:pt idx="439">
                  <c:v>3.8295854339871448E-8</c:v>
                </c:pt>
                <c:pt idx="440">
                  <c:v>3.3228271102911421E-8</c:v>
                </c:pt>
                <c:pt idx="441">
                  <c:v>2.8788673513494212E-8</c:v>
                </c:pt>
                <c:pt idx="442">
                  <c:v>2.4905629639825665E-8</c:v>
                </c:pt>
                <c:pt idx="443">
                  <c:v>2.1514907304436212E-8</c:v>
                </c:pt>
                <c:pt idx="444">
                  <c:v>1.8558878169778892E-8</c:v>
                </c:pt>
                <c:pt idx="445">
                  <c:v>1.59859532567473E-8</c:v>
                </c:pt>
                <c:pt idx="446">
                  <c:v>1.3750050821478683E-8</c:v>
                </c:pt>
                <c:pt idx="447">
                  <c:v>1.1810097023186682E-8</c:v>
                </c:pt>
                <c:pt idx="448">
                  <c:v>1.0129559388045251E-8</c:v>
                </c:pt>
                <c:pt idx="449">
                  <c:v>8.6760127082796331E-9</c:v>
                </c:pt>
                <c:pt idx="450">
                  <c:v>7.4207367079323125E-9</c:v>
                </c:pt>
                <c:pt idx="451">
                  <c:v>6.3383445531969679E-9</c:v>
                </c:pt>
                <c:pt idx="452">
                  <c:v>5.4064410813741712E-9</c:v>
                </c:pt>
                <c:pt idx="453">
                  <c:v>4.6053094638742581E-9</c:v>
                </c:pt>
                <c:pt idx="454">
                  <c:v>3.9176249006851987E-9</c:v>
                </c:pt>
                <c:pt idx="455">
                  <c:v>3.3281938617959453E-9</c:v>
                </c:pt>
                <c:pt idx="456">
                  <c:v>2.8237173407900675E-9</c:v>
                </c:pt>
                <c:pt idx="457">
                  <c:v>2.3925765629472524E-9</c:v>
                </c:pt>
                <c:pt idx="458">
                  <c:v>2.024639590695784E-9</c:v>
                </c:pt>
                <c:pt idx="459">
                  <c:v>1.7110872893900981E-9</c:v>
                </c:pt>
                <c:pt idx="460">
                  <c:v>1.4442571526775827E-9</c:v>
                </c:pt>
                <c:pt idx="461">
                  <c:v>1.2175035360099541E-9</c:v>
                </c:pt>
                <c:pt idx="462">
                  <c:v>1.0250729062979319E-9</c:v>
                </c:pt>
                <c:pt idx="463">
                  <c:v>8.6199278276592851E-10</c:v>
                </c:pt>
                <c:pt idx="464">
                  <c:v>7.239731165043983E-10</c:v>
                </c:pt>
                <c:pt idx="465">
                  <c:v>6.0731893209946837E-10</c:v>
                </c:pt>
                <c:pt idx="466">
                  <c:v>5.0885313237987993E-10</c:v>
                </c:pt>
                <c:pt idx="467">
                  <c:v>4.2584844535394927E-10</c:v>
                </c:pt>
                <c:pt idx="468">
                  <c:v>3.5596756964796226E-10</c:v>
                </c:pt>
                <c:pt idx="469">
                  <c:v>2.9721065025202518E-10</c:v>
                </c:pt>
                <c:pt idx="470">
                  <c:v>2.4786928937531194E-10</c:v>
                </c:pt>
                <c:pt idx="471">
                  <c:v>2.0648636712934037E-10</c:v>
                </c:pt>
                <c:pt idx="472">
                  <c:v>1.7182101316683868E-10</c:v>
                </c:pt>
                <c:pt idx="473">
                  <c:v>1.4281813300932897E-10</c:v>
                </c:pt>
                <c:pt idx="474">
                  <c:v>1.1858195141598995E-10</c:v>
                </c:pt>
                <c:pt idx="475">
                  <c:v>9.8353089693032979E-11</c:v>
                </c:pt>
                <c:pt idx="476">
                  <c:v>8.1488744309186264E-11</c:v>
                </c:pt>
                <c:pt idx="477">
                  <c:v>6.7445580626139759E-11</c:v>
                </c:pt>
                <c:pt idx="478">
                  <c:v>5.5764998081881297E-11</c:v>
                </c:pt>
                <c:pt idx="479">
                  <c:v>4.606046192843514E-11</c:v>
                </c:pt>
                <c:pt idx="480">
                  <c:v>3.8006631802089465E-11</c:v>
                </c:pt>
                <c:pt idx="481">
                  <c:v>3.1330049193357726E-11</c:v>
                </c:pt>
                <c:pt idx="482">
                  <c:v>2.5801174498668763E-11</c:v>
                </c:pt>
                <c:pt idx="483">
                  <c:v>2.1227589996548614E-11</c:v>
                </c:pt>
                <c:pt idx="484">
                  <c:v>1.7448208020358574E-11</c:v>
                </c:pt>
                <c:pt idx="485">
                  <c:v>1.4328344017974586E-11</c:v>
                </c:pt>
                <c:pt idx="486">
                  <c:v>1.1755532311310757E-11</c:v>
                </c:pt>
                <c:pt idx="487">
                  <c:v>9.6359784025477246E-12</c:v>
                </c:pt>
                <c:pt idx="488">
                  <c:v>7.8915558168256093E-12</c:v>
                </c:pt>
                <c:pt idx="489">
                  <c:v>6.4572679093812815E-12</c:v>
                </c:pt>
                <c:pt idx="490">
                  <c:v>5.2791059730738463E-12</c:v>
                </c:pt>
                <c:pt idx="491">
                  <c:v>4.3122445219602478E-12</c:v>
                </c:pt>
                <c:pt idx="492">
                  <c:v>3.5195229475093729E-12</c:v>
                </c:pt>
                <c:pt idx="493">
                  <c:v>2.8701699831886022E-12</c:v>
                </c:pt>
                <c:pt idx="494">
                  <c:v>2.338733695426E-12</c:v>
                </c:pt>
                <c:pt idx="495">
                  <c:v>1.9041851575865845E-12</c:v>
                </c:pt>
                <c:pt idx="496">
                  <c:v>1.5491686607940288E-12</c:v>
                </c:pt>
                <c:pt idx="497">
                  <c:v>1.2593753629510148E-12</c:v>
                </c:pt>
                <c:pt idx="498">
                  <c:v>1.0230207572392735E-12</c:v>
                </c:pt>
                <c:pt idx="499">
                  <c:v>8.304093268078412E-13</c:v>
                </c:pt>
                <c:pt idx="500">
                  <c:v>6.7357230813245097E-13</c:v>
                </c:pt>
                <c:pt idx="501">
                  <c:v>5.4596666897689875E-13</c:v>
                </c:pt>
                <c:pt idx="502">
                  <c:v>4.4222526849543509E-13</c:v>
                </c:pt>
                <c:pt idx="503">
                  <c:v>3.5794975111360761E-13</c:v>
                </c:pt>
                <c:pt idx="504">
                  <c:v>2.8953907120374976E-13</c:v>
                </c:pt>
                <c:pt idx="505">
                  <c:v>2.3404768607177056E-13</c:v>
                </c:pt>
                <c:pt idx="506">
                  <c:v>1.8906841983392638E-13</c:v>
                </c:pt>
                <c:pt idx="507">
                  <c:v>1.5263581591975395E-13</c:v>
                </c:pt>
                <c:pt idx="508">
                  <c:v>1.2314648328066426E-13</c:v>
                </c:pt>
                <c:pt idx="509">
                  <c:v>9.9293519970538074E-14</c:v>
                </c:pt>
                <c:pt idx="510">
                  <c:v>8.0012583997224263E-14</c:v>
                </c:pt>
                <c:pt idx="511">
                  <c:v>6.4437589302403933E-14</c:v>
                </c:pt>
                <c:pt idx="512">
                  <c:v>5.1864346471880286E-14</c:v>
                </c:pt>
                <c:pt idx="513">
                  <c:v>4.1720753613718999E-14</c:v>
                </c:pt>
                <c:pt idx="514">
                  <c:v>3.3542381553942692E-14</c:v>
                </c:pt>
                <c:pt idx="515">
                  <c:v>2.6952496563621752E-14</c:v>
                </c:pt>
                <c:pt idx="516">
                  <c:v>2.164572959327179E-14</c:v>
                </c:pt>
                <c:pt idx="517">
                  <c:v>1.7374738827463269E-14</c:v>
                </c:pt>
                <c:pt idx="518">
                  <c:v>1.3939326831221848E-14</c:v>
                </c:pt>
                <c:pt idx="519">
                  <c:v>1.1177568477506223E-14</c:v>
                </c:pt>
                <c:pt idx="520">
                  <c:v>8.9585844546411619E-15</c:v>
                </c:pt>
                <c:pt idx="521">
                  <c:v>7.1766601723736439E-15</c:v>
                </c:pt>
                <c:pt idx="522">
                  <c:v>5.7464635971617408E-15</c:v>
                </c:pt>
                <c:pt idx="523">
                  <c:v>4.5991598636030926E-15</c:v>
                </c:pt>
                <c:pt idx="524">
                  <c:v>3.6792570293414008E-15</c:v>
                </c:pt>
                <c:pt idx="525">
                  <c:v>2.9420474015048309E-15</c:v>
                </c:pt>
                <c:pt idx="526">
                  <c:v>2.3515335780818874E-15</c:v>
                </c:pt>
                <c:pt idx="527">
                  <c:v>1.878748645387383E-15</c:v>
                </c:pt>
                <c:pt idx="528">
                  <c:v>1.5003966243584201E-15</c:v>
                </c:pt>
                <c:pt idx="529">
                  <c:v>1.1977529042329699E-15</c:v>
                </c:pt>
                <c:pt idx="530">
                  <c:v>9.5577557313461506E-16</c:v>
                </c:pt>
                <c:pt idx="531">
                  <c:v>7.623876907575995E-16</c:v>
                </c:pt>
                <c:pt idx="532">
                  <c:v>6.0789801210577972E-16</c:v>
                </c:pt>
                <c:pt idx="533">
                  <c:v>4.8453376315055744E-16</c:v>
                </c:pt>
                <c:pt idx="534">
                  <c:v>3.8606403676384242E-16</c:v>
                </c:pt>
                <c:pt idx="535">
                  <c:v>3.0749642414488417E-16</c:v>
                </c:pt>
                <c:pt idx="536">
                  <c:v>2.4483279083223738E-16</c:v>
                </c:pt>
                <c:pt idx="537">
                  <c:v>1.9487278501446496E-16</c:v>
                </c:pt>
                <c:pt idx="538">
                  <c:v>1.5505584226545788E-16</c:v>
                </c:pt>
                <c:pt idx="539">
                  <c:v>1.2333421770390186E-16</c:v>
                </c:pt>
                <c:pt idx="540">
                  <c:v>9.8071009792806768E-17</c:v>
                </c:pt>
                <c:pt idx="541">
                  <c:v>7.7958301631140549E-17</c:v>
                </c:pt>
                <c:pt idx="542">
                  <c:v>6.195148636754288E-17</c:v>
                </c:pt>
                <c:pt idx="543">
                  <c:v>4.9216604694810981E-17</c:v>
                </c:pt>
                <c:pt idx="544">
                  <c:v>3.9088138031638312E-17</c:v>
                </c:pt>
                <c:pt idx="545">
                  <c:v>3.1035198478558549E-17</c:v>
                </c:pt>
                <c:pt idx="546">
                  <c:v>2.4634458342616529E-17</c:v>
                </c:pt>
                <c:pt idx="547">
                  <c:v>1.9548486172637474E-17</c:v>
                </c:pt>
                <c:pt idx="548">
                  <c:v>1.5508417631648297E-17</c:v>
                </c:pt>
                <c:pt idx="549">
                  <c:v>1.2300100167786468E-17</c:v>
                </c:pt>
                <c:pt idx="550">
                  <c:v>9.7530200739154008E-18</c:v>
                </c:pt>
                <c:pt idx="551">
                  <c:v>7.7314570457008295E-18</c:v>
                </c:pt>
                <c:pt idx="552">
                  <c:v>6.1274211532141689E-18</c:v>
                </c:pt>
                <c:pt idx="553">
                  <c:v>4.8550154065214735E-18</c:v>
                </c:pt>
                <c:pt idx="554">
                  <c:v>3.8459380049526217E-18</c:v>
                </c:pt>
                <c:pt idx="555">
                  <c:v>3.0458952931825045E-18</c:v>
                </c:pt>
                <c:pt idx="556">
                  <c:v>2.4117421338507702E-18</c:v>
                </c:pt>
                <c:pt idx="557">
                  <c:v>1.9092030480118904E-18</c:v>
                </c:pt>
                <c:pt idx="558">
                  <c:v>1.5110568463525825E-18</c:v>
                </c:pt>
                <c:pt idx="559">
                  <c:v>1.1956910060250493E-18</c:v>
                </c:pt>
                <c:pt idx="560">
                  <c:v>9.4595089165439283E-19</c:v>
                </c:pt>
                <c:pt idx="561">
                  <c:v>7.4822400115401147E-19</c:v>
                </c:pt>
                <c:pt idx="562">
                  <c:v>5.9171148250899628E-19</c:v>
                </c:pt>
                <c:pt idx="563">
                  <c:v>4.6784881547948284E-19</c:v>
                </c:pt>
                <c:pt idx="564">
                  <c:v>3.6984526314800514E-19</c:v>
                </c:pt>
                <c:pt idx="565">
                  <c:v>2.9231785847065927E-19</c:v>
                </c:pt>
                <c:pt idx="566">
                  <c:v>2.3100061019256461E-19</c:v>
                </c:pt>
                <c:pt idx="567">
                  <c:v>1.8251353900536393E-19</c:v>
                </c:pt>
                <c:pt idx="568">
                  <c:v>1.4417928767298929E-19</c:v>
                </c:pt>
                <c:pt idx="569">
                  <c:v>1.1387754744297314E-19</c:v>
                </c:pt>
                <c:pt idx="570">
                  <c:v>8.9929535013685908E-20</c:v>
                </c:pt>
                <c:pt idx="571">
                  <c:v>7.1006341758296954E-20</c:v>
                </c:pt>
                <c:pt idx="572">
                  <c:v>5.6056241489826334E-20</c:v>
                </c:pt>
                <c:pt idx="573">
                  <c:v>4.424705007435381E-20</c:v>
                </c:pt>
                <c:pt idx="574">
                  <c:v>3.4920431833579375E-20</c:v>
                </c:pt>
                <c:pt idx="575">
                  <c:v>2.7555685589523222E-20</c:v>
                </c:pt>
                <c:pt idx="576">
                  <c:v>2.1741050657059275E-20</c:v>
                </c:pt>
                <c:pt idx="577">
                  <c:v>1.7150976630888436E-20</c:v>
                </c:pt>
                <c:pt idx="578">
                  <c:v>1.3528121614677657E-20</c:v>
                </c:pt>
                <c:pt idx="579">
                  <c:v>1.066909848607623E-20</c:v>
                </c:pt>
                <c:pt idx="580">
                  <c:v>8.4131913375926457E-21</c:v>
                </c:pt>
                <c:pt idx="581">
                  <c:v>6.6334251013058842E-21</c:v>
                </c:pt>
                <c:pt idx="582">
                  <c:v>5.2294990934362492E-21</c:v>
                </c:pt>
                <c:pt idx="583">
                  <c:v>4.1221966007770288E-21</c:v>
                </c:pt>
                <c:pt idx="584">
                  <c:v>3.2489630848810078E-21</c:v>
                </c:pt>
                <c:pt idx="585">
                  <c:v>2.5604094057473019E-21</c:v>
                </c:pt>
                <c:pt idx="586">
                  <c:v>2.0175470876961704E-21</c:v>
                </c:pt>
                <c:pt idx="587">
                  <c:v>1.5896027875449625E-21</c:v>
                </c:pt>
                <c:pt idx="588">
                  <c:v>1.252290942081726E-21</c:v>
                </c:pt>
                <c:pt idx="589">
                  <c:v>9.8644878677242871E-22</c:v>
                </c:pt>
                <c:pt idx="590">
                  <c:v>7.7695791562161757E-22</c:v>
                </c:pt>
                <c:pt idx="591">
                  <c:v>6.1189237705045445E-22</c:v>
                </c:pt>
                <c:pt idx="592">
                  <c:v>4.8184583298696751E-22</c:v>
                </c:pt>
                <c:pt idx="593">
                  <c:v>3.7940023090177575E-22</c:v>
                </c:pt>
                <c:pt idx="594">
                  <c:v>2.9870629299951713E-22</c:v>
                </c:pt>
                <c:pt idx="595">
                  <c:v>2.3515234287451553E-22</c:v>
                </c:pt>
                <c:pt idx="596">
                  <c:v>1.8510290836937875E-22</c:v>
                </c:pt>
                <c:pt idx="597">
                  <c:v>1.4569243023406956E-22</c:v>
                </c:pt>
                <c:pt idx="598">
                  <c:v>1.1466248352960679E-22</c:v>
                </c:pt>
                <c:pt idx="599">
                  <c:v>9.0233352168670049E-23</c:v>
                </c:pt>
                <c:pt idx="600">
                  <c:v>7.1002720892331327E-23</c:v>
                </c:pt>
                <c:pt idx="601">
                  <c:v>5.5865769753145221E-23</c:v>
                </c:pt>
                <c:pt idx="602">
                  <c:v>4.3952158063048812E-23</c:v>
                </c:pt>
                <c:pt idx="603">
                  <c:v>3.4576334464261612E-23</c:v>
                </c:pt>
                <c:pt idx="604">
                  <c:v>2.7198360075870203E-23</c:v>
                </c:pt>
                <c:pt idx="605">
                  <c:v>2.1393024325588597E-23</c:v>
                </c:pt>
                <c:pt idx="606">
                  <c:v>1.6825501135643643E-23</c:v>
                </c:pt>
                <c:pt idx="607">
                  <c:v>1.3232162729157035E-23</c:v>
                </c:pt>
                <c:pt idx="608">
                  <c:v>1.0405460123242895E-23</c:v>
                </c:pt>
                <c:pt idx="609">
                  <c:v>8.1820097183760252E-24</c:v>
                </c:pt>
                <c:pt idx="610">
                  <c:v>6.4332071949168417E-24</c:v>
                </c:pt>
                <c:pt idx="611">
                  <c:v>5.0578333959534614E-24</c:v>
                </c:pt>
                <c:pt idx="612">
                  <c:v>3.9762300761431479E-24</c:v>
                </c:pt>
                <c:pt idx="613">
                  <c:v>3.1257127024292704E-24</c:v>
                </c:pt>
                <c:pt idx="614">
                  <c:v>2.4569579375942072E-24</c:v>
                </c:pt>
                <c:pt idx="615">
                  <c:v>1.9311589977803354E-24</c:v>
                </c:pt>
                <c:pt idx="616">
                  <c:v>1.5177858893083762E-24</c:v>
                </c:pt>
                <c:pt idx="617">
                  <c:v>1.1928220772807866E-24</c:v>
                </c:pt>
                <c:pt idx="618">
                  <c:v>9.3737637495074581E-25</c:v>
                </c:pt>
                <c:pt idx="619">
                  <c:v>7.3659031311332922E-25</c:v>
                </c:pt>
                <c:pt idx="620">
                  <c:v>5.7877817147998545E-25</c:v>
                </c:pt>
                <c:pt idx="621">
                  <c:v>4.5475019071937991E-25</c:v>
                </c:pt>
                <c:pt idx="622">
                  <c:v>3.5727999327197556E-25</c:v>
                </c:pt>
                <c:pt idx="623">
                  <c:v>2.8068552155335332E-25</c:v>
                </c:pt>
                <c:pt idx="624">
                  <c:v>2.2049932575380207E-25</c:v>
                </c:pt>
                <c:pt idx="625">
                  <c:v>1.7320917233196412E-25</c:v>
                </c:pt>
                <c:pt idx="626">
                  <c:v>1.3605399195173139E-25</c:v>
                </c:pt>
                <c:pt idx="627">
                  <c:v>1.0686337342716195E-25</c:v>
                </c:pt>
                <c:pt idx="628">
                  <c:v>8.3931320600983294E-26</c:v>
                </c:pt>
                <c:pt idx="629">
                  <c:v>6.5916965762340636E-26</c:v>
                </c:pt>
                <c:pt idx="630">
                  <c:v>5.1766489508636973E-26</c:v>
                </c:pt>
                <c:pt idx="631">
                  <c:v>4.0651722155522058E-26</c:v>
                </c:pt>
                <c:pt idx="632">
                  <c:v>3.1921866251951703E-26</c:v>
                </c:pt>
                <c:pt idx="633">
                  <c:v>2.506553887865306E-26</c:v>
                </c:pt>
                <c:pt idx="634">
                  <c:v>1.9680929864371359E-26</c:v>
                </c:pt>
                <c:pt idx="635">
                  <c:v>1.5452342227278197E-26</c:v>
                </c:pt>
                <c:pt idx="636">
                  <c:v>1.2131751125482883E-26</c:v>
                </c:pt>
                <c:pt idx="637">
                  <c:v>9.5243087071310223E-27</c:v>
                </c:pt>
                <c:pt idx="638">
                  <c:v>7.4769512803284107E-27</c:v>
                </c:pt>
                <c:pt idx="639">
                  <c:v>5.869445400454536E-27</c:v>
                </c:pt>
                <c:pt idx="640">
                  <c:v>4.607351203956502E-27</c:v>
                </c:pt>
                <c:pt idx="641">
                  <c:v>3.616492799803336E-27</c:v>
                </c:pt>
                <c:pt idx="642">
                  <c:v>2.8386132107310481E-27</c:v>
                </c:pt>
                <c:pt idx="643">
                  <c:v>2.2279603125548889E-27</c:v>
                </c:pt>
                <c:pt idx="644">
                  <c:v>1.7486044463188618E-27</c:v>
                </c:pt>
                <c:pt idx="645">
                  <c:v>1.3723310174242498E-27</c:v>
                </c:pt>
                <c:pt idx="646">
                  <c:v>1.0769849224625542E-27</c:v>
                </c:pt>
                <c:pt idx="647">
                  <c:v>8.4517000318094273E-28</c:v>
                </c:pt>
                <c:pt idx="648">
                  <c:v>6.6322744955812217E-28</c:v>
                </c:pt>
                <c:pt idx="649">
                  <c:v>5.2043336385389098E-28</c:v>
                </c:pt>
                <c:pt idx="650">
                  <c:v>4.0836850239083684E-28</c:v>
                </c:pt>
                <c:pt idx="651">
                  <c:v>3.2042327648486973E-28</c:v>
                </c:pt>
                <c:pt idx="652">
                  <c:v>2.5140900424929067E-28</c:v>
                </c:pt>
                <c:pt idx="653">
                  <c:v>1.972526217881863E-28</c:v>
                </c:pt>
                <c:pt idx="654">
                  <c:v>1.547569477492315E-28</c:v>
                </c:pt>
                <c:pt idx="655">
                  <c:v>1.2141243424797381E-28</c:v>
                </c:pt>
                <c:pt idx="656">
                  <c:v>9.5249353726174684E-29</c:v>
                </c:pt>
                <c:pt idx="657">
                  <c:v>7.4721741463802783E-29</c:v>
                </c:pt>
                <c:pt idx="658">
                  <c:v>5.8616275609201454E-29</c:v>
                </c:pt>
                <c:pt idx="659">
                  <c:v>4.5980739546469165E-29</c:v>
                </c:pt>
                <c:pt idx="660">
                  <c:v>3.6067860680940453E-29</c:v>
                </c:pt>
                <c:pt idx="661">
                  <c:v>2.8291222513556037E-29</c:v>
                </c:pt>
                <c:pt idx="662">
                  <c:v>2.2190656011942114E-29</c:v>
                </c:pt>
                <c:pt idx="663">
                  <c:v>1.7405073279585181E-29</c:v>
                </c:pt>
                <c:pt idx="664">
                  <c:v>1.3651143995147287E-29</c:v>
                </c:pt>
                <c:pt idx="665">
                  <c:v>1.0706558670096038E-29</c:v>
                </c:pt>
                <c:pt idx="666">
                  <c:v>8.3968925967354661E-30</c:v>
                </c:pt>
                <c:pt idx="667">
                  <c:v>6.5852962486301397E-30</c:v>
                </c:pt>
                <c:pt idx="668">
                  <c:v>5.1644042835395818E-30</c:v>
                </c:pt>
                <c:pt idx="669">
                  <c:v>4.0499859515111357E-30</c:v>
                </c:pt>
                <c:pt idx="670">
                  <c:v>3.1759622950557513E-30</c:v>
                </c:pt>
                <c:pt idx="671">
                  <c:v>2.4904960740336823E-30</c:v>
                </c:pt>
                <c:pt idx="672">
                  <c:v>1.9529235835907702E-30</c:v>
                </c:pt>
                <c:pt idx="673">
                  <c:v>1.5313471796652044E-30</c:v>
                </c:pt>
                <c:pt idx="674">
                  <c:v>1.2007463000920402E-30</c:v>
                </c:pt>
                <c:pt idx="675">
                  <c:v>9.4149536448691191E-31</c:v>
                </c:pt>
                <c:pt idx="676">
                  <c:v>7.3820095212374776E-31</c:v>
                </c:pt>
                <c:pt idx="677">
                  <c:v>5.7878950854648497E-31</c:v>
                </c:pt>
                <c:pt idx="678">
                  <c:v>4.5379162826721123E-31</c:v>
                </c:pt>
                <c:pt idx="679">
                  <c:v>3.5578057457122464E-31</c:v>
                </c:pt>
                <c:pt idx="680">
                  <c:v>2.7893181233616913E-31</c:v>
                </c:pt>
                <c:pt idx="681">
                  <c:v>2.1867748338383425E-31</c:v>
                </c:pt>
                <c:pt idx="682">
                  <c:v>1.714353679049459E-31</c:v>
                </c:pt>
                <c:pt idx="683">
                  <c:v>1.3439628118294386E-31</c:v>
                </c:pt>
                <c:pt idx="684">
                  <c:v>1.0535731209098169E-31</c:v>
                </c:pt>
                <c:pt idx="685">
                  <c:v>8.2591022767941139E-32</c:v>
                </c:pt>
                <c:pt idx="686">
                  <c:v>6.4742857633353287E-32</c:v>
                </c:pt>
                <c:pt idx="687">
                  <c:v>5.0750680213318283E-32</c:v>
                </c:pt>
                <c:pt idx="688">
                  <c:v>3.9781666822464272E-32</c:v>
                </c:pt>
                <c:pt idx="689">
                  <c:v>3.1182814398417085E-32</c:v>
                </c:pt>
                <c:pt idx="690">
                  <c:v>2.4442126523587849E-32</c:v>
                </c:pt>
                <c:pt idx="691">
                  <c:v>1.9158174581533007E-32</c:v>
                </c:pt>
                <c:pt idx="692">
                  <c:v>1.5016227529445937E-32</c:v>
                </c:pt>
                <c:pt idx="693">
                  <c:v>1.1769533287854933E-32</c:v>
                </c:pt>
                <c:pt idx="694">
                  <c:v>9.2246403175439875E-33</c:v>
                </c:pt>
                <c:pt idx="695">
                  <c:v>7.2298876508941694E-33</c:v>
                </c:pt>
                <c:pt idx="696">
                  <c:v>5.6663796680914176E-33</c:v>
                </c:pt>
                <c:pt idx="697">
                  <c:v>4.4409093927998153E-33</c:v>
                </c:pt>
                <c:pt idx="698">
                  <c:v>3.4804097628836506E-33</c:v>
                </c:pt>
                <c:pt idx="699">
                  <c:v>2.7276030662771055E-33</c:v>
                </c:pt>
                <c:pt idx="700">
                  <c:v>2.1375898971468858E-33</c:v>
                </c:pt>
                <c:pt idx="701">
                  <c:v>1.6751748020545325E-33</c:v>
                </c:pt>
                <c:pt idx="702">
                  <c:v>1.3127695600306657E-33</c:v>
                </c:pt>
                <c:pt idx="703">
                  <c:v>1.0287493706445336E-33</c:v>
                </c:pt>
                <c:pt idx="704">
                  <c:v>8.0616414748243825E-34</c:v>
                </c:pt>
                <c:pt idx="705">
                  <c:v>6.3172822731481632E-34</c:v>
                </c:pt>
                <c:pt idx="706">
                  <c:v>4.9502836269899457E-34</c:v>
                </c:pt>
                <c:pt idx="707">
                  <c:v>3.8790284897121249E-34</c:v>
                </c:pt>
                <c:pt idx="708">
                  <c:v>3.0395481779962447E-34</c:v>
                </c:pt>
                <c:pt idx="709">
                  <c:v>2.3817071279474283E-34</c:v>
                </c:pt>
                <c:pt idx="710">
                  <c:v>1.8662122245614259E-34</c:v>
                </c:pt>
                <c:pt idx="711">
                  <c:v>1.4622685406519086E-34</c:v>
                </c:pt>
                <c:pt idx="712">
                  <c:v>1.1457418057524818E-34</c:v>
                </c:pt>
                <c:pt idx="713">
                  <c:v>8.9771810018427512E-35</c:v>
                </c:pt>
                <c:pt idx="714">
                  <c:v>7.0337492675230734E-35</c:v>
                </c:pt>
                <c:pt idx="715">
                  <c:v>5.5109636086732203E-35</c:v>
                </c:pt>
                <c:pt idx="716">
                  <c:v>4.3177952173025715E-35</c:v>
                </c:pt>
                <c:pt idx="717">
                  <c:v>3.3829100748040336E-35</c:v>
                </c:pt>
                <c:pt idx="718">
                  <c:v>2.6504087511698246E-35</c:v>
                </c:pt>
                <c:pt idx="719">
                  <c:v>2.0764875242298687E-35</c:v>
                </c:pt>
                <c:pt idx="720">
                  <c:v>1.6268216196902748E-35</c:v>
                </c:pt>
                <c:pt idx="721">
                  <c:v>1.2745144309353773E-35</c:v>
                </c:pt>
                <c:pt idx="722">
                  <c:v>9.9849033078274912E-36</c:v>
                </c:pt>
                <c:pt idx="723">
                  <c:v>7.8223514637955921E-36</c:v>
                </c:pt>
                <c:pt idx="724">
                  <c:v>6.1280910852127807E-36</c:v>
                </c:pt>
                <c:pt idx="725">
                  <c:v>4.8007334363821155E-36</c:v>
                </c:pt>
                <c:pt idx="726">
                  <c:v>3.7608372001421993E-36</c:v>
                </c:pt>
                <c:pt idx="727">
                  <c:v>2.9461584757935992E-36</c:v>
                </c:pt>
                <c:pt idx="728">
                  <c:v>2.3079285966120936E-36</c:v>
                </c:pt>
                <c:pt idx="729">
                  <c:v>1.8079374113486668E-36</c:v>
                </c:pt>
                <c:pt idx="730">
                  <c:v>1.4162477665150252E-36</c:v>
                </c:pt>
                <c:pt idx="731">
                  <c:v>1.109404620864806E-36</c:v>
                </c:pt>
                <c:pt idx="732">
                  <c:v>8.6903176535411192E-37</c:v>
                </c:pt>
                <c:pt idx="733">
                  <c:v>6.8073227498111366E-37</c:v>
                </c:pt>
                <c:pt idx="734">
                  <c:v>5.3322696432708118E-37</c:v>
                </c:pt>
                <c:pt idx="735">
                  <c:v>4.1767933962844762E-37</c:v>
                </c:pt>
                <c:pt idx="736">
                  <c:v>3.2716668466755056E-37</c:v>
                </c:pt>
                <c:pt idx="737">
                  <c:v>2.5626565146772338E-37</c:v>
                </c:pt>
                <c:pt idx="738">
                  <c:v>2.0072757131226153E-37</c:v>
                </c:pt>
                <c:pt idx="739">
                  <c:v>1.5722406507474126E-37</c:v>
                </c:pt>
                <c:pt idx="740">
                  <c:v>1.2314773489881601E-37</c:v>
                </c:pt>
                <c:pt idx="741">
                  <c:v>9.6456013018185053E-38</c:v>
                </c:pt>
                <c:pt idx="742">
                  <c:v>7.5548824323645618E-38</c:v>
                </c:pt>
                <c:pt idx="743">
                  <c:v>5.9172741798708805E-38</c:v>
                </c:pt>
                <c:pt idx="744">
                  <c:v>4.6345898621800091E-38</c:v>
                </c:pt>
                <c:pt idx="745">
                  <c:v>3.6299162522533352E-38</c:v>
                </c:pt>
                <c:pt idx="746">
                  <c:v>2.8430050974193431E-38</c:v>
                </c:pt>
                <c:pt idx="747">
                  <c:v>2.2266628183173442E-38</c:v>
                </c:pt>
                <c:pt idx="748">
                  <c:v>1.7439222218573439E-38</c:v>
                </c:pt>
                <c:pt idx="749">
                  <c:v>1.3658268666781562E-38</c:v>
                </c:pt>
                <c:pt idx="750">
                  <c:v>1.0696953914014959E-38</c:v>
                </c:pt>
                <c:pt idx="751">
                  <c:v>8.3776185079846859E-39</c:v>
                </c:pt>
                <c:pt idx="752">
                  <c:v>6.5611061559746172E-39</c:v>
                </c:pt>
                <c:pt idx="753">
                  <c:v>5.1384203047921589E-39</c:v>
                </c:pt>
                <c:pt idx="754">
                  <c:v>4.0241884298820041E-39</c:v>
                </c:pt>
                <c:pt idx="755">
                  <c:v>3.1515424326126075E-39</c:v>
                </c:pt>
                <c:pt idx="756">
                  <c:v>2.4681083572460664E-39</c:v>
                </c:pt>
                <c:pt idx="757">
                  <c:v>1.9328650962990999E-39</c:v>
                </c:pt>
                <c:pt idx="758">
                  <c:v>1.5136838101104131E-39</c:v>
                </c:pt>
                <c:pt idx="759">
                  <c:v>1.1854005723735789E-39</c:v>
                </c:pt>
                <c:pt idx="760">
                  <c:v>9.2830670343580955E-40</c:v>
                </c:pt>
                <c:pt idx="761">
                  <c:v>7.2696628531218767E-40</c:v>
                </c:pt>
                <c:pt idx="762">
                  <c:v>5.6928995968302266E-40</c:v>
                </c:pt>
                <c:pt idx="763">
                  <c:v>4.4580947148487911E-40</c:v>
                </c:pt>
                <c:pt idx="764">
                  <c:v>3.4910945460652871E-40</c:v>
                </c:pt>
                <c:pt idx="765">
                  <c:v>2.7338238182672374E-40</c:v>
                </c:pt>
                <c:pt idx="766">
                  <c:v>2.140799860675881E-40</c:v>
                </c:pt>
                <c:pt idx="767">
                  <c:v>1.6764024400182279E-40</c:v>
                </c:pt>
                <c:pt idx="768">
                  <c:v>1.312735442568088E-40</c:v>
                </c:pt>
                <c:pt idx="769">
                  <c:v>1.027952118302299E-40</c:v>
                </c:pt>
                <c:pt idx="770">
                  <c:v>8.0494340531786742E-41</c:v>
                </c:pt>
                <c:pt idx="771">
                  <c:v>6.3031062879177294E-41</c:v>
                </c:pt>
                <c:pt idx="772">
                  <c:v>4.9356093050690022E-41</c:v>
                </c:pt>
                <c:pt idx="773">
                  <c:v>3.8647714308134402E-41</c:v>
                </c:pt>
                <c:pt idx="774">
                  <c:v>3.0262429149612386E-41</c:v>
                </c:pt>
                <c:pt idx="775">
                  <c:v>2.3696310094613103E-41</c:v>
                </c:pt>
                <c:pt idx="776">
                  <c:v>1.855473112394942E-41</c:v>
                </c:pt>
                <c:pt idx="777">
                  <c:v>1.4528662755551029E-41</c:v>
                </c:pt>
                <c:pt idx="778">
                  <c:v>1.1376107597502449E-41</c:v>
                </c:pt>
                <c:pt idx="779">
                  <c:v>8.9075617874758771E-42</c:v>
                </c:pt>
                <c:pt idx="780">
                  <c:v>6.9746293585874286E-42</c:v>
                </c:pt>
                <c:pt idx="781">
                  <c:v>5.4611058451120355E-42</c:v>
                </c:pt>
                <c:pt idx="782">
                  <c:v>4.2759956735162182E-42</c:v>
                </c:pt>
                <c:pt idx="783">
                  <c:v>3.3480439867456862E-42</c:v>
                </c:pt>
                <c:pt idx="784">
                  <c:v>2.6214544725976712E-42</c:v>
                </c:pt>
                <c:pt idx="785">
                  <c:v>2.052535994131598E-42</c:v>
                </c:pt>
                <c:pt idx="786">
                  <c:v>1.6070765818813829E-42</c:v>
                </c:pt>
                <c:pt idx="787">
                  <c:v>1.2582870372400019E-42</c:v>
                </c:pt>
                <c:pt idx="788">
                  <c:v>9.8519060517950499E-43</c:v>
                </c:pt>
                <c:pt idx="789">
                  <c:v>7.7136196406842053E-43</c:v>
                </c:pt>
                <c:pt idx="790">
                  <c:v>6.0393976629115987E-43</c:v>
                </c:pt>
                <c:pt idx="791">
                  <c:v>4.7285339408927354E-43</c:v>
                </c:pt>
                <c:pt idx="792">
                  <c:v>3.7021746356015505E-43</c:v>
                </c:pt>
                <c:pt idx="793">
                  <c:v>2.8985768944076885E-43</c:v>
                </c:pt>
                <c:pt idx="794">
                  <c:v>2.2693961486020265E-43</c:v>
                </c:pt>
                <c:pt idx="795">
                  <c:v>1.7767789129992843E-43</c:v>
                </c:pt>
                <c:pt idx="796">
                  <c:v>1.3910863425601142E-43</c:v>
                </c:pt>
                <c:pt idx="797">
                  <c:v>1.0891117087052203E-43</c:v>
                </c:pt>
                <c:pt idx="798">
                  <c:v>8.5268463772922337E-44</c:v>
                </c:pt>
                <c:pt idx="799">
                  <c:v>6.6757820291758558E-44</c:v>
                </c:pt>
                <c:pt idx="800">
                  <c:v>5.2265316115094159E-44</c:v>
                </c:pt>
              </c:numCache>
            </c:numRef>
          </c:yVal>
          <c:smooth val="0"/>
          <c:extLst>
            <c:ext xmlns:c16="http://schemas.microsoft.com/office/drawing/2014/chart" uri="{C3380CC4-5D6E-409C-BE32-E72D297353CC}">
              <c16:uniqueId val="{00000000-1D62-4DE3-8E9D-34C68BC76380}"/>
            </c:ext>
          </c:extLst>
        </c:ser>
        <c:ser>
          <c:idx val="1"/>
          <c:order val="1"/>
          <c:tx>
            <c:strRef>
              <c:f>Calc!$E$6</c:f>
              <c:strCache>
                <c:ptCount val="1"/>
                <c:pt idx="0">
                  <c:v>2</c:v>
                </c:pt>
              </c:strCache>
            </c:strRef>
          </c:tx>
          <c:spPr>
            <a:ln w="28575">
              <a:noFill/>
            </a:ln>
          </c:spPr>
          <c:marker>
            <c:symbol val="square"/>
            <c:size val="3"/>
            <c:spPr>
              <a:solidFill>
                <a:srgbClr val="FF00FF"/>
              </a:solidFill>
              <a:ln>
                <a:solidFill>
                  <a:srgbClr val="FF00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E$7:$E$807</c:f>
              <c:numCache>
                <c:formatCode>000,000,000</c:formatCode>
                <c:ptCount val="801"/>
                <c:pt idx="0">
                  <c:v>3.1153660707755267E-17</c:v>
                </c:pt>
                <c:pt idx="1">
                  <c:v>3.4669430192078166E-17</c:v>
                </c:pt>
                <c:pt idx="2">
                  <c:v>3.8581741950471546E-17</c:v>
                </c:pt>
                <c:pt idx="3">
                  <c:v>4.2935293742985841E-17</c:v>
                </c:pt>
                <c:pt idx="4">
                  <c:v>4.7779818036493084E-17</c:v>
                </c:pt>
                <c:pt idx="5">
                  <c:v>5.3170648654362624E-17</c:v>
                </c:pt>
                <c:pt idx="6">
                  <c:v>5.9169351143975691E-17</c:v>
                </c:pt>
                <c:pt idx="7">
                  <c:v>6.5844424019537199E-17</c:v>
                </c:pt>
                <c:pt idx="8">
                  <c:v>7.3272078840754935E-17</c:v>
                </c:pt>
                <c:pt idx="9">
                  <c:v>8.1537107980951428E-17</c:v>
                </c:pt>
                <c:pt idx="10">
                  <c:v>9.0733849931299022E-17</c:v>
                </c:pt>
                <c:pt idx="11">
                  <c:v>1.0096726309221421E-16</c:v>
                </c:pt>
                <c:pt idx="12">
                  <c:v>1.1235412023092869E-16</c:v>
                </c:pt>
                <c:pt idx="13">
                  <c:v>1.2502433714983506E-16</c:v>
                </c:pt>
                <c:pt idx="14">
                  <c:v>1.3912245062859043E-16</c:v>
                </c:pt>
                <c:pt idx="15">
                  <c:v>1.5480926239136572E-16</c:v>
                </c:pt>
                <c:pt idx="16">
                  <c:v>1.7226366772798361E-16</c:v>
                </c:pt>
                <c:pt idx="17">
                  <c:v>1.9168468948516259E-16</c:v>
                </c:pt>
                <c:pt idx="18">
                  <c:v>2.1329374046503277E-16</c:v>
                </c:pt>
                <c:pt idx="19">
                  <c:v>2.3733713984879824E-16</c:v>
                </c:pt>
                <c:pt idx="20">
                  <c:v>2.6408891213263523E-16</c:v>
                </c:pt>
                <c:pt idx="21">
                  <c:v>2.9385390025308425E-16</c:v>
                </c:pt>
                <c:pt idx="22">
                  <c:v>3.2697122812595353E-16</c:v>
                </c:pt>
                <c:pt idx="23">
                  <c:v>3.6381815176606837E-16</c:v>
                </c:pt>
                <c:pt idx="24">
                  <c:v>4.048143425391648E-16</c:v>
                </c:pt>
                <c:pt idx="25">
                  <c:v>4.5042665097104332E-16</c:v>
                </c:pt>
                <c:pt idx="26">
                  <c:v>5.0117440495757182E-16</c:v>
                </c:pt>
                <c:pt idx="27">
                  <c:v>5.5763530224248364E-16</c:v>
                </c:pt>
                <c:pt idx="28">
                  <c:v>6.2045196372642361E-16</c:v>
                </c:pt>
                <c:pt idx="29">
                  <c:v>6.9033922161445328E-16</c:v>
                </c:pt>
                <c:pt idx="30">
                  <c:v>7.6809222468394694E-16</c:v>
                </c:pt>
                <c:pt idx="31">
                  <c:v>8.5459545215359141E-16</c:v>
                </c:pt>
                <c:pt idx="32">
                  <c:v>9.5083273785842685E-16</c:v>
                </c:pt>
                <c:pt idx="33">
                  <c:v>1.0578984178016432E-15</c:v>
                </c:pt>
                <c:pt idx="34">
                  <c:v>1.1770097267866672E-15</c:v>
                </c:pt>
                <c:pt idx="35">
                  <c:v>1.3095205838747234E-15</c:v>
                </c:pt>
                <c:pt idx="36">
                  <c:v>1.456936922020253E-15</c:v>
                </c:pt>
                <c:pt idx="37">
                  <c:v>1.6209337345830089E-15</c:v>
                </c:pt>
                <c:pt idx="38">
                  <c:v>1.8033740306952385E-15</c:v>
                </c:pt>
                <c:pt idx="39">
                  <c:v>2.0063299128898484E-15</c:v>
                </c:pt>
                <c:pt idx="40">
                  <c:v>2.2321060142089664E-15</c:v>
                </c:pt>
                <c:pt idx="41">
                  <c:v>2.4832655584782974E-15</c:v>
                </c:pt>
                <c:pt idx="42">
                  <c:v>2.7626593368438834E-15</c:v>
                </c:pt>
                <c:pt idx="43">
                  <c:v>3.0734579263537824E-15</c:v>
                </c:pt>
                <c:pt idx="44">
                  <c:v>3.4191875126880486E-15</c:v>
                </c:pt>
                <c:pt idx="45">
                  <c:v>3.803769719503031E-15</c:v>
                </c:pt>
                <c:pt idx="46">
                  <c:v>4.23156589170701E-15</c:v>
                </c:pt>
                <c:pt idx="47">
                  <c:v>4.7074263298205207E-15</c:v>
                </c:pt>
                <c:pt idx="48">
                  <c:v>5.236745027951377E-15</c:v>
                </c:pt>
                <c:pt idx="49">
                  <c:v>5.8255205294438349E-15</c:v>
                </c:pt>
                <c:pt idx="50">
                  <c:v>6.4804235826257675E-15</c:v>
                </c:pt>
                <c:pt idx="51">
                  <c:v>7.2088723550334306E-15</c:v>
                </c:pt>
                <c:pt idx="52">
                  <c:v>8.0191160488834573E-15</c:v>
                </c:pt>
                <c:pt idx="53">
                  <c:v>8.9203278543160354E-15</c:v>
                </c:pt>
                <c:pt idx="54">
                  <c:v>9.922708281091364E-15</c:v>
                </c:pt>
                <c:pt idx="55">
                  <c:v>1.1037600025130987E-14</c:v>
                </c:pt>
                <c:pt idx="56">
                  <c:v>1.2277615654838257E-14</c:v>
                </c:pt>
                <c:pt idx="57">
                  <c:v>1.3656779544921064E-14</c:v>
                </c:pt>
                <c:pt idx="58">
                  <c:v>1.5190685644053498E-14</c:v>
                </c:pt>
                <c:pt idx="59">
                  <c:v>1.6896672838895691E-14</c:v>
                </c:pt>
                <c:pt idx="60">
                  <c:v>1.8794019872688064E-14</c:v>
                </c:pt>
                <c:pt idx="61">
                  <c:v>2.0904161993992676E-14</c:v>
                </c:pt>
                <c:pt idx="62">
                  <c:v>2.3250931752566167E-14</c:v>
                </c:pt>
                <c:pt idx="63">
                  <c:v>2.5860826627471891E-14</c:v>
                </c:pt>
                <c:pt idx="64">
                  <c:v>2.8763306470303896E-14</c:v>
                </c:pt>
                <c:pt idx="65">
                  <c:v>3.1991124077086015E-14</c:v>
                </c:pt>
                <c:pt idx="66">
                  <c:v>3.5580692569640461E-14</c:v>
                </c:pt>
                <c:pt idx="67">
                  <c:v>3.9572493675009661E-14</c:v>
                </c:pt>
                <c:pt idx="68">
                  <c:v>4.4011531444356906E-14</c:v>
                </c:pt>
                <c:pt idx="69">
                  <c:v>4.8947836455562017E-14</c:v>
                </c:pt>
                <c:pt idx="70">
                  <c:v>5.4437026102036904E-14</c:v>
                </c:pt>
                <c:pt idx="71">
                  <c:v>6.0540927190131865E-14</c:v>
                </c:pt>
                <c:pt idx="72">
                  <c:v>6.732826775572239E-14</c:v>
                </c:pt>
                <c:pt idx="73">
                  <c:v>7.4875445774594234E-14</c:v>
                </c:pt>
                <c:pt idx="74">
                  <c:v>8.3267383289469119E-14</c:v>
                </c:pt>
                <c:pt idx="75">
                  <c:v>9.2598475418100301E-14</c:v>
                </c:pt>
                <c:pt idx="76">
                  <c:v>1.0297364475211837E-13</c:v>
                </c:pt>
                <c:pt idx="77">
                  <c:v>1.1450951281652109E-13</c:v>
                </c:pt>
                <c:pt idx="78">
                  <c:v>1.2733570154750648E-13</c:v>
                </c:pt>
                <c:pt idx="79">
                  <c:v>1.4159627917571339E-13</c:v>
                </c:pt>
                <c:pt idx="80">
                  <c:v>1.5745136648828435E-13</c:v>
                </c:pt>
                <c:pt idx="81">
                  <c:v>1.7507892120375548E-13</c:v>
                </c:pt>
                <c:pt idx="82">
                  <c:v>1.9467672014759824E-13</c:v>
                </c:pt>
                <c:pt idx="83">
                  <c:v>2.1646456108433274E-13</c:v>
                </c:pt>
                <c:pt idx="84">
                  <c:v>2.406867084680294E-13</c:v>
                </c:pt>
                <c:pt idx="85">
                  <c:v>2.676146100425351E-13</c:v>
                </c:pt>
                <c:pt idx="86">
                  <c:v>2.9754991418463256E-13</c:v>
                </c:pt>
                <c:pt idx="87">
                  <c:v>3.3082782116957763E-13</c:v>
                </c:pt>
                <c:pt idx="88">
                  <c:v>3.678208051841225E-13</c:v>
                </c:pt>
                <c:pt idx="89">
                  <c:v>4.0894274795654904E-13</c:v>
                </c:pt>
                <c:pt idx="90">
                  <c:v>4.5465352935968339E-13</c:v>
                </c:pt>
                <c:pt idx="91">
                  <c:v>5.0546412531932595E-13</c:v>
                </c:pt>
                <c:pt idx="92">
                  <c:v>5.6194226888024189E-13</c:v>
                </c:pt>
                <c:pt idx="93">
                  <c:v>6.2471873640396556E-13</c:v>
                </c:pt>
                <c:pt idx="94">
                  <c:v>6.9449432766194534E-13</c:v>
                </c:pt>
                <c:pt idx="95">
                  <c:v>7.7204761611716071E-13</c:v>
                </c:pt>
                <c:pt idx="96">
                  <c:v>8.5824355403641098E-13</c:v>
                </c:pt>
                <c:pt idx="97">
                  <c:v>9.5404302633369966E-13</c:v>
                </c:pt>
                <c:pt idx="98">
                  <c:v>1.0605134573097955E-12</c:v>
                </c:pt>
                <c:pt idx="99">
                  <c:v>1.1788405858339268E-12</c:v>
                </c:pt>
                <c:pt idx="100">
                  <c:v>1.3103415371300149E-12</c:v>
                </c:pt>
                <c:pt idx="101">
                  <c:v>1.456479333316295E-12</c:v>
                </c:pt>
                <c:pt idx="102">
                  <c:v>1.6188790003500679E-12</c:v>
                </c:pt>
                <c:pt idx="103">
                  <c:v>1.7993454462133659E-12</c:v>
                </c:pt>
                <c:pt idx="104">
                  <c:v>1.9998833042194314E-12</c:v>
                </c:pt>
                <c:pt idx="105">
                  <c:v>2.2227189564263382E-12</c:v>
                </c:pt>
                <c:pt idx="106">
                  <c:v>2.4703249755324777E-12</c:v>
                </c:pt>
                <c:pt idx="107">
                  <c:v>2.7454472495443206E-12</c:v>
                </c:pt>
                <c:pt idx="108">
                  <c:v>3.0511350822215019E-12</c:v>
                </c:pt>
                <c:pt idx="109">
                  <c:v>3.3907745941165692E-12</c:v>
                </c:pt>
                <c:pt idx="110">
                  <c:v>3.7681257842686969E-12</c:v>
                </c:pt>
                <c:pt idx="111">
                  <c:v>4.1873636516486297E-12</c:v>
                </c:pt>
                <c:pt idx="112">
                  <c:v>4.6531238186914821E-12</c:v>
                </c:pt>
                <c:pt idx="113">
                  <c:v>5.1705531471432924E-12</c:v>
                </c:pt>
                <c:pt idx="114">
                  <c:v>5.7453658894803595E-12</c:v>
                </c:pt>
                <c:pt idx="115">
                  <c:v>6.3839059778875543E-12</c:v>
                </c:pt>
                <c:pt idx="116">
                  <c:v>7.0932161178054667E-12</c:v>
                </c:pt>
                <c:pt idx="117">
                  <c:v>7.881114425046599E-12</c:v>
                </c:pt>
                <c:pt idx="118">
                  <c:v>8.7562794251775264E-12</c:v>
                </c:pt>
                <c:pt idx="119">
                  <c:v>9.7283443220821234E-12</c:v>
                </c:pt>
                <c:pt idx="120">
                  <c:v>1.0808001540261494E-11</c:v>
                </c:pt>
                <c:pt idx="121">
                  <c:v>1.2007118653489072E-11</c:v>
                </c:pt>
                <c:pt idx="122">
                  <c:v>1.333886693202051E-11</c:v>
                </c:pt>
                <c:pt idx="123">
                  <c:v>1.4817863872872626E-11</c:v>
                </c:pt>
                <c:pt idx="124">
                  <c:v>1.6460331224075859E-11</c:v>
                </c:pt>
                <c:pt idx="125">
                  <c:v>1.8284270175751918E-11</c:v>
                </c:pt>
                <c:pt idx="126">
                  <c:v>2.0309655569997491E-11</c:v>
                </c:pt>
                <c:pt idx="127">
                  <c:v>2.2558651179683796E-11</c:v>
                </c:pt>
                <c:pt idx="128">
                  <c:v>2.5055848325380928E-11</c:v>
                </c:pt>
                <c:pt idx="129">
                  <c:v>2.782853034188886E-11</c:v>
                </c:pt>
                <c:pt idx="130">
                  <c:v>3.0906965673730795E-11</c:v>
                </c:pt>
                <c:pt idx="131">
                  <c:v>3.4324732675079936E-11</c:v>
                </c:pt>
                <c:pt idx="132">
                  <c:v>3.8119079516923174E-11</c:v>
                </c:pt>
                <c:pt idx="133">
                  <c:v>4.2331322966027542E-11</c:v>
                </c:pt>
                <c:pt idx="134">
                  <c:v>4.700729020005665E-11</c:v>
                </c:pt>
                <c:pt idx="135">
                  <c:v>5.2197808264920488E-11</c:v>
                </c:pt>
                <c:pt idx="136">
                  <c:v>5.7959246268456043E-11</c:v>
                </c:pt>
                <c:pt idx="137">
                  <c:v>6.4354115943626569E-11</c:v>
                </c:pt>
                <c:pt idx="138">
                  <c:v>7.1451736809838891E-11</c:v>
                </c:pt>
                <c:pt idx="139">
                  <c:v>7.9328972818502777E-11</c:v>
                </c:pt>
                <c:pt idx="140">
                  <c:v>8.8071048094982756E-11</c:v>
                </c:pt>
                <c:pt idx="141">
                  <c:v>9.7772450190612871E-11</c:v>
                </c:pt>
                <c:pt idx="142">
                  <c:v>1.0853793014321366E-10</c:v>
                </c:pt>
                <c:pt idx="143">
                  <c:v>1.2048360962100304E-10</c:v>
                </c:pt>
                <c:pt idx="144">
                  <c:v>1.337382065023425E-10</c:v>
                </c:pt>
                <c:pt idx="145">
                  <c:v>1.484443914325828E-10</c:v>
                </c:pt>
                <c:pt idx="146">
                  <c:v>1.647602892107442E-10</c:v>
                </c:pt>
                <c:pt idx="147">
                  <c:v>1.828611403051959E-10</c:v>
                </c:pt>
                <c:pt idx="148">
                  <c:v>2.0294113939261018E-10</c:v>
                </c:pt>
                <c:pt idx="149">
                  <c:v>2.25215469573084E-10</c:v>
                </c:pt>
                <c:pt idx="150">
                  <c:v>2.4992255285303438E-10</c:v>
                </c:pt>
                <c:pt idx="151">
                  <c:v>2.7732653962417417E-10</c:v>
                </c:pt>
                <c:pt idx="152">
                  <c:v>3.0772006222141164E-10</c:v>
                </c:pt>
                <c:pt idx="153">
                  <c:v>3.4142728023662273E-10</c:v>
                </c:pt>
                <c:pt idx="154">
                  <c:v>3.788072481226267E-10</c:v>
                </c:pt>
                <c:pt idx="155">
                  <c:v>4.2025763876855977E-10</c:v>
                </c:pt>
                <c:pt idx="156">
                  <c:v>4.6621886019274689E-10</c:v>
                </c:pt>
                <c:pt idx="157">
                  <c:v>5.1717860631338606E-10</c:v>
                </c:pt>
                <c:pt idx="158">
                  <c:v>5.7367688695529864E-10</c:v>
                </c:pt>
                <c:pt idx="159">
                  <c:v>6.3631158687024593E-10</c:v>
                </c:pt>
                <c:pt idx="160">
                  <c:v>7.0574460862977361E-10</c:v>
                </c:pt>
                <c:pt idx="161">
                  <c:v>7.8270865983853849E-10</c:v>
                </c:pt>
                <c:pt idx="162">
                  <c:v>8.6801475126161334E-10</c:v>
                </c:pt>
                <c:pt idx="163">
                  <c:v>9.6256047921481028E-10</c:v>
                </c:pt>
                <c:pt idx="164">
                  <c:v>1.0673391729922814E-9</c:v>
                </c:pt>
                <c:pt idx="165">
                  <c:v>1.1834499962634451E-9</c:v>
                </c:pt>
                <c:pt idx="166">
                  <c:v>1.3121091003330244E-9</c:v>
                </c:pt>
                <c:pt idx="167">
                  <c:v>1.4546619369989453E-9</c:v>
                </c:pt>
                <c:pt idx="168">
                  <c:v>1.6125968495475328E-9</c:v>
                </c:pt>
                <c:pt idx="169">
                  <c:v>1.7875600722835695E-9</c:v>
                </c:pt>
                <c:pt idx="170">
                  <c:v>1.9813722820047793E-9</c:v>
                </c:pt>
                <c:pt idx="171">
                  <c:v>2.1960468591026056E-9</c:v>
                </c:pt>
                <c:pt idx="172">
                  <c:v>2.4338100316228302E-9</c:v>
                </c:pt>
                <c:pt idx="173">
                  <c:v>2.6971230927764501E-9</c:v>
                </c:pt>
                <c:pt idx="174">
                  <c:v>2.9887069011943458E-9</c:v>
                </c:pt>
                <c:pt idx="175">
                  <c:v>3.3115688938180211E-9</c:v>
                </c:pt>
                <c:pt idx="176">
                  <c:v>3.6690328638776234E-9</c:v>
                </c:pt>
                <c:pt idx="177">
                  <c:v>4.064771781105516E-9</c:v>
                </c:pt>
                <c:pt idx="178">
                  <c:v>4.502843958362239E-9</c:v>
                </c:pt>
                <c:pt idx="179">
                  <c:v>4.9877328984195215E-9</c:v>
                </c:pt>
                <c:pt idx="180">
                  <c:v>5.5243911869814528E-9</c:v>
                </c:pt>
                <c:pt idx="181">
                  <c:v>6.1182888333715753E-9</c:v>
                </c:pt>
                <c:pt idx="182">
                  <c:v>6.7754664989392758E-9</c:v>
                </c:pt>
                <c:pt idx="183">
                  <c:v>7.5025940954273347E-9</c:v>
                </c:pt>
                <c:pt idx="184">
                  <c:v>8.307035281606156E-9</c:v>
                </c:pt>
                <c:pt idx="185">
                  <c:v>9.1969184367483838E-9</c:v>
                </c:pt>
                <c:pt idx="186">
                  <c:v>1.0181214744356883E-8</c:v>
                </c:pt>
                <c:pt idx="187">
                  <c:v>1.1269824079349374E-8</c:v>
                </c:pt>
                <c:pt idx="188">
                  <c:v>1.2473669457068865E-8</c:v>
                </c:pt>
                <c:pt idx="189">
                  <c:v>1.3804800873470279E-8</c:v>
                </c:pt>
                <c:pt idx="190">
                  <c:v>1.5276509443121965E-8</c:v>
                </c:pt>
                <c:pt idx="191">
                  <c:v>1.6903452825758184E-8</c:v>
                </c:pt>
                <c:pt idx="192">
                  <c:v>1.8701793023592129E-8</c:v>
                </c:pt>
                <c:pt idx="193">
                  <c:v>2.0689347731030302E-8</c:v>
                </c:pt>
                <c:pt idx="194">
                  <c:v>2.2885756526447675E-8</c:v>
                </c:pt>
                <c:pt idx="195">
                  <c:v>2.5312663312977028E-8</c:v>
                </c:pt>
                <c:pt idx="196">
                  <c:v>2.7993916542530071E-8</c:v>
                </c:pt>
                <c:pt idx="197">
                  <c:v>3.0955788895289435E-8</c:v>
                </c:pt>
                <c:pt idx="198">
                  <c:v>3.4227218236480809E-8</c:v>
                </c:pt>
                <c:pt idx="199">
                  <c:v>3.784007183422377E-8</c:v>
                </c:pt>
                <c:pt idx="200">
                  <c:v>4.1829435997573942E-8</c:v>
                </c:pt>
                <c:pt idx="201">
                  <c:v>4.623393348346274E-8</c:v>
                </c:pt>
                <c:pt idx="202">
                  <c:v>5.1096071226137696E-8</c:v>
                </c:pt>
                <c:pt idx="203">
                  <c:v>5.6462621163948252E-8</c:v>
                </c:pt>
                <c:pt idx="204">
                  <c:v>6.2385037177053869E-8</c:v>
                </c:pt>
                <c:pt idx="205">
                  <c:v>6.8919911406978796E-8</c:v>
                </c:pt>
                <c:pt idx="206">
                  <c:v>7.6129473506152321E-8</c:v>
                </c:pt>
                <c:pt idx="207">
                  <c:v>8.4082136663901461E-8</c:v>
                </c:pt>
                <c:pt idx="208">
                  <c:v>9.285309457609563E-8</c:v>
                </c:pt>
                <c:pt idx="209">
                  <c:v>1.025249738701569E-7</c:v>
                </c:pt>
                <c:pt idx="210">
                  <c:v>1.1318854686681891E-7</c:v>
                </c:pt>
                <c:pt idx="211">
                  <c:v>1.2494350995622264E-7</c:v>
                </c:pt>
                <c:pt idx="212">
                  <c:v>1.37899333290168E-7</c:v>
                </c:pt>
                <c:pt idx="213">
                  <c:v>1.5217618794600826E-7</c:v>
                </c:pt>
                <c:pt idx="214">
                  <c:v>1.679059572022127E-7</c:v>
                </c:pt>
                <c:pt idx="215">
                  <c:v>1.8523333908253125E-7</c:v>
                </c:pt>
                <c:pt idx="216">
                  <c:v>2.0431704787631543E-7</c:v>
                </c:pt>
                <c:pt idx="217">
                  <c:v>2.2533112292827014E-7</c:v>
                </c:pt>
                <c:pt idx="218">
                  <c:v>2.4846635361309182E-7</c:v>
                </c:pt>
                <c:pt idx="219">
                  <c:v>2.7393183007017031E-7</c:v>
                </c:pt>
                <c:pt idx="220">
                  <c:v>3.0195662997204039E-7</c:v>
                </c:pt>
                <c:pt idx="221">
                  <c:v>3.3279165233842271E-7</c:v>
                </c:pt>
                <c:pt idx="222">
                  <c:v>3.6671161018623162E-7</c:v>
                </c:pt>
                <c:pt idx="223">
                  <c:v>4.0401719462553973E-7</c:v>
                </c:pt>
                <c:pt idx="224">
                  <c:v>4.4503742387230025E-7</c:v>
                </c:pt>
                <c:pt idx="225">
                  <c:v>4.9013219155061987E-7</c:v>
                </c:pt>
                <c:pt idx="226">
                  <c:v>5.3969502960038083E-7</c:v>
                </c:pt>
                <c:pt idx="227">
                  <c:v>5.9415610208877219E-7</c:v>
                </c:pt>
                <c:pt idx="228">
                  <c:v>6.5398544724593109E-7</c:v>
                </c:pt>
                <c:pt idx="229">
                  <c:v>7.1969648610319395E-7</c:v>
                </c:pt>
                <c:pt idx="230">
                  <c:v>7.9184981720506102E-7</c:v>
                </c:pt>
                <c:pt idx="231">
                  <c:v>8.7105731798945008E-7</c:v>
                </c:pt>
                <c:pt idx="232">
                  <c:v>9.5798657458132864E-7</c:v>
                </c:pt>
                <c:pt idx="233">
                  <c:v>1.0533656629167136E-6</c:v>
                </c:pt>
                <c:pt idx="234">
                  <c:v>1.1579883053021426E-6</c:v>
                </c:pt>
                <c:pt idx="235">
                  <c:v>1.2727194277108177E-6</c:v>
                </c:pt>
                <c:pt idx="236">
                  <c:v>1.3985011443127802E-6</c:v>
                </c:pt>
                <c:pt idx="237">
                  <c:v>1.5363591969225449E-6</c:v>
                </c:pt>
                <c:pt idx="238">
                  <c:v>1.6874098782118732E-6</c:v>
                </c:pt>
                <c:pt idx="239">
                  <c:v>1.8528674686647705E-6</c:v>
                </c:pt>
                <c:pt idx="240">
                  <c:v>2.0340522183310161E-6</c:v>
                </c:pt>
                <c:pt idx="241">
                  <c:v>2.2323989054465009E-6</c:v>
                </c:pt>
                <c:pt idx="242">
                  <c:v>2.4494660049137202E-6</c:v>
                </c:pt>
                <c:pt idx="243">
                  <c:v>2.6869455004526243E-6</c:v>
                </c:pt>
                <c:pt idx="244">
                  <c:v>2.9466733749156166E-6</c:v>
                </c:pt>
                <c:pt idx="245">
                  <c:v>3.2306408137846635E-6</c:v>
                </c:pt>
                <c:pt idx="246">
                  <c:v>3.541006157202223E-6</c:v>
                </c:pt>
                <c:pt idx="247">
                  <c:v>3.8801076359992407E-6</c:v>
                </c:pt>
                <c:pt idx="248">
                  <c:v>4.2504769270352603E-6</c:v>
                </c:pt>
                <c:pt idx="249">
                  <c:v>4.6548535627196189E-6</c:v>
                </c:pt>
                <c:pt idx="250">
                  <c:v>5.0962002287940019E-6</c:v>
                </c:pt>
                <c:pt idx="251">
                  <c:v>5.5777189832813224E-6</c:v>
                </c:pt>
                <c:pt idx="252">
                  <c:v>6.1028684278903515E-6</c:v>
                </c:pt>
                <c:pt idx="253">
                  <c:v>6.6753818610591541E-6</c:v>
                </c:pt>
                <c:pt idx="254">
                  <c:v>7.2992864391635919E-6</c:v>
                </c:pt>
                <c:pt idx="255">
                  <c:v>7.9789233691494186E-6</c:v>
                </c:pt>
                <c:pt idx="256">
                  <c:v>8.7189691519040064E-6</c:v>
                </c:pt>
                <c:pt idx="257">
                  <c:v>9.5244578909963195E-6</c:v>
                </c:pt>
                <c:pt idx="258">
                  <c:v>1.0400804675913559E-5</c:v>
                </c:pt>
                <c:pt idx="259">
                  <c:v>1.1353830042534561E-5</c:v>
                </c:pt>
                <c:pt idx="260">
                  <c:v>1.2389785506225743E-5</c:v>
                </c:pt>
                <c:pt idx="261">
                  <c:v>1.3515380154553885E-5</c:v>
                </c:pt>
                <c:pt idx="262">
                  <c:v>1.4737808277094287E-5</c:v>
                </c:pt>
                <c:pt idx="263">
                  <c:v>1.6064777999102717E-5</c:v>
                </c:pt>
                <c:pt idx="264">
                  <c:v>1.7504540873829201E-5</c:v>
                </c:pt>
                <c:pt idx="265">
                  <c:v>1.9065922374915892E-5</c:v>
                </c:pt>
                <c:pt idx="266">
                  <c:v>2.0758353215549593E-5</c:v>
                </c:pt>
                <c:pt idx="267">
                  <c:v>2.2591901404792775E-5</c:v>
                </c:pt>
                <c:pt idx="268">
                  <c:v>2.4577304933695169E-5</c:v>
                </c:pt>
                <c:pt idx="269">
                  <c:v>2.6726004964381633E-5</c:v>
                </c:pt>
                <c:pt idx="270">
                  <c:v>2.905017937423789E-5</c:v>
                </c:pt>
                <c:pt idx="271">
                  <c:v>3.1562776484574528E-5</c:v>
                </c:pt>
                <c:pt idx="272">
                  <c:v>3.4277548778709884E-5</c:v>
                </c:pt>
                <c:pt idx="273">
                  <c:v>3.7209086388281866E-5</c:v>
                </c:pt>
                <c:pt idx="274">
                  <c:v>4.0372850098803341E-5</c:v>
                </c:pt>
                <c:pt idx="275">
                  <c:v>4.3785203596061724E-5</c:v>
                </c:pt>
                <c:pt idx="276">
                  <c:v>4.7463444644005937E-5</c:v>
                </c:pt>
                <c:pt idx="277">
                  <c:v>5.1425834852367382E-5</c:v>
                </c:pt>
                <c:pt idx="278">
                  <c:v>5.5691627658575951E-5</c:v>
                </c:pt>
                <c:pt idx="279">
                  <c:v>6.0281094113710837E-5</c:v>
                </c:pt>
                <c:pt idx="280">
                  <c:v>6.5215546026525567E-5</c:v>
                </c:pt>
                <c:pt idx="281">
                  <c:v>7.0517355983227192E-5</c:v>
                </c:pt>
                <c:pt idx="282">
                  <c:v>7.6209973724021825E-5</c:v>
                </c:pt>
                <c:pt idx="283">
                  <c:v>8.2317938320802586E-5</c:v>
                </c:pt>
                <c:pt idx="284">
                  <c:v>8.8866885564168666E-5</c:v>
                </c:pt>
                <c:pt idx="285">
                  <c:v>9.5883549932718345E-5</c:v>
                </c:pt>
                <c:pt idx="286">
                  <c:v>1.0339576048376635E-4</c:v>
                </c:pt>
                <c:pt idx="287">
                  <c:v>1.1143242997289766E-4</c:v>
                </c:pt>
                <c:pt idx="288">
                  <c:v>1.2002353648074576E-4</c:v>
                </c:pt>
                <c:pt idx="289">
                  <c:v>1.2920009679977064E-4</c:v>
                </c:pt>
                <c:pt idx="290">
                  <c:v>1.3899413081240383E-4</c:v>
                </c:pt>
                <c:pt idx="291">
                  <c:v>1.4943861607552792E-4</c:v>
                </c:pt>
                <c:pt idx="292">
                  <c:v>1.6056743181576459E-4</c:v>
                </c:pt>
                <c:pt idx="293">
                  <c:v>1.7241529153639166E-4</c:v>
                </c:pt>
                <c:pt idx="294">
                  <c:v>1.8501766344080798E-4</c:v>
                </c:pt>
                <c:pt idx="295">
                  <c:v>1.9841067789041927E-4</c:v>
                </c:pt>
                <c:pt idx="296">
                  <c:v>2.1263102113749493E-4</c:v>
                </c:pt>
                <c:pt idx="297">
                  <c:v>2.2771581460710624E-4</c:v>
                </c:pt>
                <c:pt idx="298">
                  <c:v>2.4370247904763334E-4</c:v>
                </c:pt>
                <c:pt idx="299">
                  <c:v>2.6062858292749891E-4</c:v>
                </c:pt>
                <c:pt idx="300">
                  <c:v>2.7853167452776822E-4</c:v>
                </c:pt>
                <c:pt idx="301">
                  <c:v>2.9744909726678412E-4</c:v>
                </c:pt>
                <c:pt idx="302">
                  <c:v>3.1741778789508258E-4</c:v>
                </c:pt>
                <c:pt idx="303">
                  <c:v>3.3847405731678816E-4</c:v>
                </c:pt>
                <c:pt idx="304">
                  <c:v>3.6065335392846401E-4</c:v>
                </c:pt>
                <c:pt idx="305">
                  <c:v>3.8399000951792992E-4</c:v>
                </c:pt>
                <c:pt idx="306">
                  <c:v>4.085169679343183E-4</c:v>
                </c:pt>
                <c:pt idx="307">
                  <c:v>4.3426549692635784E-4</c:v>
                </c:pt>
                <c:pt idx="308">
                  <c:v>4.6126488374831321E-4</c:v>
                </c:pt>
                <c:pt idx="309">
                  <c:v>4.8954211535146995E-4</c:v>
                </c:pt>
                <c:pt idx="310">
                  <c:v>5.1912154421269053E-4</c:v>
                </c:pt>
                <c:pt idx="311">
                  <c:v>5.5002454109898677E-4</c:v>
                </c:pt>
                <c:pt idx="312">
                  <c:v>5.8226913632668795E-4</c:v>
                </c:pt>
                <c:pt idx="313">
                  <c:v>6.1586965134368332E-4</c:v>
                </c:pt>
                <c:pt idx="314">
                  <c:v>6.5083632274067914E-4</c:v>
                </c:pt>
                <c:pt idx="315">
                  <c:v>6.8717492108006989E-4</c:v>
                </c:pt>
                <c:pt idx="316">
                  <c:v>7.2488636721521895E-4</c:v>
                </c:pt>
                <c:pt idx="317">
                  <c:v>7.639663490553721E-4</c:v>
                </c:pt>
                <c:pt idx="318">
                  <c:v>8.0440494200790841E-4</c:v>
                </c:pt>
                <c:pt idx="319">
                  <c:v>8.4618623659599612E-4</c:v>
                </c:pt>
                <c:pt idx="320">
                  <c:v>8.8928797700104777E-4</c:v>
                </c:pt>
                <c:pt idx="321">
                  <c:v>9.3368121451109563E-4</c:v>
                </c:pt>
                <c:pt idx="322">
                  <c:v>9.7932998006266571E-4</c:v>
                </c:pt>
                <c:pt idx="323">
                  <c:v>1.0261909802400937E-3</c:v>
                </c:pt>
                <c:pt idx="324">
                  <c:v>1.0742133212368451E-3</c:v>
                </c:pt>
                <c:pt idx="325">
                  <c:v>1.1233382653827119E-3</c:v>
                </c:pt>
                <c:pt idx="326">
                  <c:v>1.1734990248941106E-3</c:v>
                </c:pt>
                <c:pt idx="327">
                  <c:v>1.2246205975060061E-3</c:v>
                </c:pt>
                <c:pt idx="328">
                  <c:v>1.2766196485897161E-3</c:v>
                </c:pt>
                <c:pt idx="329">
                  <c:v>1.3294044442454457E-3</c:v>
                </c:pt>
                <c:pt idx="330">
                  <c:v>1.3828748396791217E-3</c:v>
                </c:pt>
                <c:pt idx="331">
                  <c:v>1.4369223269261966E-3</c:v>
                </c:pt>
                <c:pt idx="332">
                  <c:v>1.4914301456686323E-3</c:v>
                </c:pt>
                <c:pt idx="333">
                  <c:v>1.546273460503693E-3</c:v>
                </c:pt>
                <c:pt idx="334">
                  <c:v>1.6013196075642499E-3</c:v>
                </c:pt>
                <c:pt idx="335">
                  <c:v>1.6564284128609101E-3</c:v>
                </c:pt>
                <c:pt idx="336">
                  <c:v>1.7114525841178123E-3</c:v>
                </c:pt>
                <c:pt idx="337">
                  <c:v>1.76623817721067E-3</c:v>
                </c:pt>
                <c:pt idx="338">
                  <c:v>1.8206251375911284E-3</c:v>
                </c:pt>
                <c:pt idx="339">
                  <c:v>1.8744479163021728E-3</c:v>
                </c:pt>
                <c:pt idx="340">
                  <c:v>1.9275361593625491E-3</c:v>
                </c:pt>
                <c:pt idx="341">
                  <c:v>1.9797154684319455E-3</c:v>
                </c:pt>
                <c:pt idx="342">
                  <c:v>2.0308082297736617E-3</c:v>
                </c:pt>
                <c:pt idx="343">
                  <c:v>2.0806345076178736E-3</c:v>
                </c:pt>
                <c:pt idx="344">
                  <c:v>2.1290129971087987E-3</c:v>
                </c:pt>
                <c:pt idx="345">
                  <c:v>2.1757620311067751E-3</c:v>
                </c:pt>
                <c:pt idx="346">
                  <c:v>2.2207006342230451E-3</c:v>
                </c:pt>
                <c:pt idx="347">
                  <c:v>2.2636496166082952E-3</c:v>
                </c:pt>
                <c:pt idx="348">
                  <c:v>2.3044326992071244E-3</c:v>
                </c:pt>
                <c:pt idx="349">
                  <c:v>2.3428776614463692E-3</c:v>
                </c:pt>
                <c:pt idx="350">
                  <c:v>2.3788175016590234E-3</c:v>
                </c:pt>
                <c:pt idx="351">
                  <c:v>2.4120915999713572E-3</c:v>
                </c:pt>
                <c:pt idx="352">
                  <c:v>2.4425468729121218E-3</c:v>
                </c:pt>
                <c:pt idx="353">
                  <c:v>2.4700389086511052E-3</c:v>
                </c:pt>
                <c:pt idx="354">
                  <c:v>2.4944330715509174E-3</c:v>
                </c:pt>
                <c:pt idx="355">
                  <c:v>2.5156055646291878E-3</c:v>
                </c:pt>
                <c:pt idx="356">
                  <c:v>2.5334444385866797E-3</c:v>
                </c:pt>
                <c:pt idx="357">
                  <c:v>2.5478505362635582E-3</c:v>
                </c:pt>
                <c:pt idx="358">
                  <c:v>2.5587383617463534E-3</c:v>
                </c:pt>
                <c:pt idx="359">
                  <c:v>2.5660368638600771E-3</c:v>
                </c:pt>
                <c:pt idx="360">
                  <c:v>2.5696901244434576E-3</c:v>
                </c:pt>
                <c:pt idx="361">
                  <c:v>2.5696579426140458E-3</c:v>
                </c:pt>
                <c:pt idx="362">
                  <c:v>2.5659163071778623E-3</c:v>
                </c:pt>
                <c:pt idx="363">
                  <c:v>2.5584577504147096E-3</c:v>
                </c:pt>
                <c:pt idx="364">
                  <c:v>2.5472915776630204E-3</c:v>
                </c:pt>
                <c:pt idx="365">
                  <c:v>2.532443968422561E-3</c:v>
                </c:pt>
                <c:pt idx="366">
                  <c:v>2.513957946072906E-3</c:v>
                </c:pt>
                <c:pt idx="367">
                  <c:v>2.4918932147503401E-3</c:v>
                </c:pt>
                <c:pt idx="368">
                  <c:v>2.4663258634176686E-3</c:v>
                </c:pt>
                <c:pt idx="369">
                  <c:v>2.4373479386761163E-3</c:v>
                </c:pt>
                <c:pt idx="370">
                  <c:v>2.4050668893860487E-3</c:v>
                </c:pt>
                <c:pt idx="371">
                  <c:v>2.3696048876592408E-3</c:v>
                </c:pt>
                <c:pt idx="372">
                  <c:v>2.3310980322373952E-3</c:v>
                </c:pt>
                <c:pt idx="373">
                  <c:v>2.2896954416574797E-3</c:v>
                </c:pt>
                <c:pt idx="374">
                  <c:v>2.2455582459018041E-3</c:v>
                </c:pt>
                <c:pt idx="375">
                  <c:v>2.1988584864196708E-3</c:v>
                </c:pt>
                <c:pt idx="376">
                  <c:v>2.1497779354687158E-3</c:v>
                </c:pt>
                <c:pt idx="377">
                  <c:v>2.0985068466413707E-3</c:v>
                </c:pt>
                <c:pt idx="378">
                  <c:v>2.0452426492003706E-3</c:v>
                </c:pt>
                <c:pt idx="379">
                  <c:v>1.9901885994354665E-3</c:v>
                </c:pt>
                <c:pt idx="380">
                  <c:v>1.9335524026619368E-3</c:v>
                </c:pt>
                <c:pt idx="381">
                  <c:v>1.8755448197057979E-3</c:v>
                </c:pt>
                <c:pt idx="382">
                  <c:v>1.8163782717560049E-3</c:v>
                </c:pt>
                <c:pt idx="383">
                  <c:v>1.7562654573129647E-3</c:v>
                </c:pt>
                <c:pt idx="384">
                  <c:v>1.695417994628242E-3</c:v>
                </c:pt>
                <c:pt idx="385">
                  <c:v>1.6340451025191251E-3</c:v>
                </c:pt>
                <c:pt idx="386">
                  <c:v>1.5723523317648909E-3</c:v>
                </c:pt>
                <c:pt idx="387">
                  <c:v>1.5105403584599786E-3</c:v>
                </c:pt>
                <c:pt idx="388">
                  <c:v>1.4488038497303989E-3</c:v>
                </c:pt>
                <c:pt idx="389">
                  <c:v>1.3873304111285552E-3</c:v>
                </c:pt>
                <c:pt idx="390">
                  <c:v>1.3262996238295581E-3</c:v>
                </c:pt>
                <c:pt idx="391">
                  <c:v>1.2658821784781466E-3</c:v>
                </c:pt>
                <c:pt idx="392">
                  <c:v>1.2062391112019381E-3</c:v>
                </c:pt>
                <c:pt idx="393">
                  <c:v>1.1475211459360064E-3</c:v>
                </c:pt>
                <c:pt idx="394">
                  <c:v>1.0898681458176391E-3</c:v>
                </c:pt>
                <c:pt idx="395">
                  <c:v>1.0334086750309497E-3</c:v>
                </c:pt>
                <c:pt idx="396">
                  <c:v>9.7825967112984049E-4</c:v>
                </c:pt>
                <c:pt idx="397">
                  <c:v>9.2452622656477264E-4</c:v>
                </c:pt>
                <c:pt idx="398">
                  <c:v>8.7230147690252997E-4</c:v>
                </c:pt>
                <c:pt idx="399">
                  <c:v>8.2166659207532624E-4</c:v>
                </c:pt>
                <c:pt idx="400">
                  <c:v>7.7269086594126512E-4</c:v>
                </c:pt>
                <c:pt idx="401">
                  <c:v>7.2543189849428626E-4</c:v>
                </c:pt>
                <c:pt idx="402">
                  <c:v>6.7993586423871445E-4</c:v>
                </c:pt>
                <c:pt idx="403">
                  <c:v>6.3623785954854118E-4</c:v>
                </c:pt>
                <c:pt idx="404">
                  <c:v>5.9436232126961256E-4</c:v>
                </c:pt>
                <c:pt idx="405">
                  <c:v>5.5432350839611276E-4</c:v>
                </c:pt>
                <c:pt idx="406">
                  <c:v>5.161260383610499E-4</c:v>
                </c:pt>
                <c:pt idx="407">
                  <c:v>4.7976546932114531E-4</c:v>
                </c:pt>
                <c:pt idx="408">
                  <c:v>4.4522891978478505E-4</c:v>
                </c:pt>
                <c:pt idx="409">
                  <c:v>4.1249571702090606E-4</c:v>
                </c:pt>
                <c:pt idx="410">
                  <c:v>3.8153806588807218E-4</c:v>
                </c:pt>
                <c:pt idx="411">
                  <c:v>3.5232173002655505E-4</c:v>
                </c:pt>
                <c:pt idx="412">
                  <c:v>3.248067177510304E-4</c:v>
                </c:pt>
                <c:pt idx="413">
                  <c:v>2.9894796545485347E-4</c:v>
                </c:pt>
                <c:pt idx="414">
                  <c:v>2.7469601187659649E-4</c:v>
                </c:pt>
                <c:pt idx="415">
                  <c:v>2.519976571721566E-4</c:v>
                </c:pt>
                <c:pt idx="416">
                  <c:v>2.3079660136844535E-4</c:v>
                </c:pt>
                <c:pt idx="417">
                  <c:v>2.1103405743433016E-4</c:v>
                </c:pt>
                <c:pt idx="418">
                  <c:v>1.9264933487898734E-4</c:v>
                </c:pt>
                <c:pt idx="419">
                  <c:v>1.7558039046518164E-4</c:v>
                </c:pt>
                <c:pt idx="420">
                  <c:v>1.5976434329447362E-4</c:v>
                </c:pt>
                <c:pt idx="421">
                  <c:v>1.451379521730744E-4</c:v>
                </c:pt>
                <c:pt idx="422">
                  <c:v>1.3163805379224787E-4</c:v>
                </c:pt>
                <c:pt idx="423">
                  <c:v>1.1920196084833788E-4</c:v>
                </c:pt>
                <c:pt idx="424">
                  <c:v>1.077678197782884E-4</c:v>
                </c:pt>
                <c:pt idx="425">
                  <c:v>9.7274928291980615E-5</c:v>
                </c:pt>
                <c:pt idx="426">
                  <c:v>8.766401333903141E-5</c:v>
                </c:pt>
                <c:pt idx="427">
                  <c:v>7.8877470552318787E-5</c:v>
                </c:pt>
                <c:pt idx="428">
                  <c:v>7.0859566562056934E-5</c:v>
                </c:pt>
                <c:pt idx="429">
                  <c:v>6.3556605872334778E-5</c:v>
                </c:pt>
                <c:pt idx="430">
                  <c:v>5.6917064237387908E-5</c:v>
                </c:pt>
                <c:pt idx="431">
                  <c:v>5.0891690668918607E-5</c:v>
                </c:pt>
                <c:pt idx="432">
                  <c:v>4.543358035080187E-5</c:v>
                </c:pt>
                <c:pt idx="433">
                  <c:v>4.0498220836398888E-5</c:v>
                </c:pt>
                <c:pt idx="434">
                  <c:v>3.6043513959807365E-5</c:v>
                </c:pt>
                <c:pt idx="435">
                  <c:v>3.2029775909484471E-5</c:v>
                </c:pt>
                <c:pt idx="436">
                  <c:v>2.841971789481056E-5</c:v>
                </c:pt>
                <c:pt idx="437">
                  <c:v>2.5178409787531956E-5</c:v>
                </c:pt>
                <c:pt idx="438">
                  <c:v>2.2273229044847045E-5</c:v>
                </c:pt>
                <c:pt idx="439">
                  <c:v>1.9673797123441445E-5</c:v>
                </c:pt>
                <c:pt idx="440">
                  <c:v>1.7351905478125866E-5</c:v>
                </c:pt>
                <c:pt idx="441">
                  <c:v>1.5281433108832423E-5</c:v>
                </c:pt>
                <c:pt idx="442">
                  <c:v>1.3438257479293668E-5</c:v>
                </c:pt>
                <c:pt idx="443">
                  <c:v>1.1800160483193978E-5</c:v>
                </c:pt>
                <c:pt idx="444">
                  <c:v>1.0346730982077581E-5</c:v>
                </c:pt>
                <c:pt idx="445">
                  <c:v>9.059265286633802E-6</c:v>
                </c:pt>
                <c:pt idx="446">
                  <c:v>7.9206668016002842E-6</c:v>
                </c:pt>
                <c:pt idx="447">
                  <c:v>6.9153459065837048E-6</c:v>
                </c:pt>
                <c:pt idx="448">
                  <c:v>6.0291210023461791E-6</c:v>
                </c:pt>
                <c:pt idx="449">
                  <c:v>5.2491215160313393E-6</c:v>
                </c:pt>
                <c:pt idx="450">
                  <c:v>4.563693530536753E-6</c:v>
                </c:pt>
                <c:pt idx="451">
                  <c:v>3.9623085836488082E-6</c:v>
                </c:pt>
                <c:pt idx="452">
                  <c:v>3.4354760722333936E-6</c:v>
                </c:pt>
                <c:pt idx="453">
                  <c:v>2.9746595960758747E-6</c:v>
                </c:pt>
                <c:pt idx="454">
                  <c:v>2.5721974850317508E-6</c:v>
                </c:pt>
                <c:pt idx="455">
                  <c:v>2.2212276719426106E-6</c:v>
                </c:pt>
                <c:pt idx="456">
                  <c:v>1.9156170020936382E-6</c:v>
                </c:pt>
                <c:pt idx="457">
                  <c:v>1.6498950075129063E-6</c:v>
                </c:pt>
                <c:pt idx="458">
                  <c:v>1.4191921207036071E-6</c:v>
                </c:pt>
                <c:pt idx="459">
                  <c:v>1.2191822569505708E-6</c:v>
                </c:pt>
                <c:pt idx="460">
                  <c:v>1.0460296565741937E-6</c:v>
                </c:pt>
                <c:pt idx="461">
                  <c:v>8.9633984781170036E-7</c:v>
                </c:pt>
                <c:pt idx="462">
                  <c:v>7.6711456675072386E-7</c:v>
                </c:pt>
                <c:pt idx="463">
                  <c:v>6.5571045228401728E-7</c:v>
                </c:pt>
                <c:pt idx="464">
                  <c:v>5.5980132076116312E-7</c:v>
                </c:pt>
                <c:pt idx="465">
                  <c:v>4.7734381626458481E-7</c:v>
                </c:pt>
                <c:pt idx="466">
                  <c:v>4.0654622763934102E-7</c:v>
                </c:pt>
                <c:pt idx="467">
                  <c:v>3.4584026199630802E-7</c:v>
                </c:pt>
                <c:pt idx="468">
                  <c:v>2.9385556586099339E-7</c:v>
                </c:pt>
                <c:pt idx="469">
                  <c:v>2.4939678896964583E-7</c:v>
                </c:pt>
                <c:pt idx="470">
                  <c:v>2.1142299147647286E-7</c:v>
                </c:pt>
                <c:pt idx="471">
                  <c:v>1.790292026300257E-7</c:v>
                </c:pt>
                <c:pt idx="472">
                  <c:v>1.51429947445172E-7</c:v>
                </c:pt>
                <c:pt idx="473">
                  <c:v>1.2794456722290783E-7</c:v>
                </c:pt>
                <c:pt idx="474">
                  <c:v>1.0798416967816436E-7</c:v>
                </c:pt>
                <c:pt idx="475">
                  <c:v>9.1040054687329581E-8</c:v>
                </c:pt>
                <c:pt idx="476">
                  <c:v>7.6673472060708737E-8</c:v>
                </c:pt>
                <c:pt idx="477">
                  <c:v>6.4506578111184074E-8</c:v>
                </c:pt>
                <c:pt idx="478">
                  <c:v>5.4214467989804597E-8</c:v>
                </c:pt>
                <c:pt idx="479">
                  <c:v>4.5518170680049175E-8</c:v>
                </c:pt>
                <c:pt idx="480">
                  <c:v>3.8178503097261515E-8</c:v>
                </c:pt>
                <c:pt idx="481">
                  <c:v>3.1990688861868701E-8</c:v>
                </c:pt>
                <c:pt idx="482">
                  <c:v>2.6779655956770679E-8</c:v>
                </c:pt>
                <c:pt idx="483">
                  <c:v>2.2395935608952043E-8</c:v>
                </c:pt>
                <c:pt idx="484">
                  <c:v>1.8712092334927715E-8</c:v>
                </c:pt>
                <c:pt idx="485">
                  <c:v>1.5619622152340516E-8</c:v>
                </c:pt>
                <c:pt idx="486">
                  <c:v>1.302626248872215E-8</c:v>
                </c:pt>
                <c:pt idx="487">
                  <c:v>1.0853663323400916E-8</c:v>
                </c:pt>
                <c:pt idx="488">
                  <c:v>9.0353745961062572E-9</c:v>
                </c:pt>
                <c:pt idx="489">
                  <c:v>7.515109926957631E-9</c:v>
                </c:pt>
                <c:pt idx="490">
                  <c:v>6.2452512414176658E-9</c:v>
                </c:pt>
                <c:pt idx="491">
                  <c:v>5.1855630070718935E-9</c:v>
                </c:pt>
                <c:pt idx="492">
                  <c:v>4.3020884947200784E-9</c:v>
                </c:pt>
                <c:pt idx="493">
                  <c:v>3.5662038029181748E-9</c:v>
                </c:pt>
                <c:pt idx="494">
                  <c:v>2.9538083615374739E-9</c:v>
                </c:pt>
                <c:pt idx="495">
                  <c:v>2.4446332844375384E-9</c:v>
                </c:pt>
                <c:pt idx="496">
                  <c:v>2.0216513015217422E-9</c:v>
                </c:pt>
                <c:pt idx="497">
                  <c:v>1.6705740927142302E-9</c:v>
                </c:pt>
                <c:pt idx="498">
                  <c:v>1.3794246958968328E-9</c:v>
                </c:pt>
                <c:pt idx="499">
                  <c:v>1.1381742912920223E-9</c:v>
                </c:pt>
                <c:pt idx="500">
                  <c:v>9.3843409831190232E-10</c:v>
                </c:pt>
                <c:pt idx="501">
                  <c:v>7.7319437809854066E-10</c:v>
                </c:pt>
                <c:pt idx="502">
                  <c:v>6.3660363482600847E-10</c:v>
                </c:pt>
                <c:pt idx="503">
                  <c:v>5.2378206872849616E-10</c:v>
                </c:pt>
                <c:pt idx="504">
                  <c:v>4.3066416963442148E-10</c:v>
                </c:pt>
                <c:pt idx="505">
                  <c:v>3.5386606593889305E-10</c:v>
                </c:pt>
                <c:pt idx="506">
                  <c:v>2.9057387345334462E-10</c:v>
                </c:pt>
                <c:pt idx="507">
                  <c:v>2.3844983314880477E-10</c:v>
                </c:pt>
                <c:pt idx="508">
                  <c:v>1.9555349695111842E-10</c:v>
                </c:pt>
                <c:pt idx="509">
                  <c:v>1.6027562582264618E-10</c:v>
                </c:pt>
                <c:pt idx="510">
                  <c:v>1.3128281270512658E-10</c:v>
                </c:pt>
                <c:pt idx="511">
                  <c:v>1.0747114188793497E-10</c:v>
                </c:pt>
                <c:pt idx="512">
                  <c:v>8.792745252689358E-11</c:v>
                </c:pt>
                <c:pt idx="513">
                  <c:v>7.1896993116939629E-11</c:v>
                </c:pt>
                <c:pt idx="514">
                  <c:v>5.8756440760524149E-11</c:v>
                </c:pt>
                <c:pt idx="515">
                  <c:v>4.7991418489907823E-11</c:v>
                </c:pt>
                <c:pt idx="516">
                  <c:v>3.9177779551511162E-11</c:v>
                </c:pt>
                <c:pt idx="517">
                  <c:v>3.1966042802929903E-11</c:v>
                </c:pt>
                <c:pt idx="518">
                  <c:v>2.6068461125881616E-11</c:v>
                </c:pt>
                <c:pt idx="519">
                  <c:v>2.1248287549485458E-11</c:v>
                </c:pt>
                <c:pt idx="520">
                  <c:v>1.7310873794253806E-11</c:v>
                </c:pt>
                <c:pt idx="521">
                  <c:v>1.4096295073798568E-11</c:v>
                </c:pt>
                <c:pt idx="522">
                  <c:v>1.147324485192423E-11</c:v>
                </c:pt>
                <c:pt idx="523">
                  <c:v>9.3339852419017887E-12</c:v>
                </c:pt>
                <c:pt idx="524">
                  <c:v>7.5901740478174824E-12</c:v>
                </c:pt>
                <c:pt idx="525">
                  <c:v>6.1694191075541596E-12</c:v>
                </c:pt>
                <c:pt idx="526">
                  <c:v>5.0124354767706474E-12</c:v>
                </c:pt>
                <c:pt idx="527">
                  <c:v>4.0707018374494639E-12</c:v>
                </c:pt>
                <c:pt idx="528">
                  <c:v>3.3045299568300148E-12</c:v>
                </c:pt>
                <c:pt idx="529">
                  <c:v>2.6814756007057324E-12</c:v>
                </c:pt>
                <c:pt idx="530">
                  <c:v>2.1750314755119447E-12</c:v>
                </c:pt>
                <c:pt idx="531">
                  <c:v>1.7635529225662331E-12</c:v>
                </c:pt>
                <c:pt idx="532">
                  <c:v>1.4293755417860547E-12</c:v>
                </c:pt>
                <c:pt idx="533">
                  <c:v>1.1580909567394822E-12</c:v>
                </c:pt>
                <c:pt idx="534">
                  <c:v>9.3795278022411312E-13</c:v>
                </c:pt>
                <c:pt idx="535">
                  <c:v>7.5938969513010267E-13</c:v>
                </c:pt>
                <c:pt idx="536">
                  <c:v>6.1460659335534811E-13</c:v>
                </c:pt>
                <c:pt idx="537">
                  <c:v>4.9725805380894764E-13</c:v>
                </c:pt>
                <c:pt idx="538">
                  <c:v>4.021812045697548E-13</c:v>
                </c:pt>
                <c:pt idx="539">
                  <c:v>3.2517730073391266E-13</c:v>
                </c:pt>
                <c:pt idx="540">
                  <c:v>2.6283323919993936E-13</c:v>
                </c:pt>
                <c:pt idx="541">
                  <c:v>2.1237579208845642E-13</c:v>
                </c:pt>
                <c:pt idx="542">
                  <c:v>1.7155262794102435E-13</c:v>
                </c:pt>
                <c:pt idx="543">
                  <c:v>1.3853525117267414E-13</c:v>
                </c:pt>
                <c:pt idx="544">
                  <c:v>1.1183986446321609E-13</c:v>
                </c:pt>
                <c:pt idx="545">
                  <c:v>9.0262878288520851E-14</c:v>
                </c:pt>
                <c:pt idx="546">
                  <c:v>7.282838352754621E-14</c:v>
                </c:pt>
                <c:pt idx="547">
                  <c:v>5.8745389362269508E-14</c:v>
                </c:pt>
                <c:pt idx="548">
                  <c:v>4.7373028014947042E-14</c:v>
                </c:pt>
                <c:pt idx="549">
                  <c:v>3.8192255553883245E-14</c:v>
                </c:pt>
                <c:pt idx="550">
                  <c:v>3.0782846709398531E-14</c:v>
                </c:pt>
                <c:pt idx="551">
                  <c:v>2.4804701841144266E-14</c:v>
                </c:pt>
                <c:pt idx="552">
                  <c:v>1.9982664523249785E-14</c:v>
                </c:pt>
                <c:pt idx="553">
                  <c:v>1.6094195790387228E-14</c:v>
                </c:pt>
                <c:pt idx="554">
                  <c:v>1.2959371786557304E-14</c:v>
                </c:pt>
                <c:pt idx="555">
                  <c:v>1.0432770213849844E-14</c:v>
                </c:pt>
                <c:pt idx="556">
                  <c:v>8.3968915675689724E-15</c:v>
                </c:pt>
                <c:pt idx="557">
                  <c:v>6.7568269370738518E-15</c:v>
                </c:pt>
                <c:pt idx="558">
                  <c:v>5.4359378341964735E-15</c:v>
                </c:pt>
                <c:pt idx="559">
                  <c:v>4.3723572878294828E-15</c:v>
                </c:pt>
                <c:pt idx="560">
                  <c:v>3.5161571228314498E-15</c:v>
                </c:pt>
                <c:pt idx="561">
                  <c:v>2.8270554059476601E-15</c:v>
                </c:pt>
                <c:pt idx="562">
                  <c:v>2.2725617051967799E-15</c:v>
                </c:pt>
                <c:pt idx="563">
                  <c:v>1.82647706601397E-15</c:v>
                </c:pt>
                <c:pt idx="564">
                  <c:v>1.4676812703157962E-15</c:v>
                </c:pt>
                <c:pt idx="565">
                  <c:v>1.1791526782670491E-15</c:v>
                </c:pt>
                <c:pt idx="566">
                  <c:v>9.4717629978906709E-16</c:v>
                </c:pt>
                <c:pt idx="567">
                  <c:v>7.6070414722217823E-16</c:v>
                </c:pt>
                <c:pt idx="568">
                  <c:v>6.1083874373448529E-16</c:v>
                </c:pt>
                <c:pt idx="569">
                  <c:v>4.9041619919408154E-16</c:v>
                </c:pt>
                <c:pt idx="570">
                  <c:v>3.9366975676152181E-16</c:v>
                </c:pt>
                <c:pt idx="571">
                  <c:v>3.1595835535043929E-16</c:v>
                </c:pt>
                <c:pt idx="572">
                  <c:v>2.5354770489481335E-16</c:v>
                </c:pt>
                <c:pt idx="573">
                  <c:v>2.0343376286531428E-16</c:v>
                </c:pt>
                <c:pt idx="574">
                  <c:v>1.632004373087118E-16</c:v>
                </c:pt>
                <c:pt idx="575">
                  <c:v>1.3090490969677412E-16</c:v>
                </c:pt>
                <c:pt idx="576">
                  <c:v>1.049852398345372E-16</c:v>
                </c:pt>
                <c:pt idx="577">
                  <c:v>8.4185941660403601E-17</c:v>
                </c:pt>
                <c:pt idx="578">
                  <c:v>6.7498048980214738E-17</c:v>
                </c:pt>
                <c:pt idx="579">
                  <c:v>5.4110861352740158E-17</c:v>
                </c:pt>
                <c:pt idx="580">
                  <c:v>4.337310276665115E-17</c:v>
                </c:pt>
                <c:pt idx="581">
                  <c:v>3.4761663980249867E-17</c:v>
                </c:pt>
                <c:pt idx="582">
                  <c:v>2.7856453334954999E-17</c:v>
                </c:pt>
                <c:pt idx="583">
                  <c:v>2.2320166627654197E-17</c:v>
                </c:pt>
                <c:pt idx="584">
                  <c:v>1.788201729523663E-17</c:v>
                </c:pt>
                <c:pt idx="585">
                  <c:v>1.4324654297476662E-17</c:v>
                </c:pt>
                <c:pt idx="586">
                  <c:v>1.1473645238716981E-17</c:v>
                </c:pt>
                <c:pt idx="587">
                  <c:v>9.189023364224134E-18</c:v>
                </c:pt>
                <c:pt idx="588">
                  <c:v>7.3584947018310874E-18</c:v>
                </c:pt>
                <c:pt idx="589">
                  <c:v>5.8919803169016802E-18</c:v>
                </c:pt>
                <c:pt idx="590">
                  <c:v>4.7172320663111812E-18</c:v>
                </c:pt>
                <c:pt idx="591">
                  <c:v>3.7763113280817775E-18</c:v>
                </c:pt>
                <c:pt idx="592">
                  <c:v>3.0227613339639799E-18</c:v>
                </c:pt>
                <c:pt idx="593">
                  <c:v>2.419336868182021E-18</c:v>
                </c:pt>
                <c:pt idx="594">
                  <c:v>1.936181771857056E-18</c:v>
                </c:pt>
                <c:pt idx="595">
                  <c:v>1.549366163265665E-18</c:v>
                </c:pt>
                <c:pt idx="596">
                  <c:v>1.2397125613610949E-18</c:v>
                </c:pt>
                <c:pt idx="597">
                  <c:v>9.9185399965076016E-19</c:v>
                </c:pt>
                <c:pt idx="598">
                  <c:v>7.9347839751591825E-19</c:v>
                </c:pt>
                <c:pt idx="599">
                  <c:v>6.3472244674148355E-19</c:v>
                </c:pt>
                <c:pt idx="600">
                  <c:v>5.0768549952570658E-19</c:v>
                </c:pt>
                <c:pt idx="601">
                  <c:v>4.0603975487484377E-19</c:v>
                </c:pt>
                <c:pt idx="602">
                  <c:v>3.247177102088909E-19</c:v>
                </c:pt>
                <c:pt idx="603">
                  <c:v>2.5966159748581483E-19</c:v>
                </c:pt>
                <c:pt idx="604">
                  <c:v>2.0762253781767866E-19</c:v>
                </c:pt>
                <c:pt idx="605">
                  <c:v>1.6599957008593023E-19</c:v>
                </c:pt>
                <c:pt idx="606">
                  <c:v>1.3271065377528814E-19</c:v>
                </c:pt>
                <c:pt idx="607">
                  <c:v>1.0608930778674097E-19</c:v>
                </c:pt>
                <c:pt idx="608">
                  <c:v>8.4801800624105014E-20</c:v>
                </c:pt>
                <c:pt idx="609">
                  <c:v>6.7780813637697111E-20</c:v>
                </c:pt>
                <c:pt idx="610">
                  <c:v>5.4172306612969867E-20</c:v>
                </c:pt>
                <c:pt idx="611">
                  <c:v>4.3292963044647348E-20</c:v>
                </c:pt>
                <c:pt idx="612">
                  <c:v>3.4596112376194209E-20</c:v>
                </c:pt>
                <c:pt idx="613">
                  <c:v>2.7644443575421149E-20</c:v>
                </c:pt>
                <c:pt idx="614">
                  <c:v>2.2088158952014851E-20</c:v>
                </c:pt>
                <c:pt idx="615">
                  <c:v>1.7647485407470339E-20</c:v>
                </c:pt>
                <c:pt idx="616">
                  <c:v>1.4098675427715934E-20</c:v>
                </c:pt>
                <c:pt idx="617">
                  <c:v>1.1262802599145116E-20</c:v>
                </c:pt>
                <c:pt idx="618">
                  <c:v>8.9967946831865522E-21</c:v>
                </c:pt>
                <c:pt idx="619">
                  <c:v>7.1862580997651663E-21</c:v>
                </c:pt>
                <c:pt idx="620">
                  <c:v>5.7397364773092563E-21</c:v>
                </c:pt>
                <c:pt idx="621">
                  <c:v>4.5841170903494571E-21</c:v>
                </c:pt>
                <c:pt idx="622">
                  <c:v>3.6609560224602165E-21</c:v>
                </c:pt>
                <c:pt idx="623">
                  <c:v>2.9235385693561026E-21</c:v>
                </c:pt>
                <c:pt idx="624">
                  <c:v>2.3345279852619245E-21</c:v>
                </c:pt>
                <c:pt idx="625">
                  <c:v>1.8640849803383302E-21</c:v>
                </c:pt>
                <c:pt idx="626">
                  <c:v>1.488363845241468E-21</c:v>
                </c:pt>
                <c:pt idx="627">
                  <c:v>1.1883098709583189E-21</c:v>
                </c:pt>
                <c:pt idx="628">
                  <c:v>9.4869777841802249E-22</c:v>
                </c:pt>
                <c:pt idx="629">
                  <c:v>7.5736291780576999E-22</c:v>
                </c:pt>
                <c:pt idx="630">
                  <c:v>6.0458664009532059E-22</c:v>
                </c:pt>
                <c:pt idx="631">
                  <c:v>4.8260496111587507E-22</c:v>
                </c:pt>
                <c:pt idx="632">
                  <c:v>3.8521581542592266E-22</c:v>
                </c:pt>
                <c:pt idx="633">
                  <c:v>3.0746514028790052E-22</c:v>
                </c:pt>
                <c:pt idx="634">
                  <c:v>2.4539598538965604E-22</c:v>
                </c:pt>
                <c:pt idx="635">
                  <c:v>1.958480086049138E-22</c:v>
                </c:pt>
                <c:pt idx="636">
                  <c:v>1.5629724990623354E-22</c:v>
                </c:pt>
                <c:pt idx="637">
                  <c:v>1.2472810086804213E-22</c:v>
                </c:pt>
                <c:pt idx="638">
                  <c:v>9.9531007246834163E-23</c:v>
                </c:pt>
                <c:pt idx="639">
                  <c:v>7.9420737840976772E-23</c:v>
                </c:pt>
                <c:pt idx="640">
                  <c:v>6.3371089097497737E-23</c:v>
                </c:pt>
                <c:pt idx="641">
                  <c:v>5.0562723595174277E-23</c:v>
                </c:pt>
                <c:pt idx="642">
                  <c:v>4.0341503164844928E-23</c:v>
                </c:pt>
                <c:pt idx="643">
                  <c:v>3.218520719342714E-23</c:v>
                </c:pt>
                <c:pt idx="644">
                  <c:v>2.5676950237359778E-23</c:v>
                </c:pt>
                <c:pt idx="645">
                  <c:v>2.0483951673029298E-23</c:v>
                </c:pt>
                <c:pt idx="646">
                  <c:v>1.6340580793889524E-23</c:v>
                </c:pt>
                <c:pt idx="647">
                  <c:v>1.3034817111765513E-23</c:v>
                </c:pt>
                <c:pt idx="648">
                  <c:v>1.0397438541721881E-23</c:v>
                </c:pt>
                <c:pt idx="649">
                  <c:v>8.2933883460360922E-24</c:v>
                </c:pt>
                <c:pt idx="650">
                  <c:v>6.614882149277555E-24</c:v>
                </c:pt>
                <c:pt idx="651">
                  <c:v>5.275904587199889E-24</c:v>
                </c:pt>
                <c:pt idx="652">
                  <c:v>4.2078156638931966E-24</c:v>
                </c:pt>
                <c:pt idx="653">
                  <c:v>3.3558432313523709E-24</c:v>
                </c:pt>
                <c:pt idx="654">
                  <c:v>2.6762830151403251E-24</c:v>
                </c:pt>
                <c:pt idx="655">
                  <c:v>2.1342635676713904E-24</c:v>
                </c:pt>
                <c:pt idx="656">
                  <c:v>1.7019622542162646E-24</c:v>
                </c:pt>
                <c:pt idx="657">
                  <c:v>1.3571813205603636E-24</c:v>
                </c:pt>
                <c:pt idx="658">
                  <c:v>1.0822114170574942E-24</c:v>
                </c:pt>
                <c:pt idx="659">
                  <c:v>8.6292459024326669E-25</c:v>
                </c:pt>
                <c:pt idx="660">
                  <c:v>6.8805044246104547E-25</c:v>
                </c:pt>
                <c:pt idx="661">
                  <c:v>5.4859849471665829E-25</c:v>
                </c:pt>
                <c:pt idx="662">
                  <c:v>4.3739724224546007E-25</c:v>
                </c:pt>
                <c:pt idx="663">
                  <c:v>3.4872634460534184E-25</c:v>
                </c:pt>
                <c:pt idx="664">
                  <c:v>2.7802314463889021E-25</c:v>
                </c:pt>
                <c:pt idx="665">
                  <c:v>2.2164850523098392E-25</c:v>
                </c:pt>
                <c:pt idx="666">
                  <c:v>1.7669998228776739E-25</c:v>
                </c:pt>
                <c:pt idx="667">
                  <c:v>1.4086277084331701E-25</c:v>
                </c:pt>
                <c:pt idx="668">
                  <c:v>1.1229079191834063E-25</c:v>
                </c:pt>
                <c:pt idx="669">
                  <c:v>8.9511828932936361E-26</c:v>
                </c:pt>
                <c:pt idx="670">
                  <c:v>7.135185265549811E-26</c:v>
                </c:pt>
                <c:pt idx="671">
                  <c:v>5.6874655596218867E-26</c:v>
                </c:pt>
                <c:pt idx="672">
                  <c:v>4.5333700435186933E-26</c:v>
                </c:pt>
                <c:pt idx="673">
                  <c:v>3.6133712572190576E-26</c:v>
                </c:pt>
                <c:pt idx="674">
                  <c:v>2.8800046026393711E-26</c:v>
                </c:pt>
                <c:pt idx="675">
                  <c:v>2.2954250295463204E-26</c:v>
                </c:pt>
                <c:pt idx="676">
                  <c:v>1.8294583639710794E-26</c:v>
                </c:pt>
                <c:pt idx="677">
                  <c:v>1.4580471937100076E-26</c:v>
                </c:pt>
                <c:pt idx="678">
                  <c:v>1.1620114643109852E-26</c:v>
                </c:pt>
                <c:pt idx="679">
                  <c:v>9.2606008886951161E-27</c:v>
                </c:pt>
                <c:pt idx="680">
                  <c:v>7.3800276012329895E-27</c:v>
                </c:pt>
                <c:pt idx="681">
                  <c:v>5.8812143308056755E-27</c:v>
                </c:pt>
                <c:pt idx="682">
                  <c:v>4.6866914818075638E-27</c:v>
                </c:pt>
                <c:pt idx="683">
                  <c:v>3.7347040751370088E-27</c:v>
                </c:pt>
                <c:pt idx="684">
                  <c:v>2.9760253632746837E-27</c:v>
                </c:pt>
                <c:pt idx="685">
                  <c:v>2.3714162542864489E-27</c:v>
                </c:pt>
                <c:pt idx="686">
                  <c:v>1.8895997144990942E-27</c:v>
                </c:pt>
                <c:pt idx="687">
                  <c:v>1.5056458096298639E-27</c:v>
                </c:pt>
                <c:pt idx="688">
                  <c:v>1.1996841752545387E-27</c:v>
                </c:pt>
                <c:pt idx="689">
                  <c:v>9.5587756004528657E-28</c:v>
                </c:pt>
                <c:pt idx="690">
                  <c:v>7.6160352690069893E-28</c:v>
                </c:pt>
                <c:pt idx="691">
                  <c:v>6.0680211703943279E-28</c:v>
                </c:pt>
                <c:pt idx="692">
                  <c:v>4.8345583150248059E-28</c:v>
                </c:pt>
                <c:pt idx="693">
                  <c:v>3.8517510231011892E-28</c:v>
                </c:pt>
                <c:pt idx="694">
                  <c:v>3.068678627043201E-28</c:v>
                </c:pt>
                <c:pt idx="695">
                  <c:v>2.4447616137111963E-28</c:v>
                </c:pt>
                <c:pt idx="696">
                  <c:v>1.9476622281362172E-28</c:v>
                </c:pt>
                <c:pt idx="697">
                  <c:v>1.5516111290400561E-28</c:v>
                </c:pt>
                <c:pt idx="698">
                  <c:v>1.2360736654380365E-28</c:v>
                </c:pt>
                <c:pt idx="699">
                  <c:v>9.8468687174197787E-29</c:v>
                </c:pt>
                <c:pt idx="700">
                  <c:v>7.8441225138243697E-29</c:v>
                </c:pt>
                <c:pt idx="701">
                  <c:v>6.2486056007453691E-29</c:v>
                </c:pt>
                <c:pt idx="702">
                  <c:v>4.9775368288235695E-29</c:v>
                </c:pt>
                <c:pt idx="703">
                  <c:v>3.9649577946580314E-29</c:v>
                </c:pt>
                <c:pt idx="704">
                  <c:v>3.1583151841193901E-29</c:v>
                </c:pt>
                <c:pt idx="705">
                  <c:v>2.5157372092173361E-29</c:v>
                </c:pt>
                <c:pt idx="706">
                  <c:v>2.0038632253278844E-29</c:v>
                </c:pt>
                <c:pt idx="707">
                  <c:v>1.5961142099154861E-29</c:v>
                </c:pt>
                <c:pt idx="708">
                  <c:v>1.2713145820001094E-29</c:v>
                </c:pt>
                <c:pt idx="709">
                  <c:v>1.0125940133140393E-29</c:v>
                </c:pt>
                <c:pt idx="710">
                  <c:v>8.0651236668827573E-30</c:v>
                </c:pt>
                <c:pt idx="711">
                  <c:v>6.4236244118402308E-30</c:v>
                </c:pt>
                <c:pt idx="712">
                  <c:v>5.116144065181753E-30</c:v>
                </c:pt>
                <c:pt idx="713">
                  <c:v>4.0747314299386887E-30</c:v>
                </c:pt>
                <c:pt idx="714">
                  <c:v>3.2452554844371301E-30</c:v>
                </c:pt>
                <c:pt idx="715">
                  <c:v>2.5845953278612658E-30</c:v>
                </c:pt>
                <c:pt idx="716">
                  <c:v>2.0584013346204071E-30</c:v>
                </c:pt>
                <c:pt idx="717">
                  <c:v>1.6393114391493053E-30</c:v>
                </c:pt>
                <c:pt idx="718">
                  <c:v>1.305530056909766E-30</c:v>
                </c:pt>
                <c:pt idx="719">
                  <c:v>1.0396959359839819E-30</c:v>
                </c:pt>
                <c:pt idx="720">
                  <c:v>8.2798021205300796E-31</c:v>
                </c:pt>
                <c:pt idx="721">
                  <c:v>6.5936787132112822E-31</c:v>
                </c:pt>
                <c:pt idx="722">
                  <c:v>5.2508533626247682E-31</c:v>
                </c:pt>
                <c:pt idx="723">
                  <c:v>4.181444664799523E-31</c:v>
                </c:pt>
                <c:pt idx="724">
                  <c:v>3.3297930511276601E-31</c:v>
                </c:pt>
                <c:pt idx="725">
                  <c:v>2.6515671205338031E-31</c:v>
                </c:pt>
                <c:pt idx="726">
                  <c:v>2.1114585930741301E-31</c:v>
                </c:pt>
                <c:pt idx="727">
                  <c:v>1.6813461792253282E-31</c:v>
                </c:pt>
                <c:pt idx="728">
                  <c:v>1.3388329976070029E-31</c:v>
                </c:pt>
                <c:pt idx="729">
                  <c:v>1.06608156404574E-31</c:v>
                </c:pt>
                <c:pt idx="730">
                  <c:v>8.4888582480218138E-32</c:v>
                </c:pt>
                <c:pt idx="731">
                  <c:v>6.759320137436867E-32</c:v>
                </c:pt>
                <c:pt idx="732">
                  <c:v>5.382099211716785E-32</c:v>
                </c:pt>
                <c:pt idx="733">
                  <c:v>4.2854397324072697E-32</c:v>
                </c:pt>
                <c:pt idx="734">
                  <c:v>3.4121974559385405E-32</c:v>
                </c:pt>
                <c:pt idx="735">
                  <c:v>2.7168649293790205E-32</c:v>
                </c:pt>
                <c:pt idx="736">
                  <c:v>2.1632022670339313E-32</c:v>
                </c:pt>
                <c:pt idx="737">
                  <c:v>1.7223501923986501E-32</c:v>
                </c:pt>
                <c:pt idx="738">
                  <c:v>1.3713272007097704E-32</c:v>
                </c:pt>
                <c:pt idx="739">
                  <c:v>1.0918326658929588E-32</c:v>
                </c:pt>
                <c:pt idx="740">
                  <c:v>8.6929362133221573E-33</c:v>
                </c:pt>
                <c:pt idx="741">
                  <c:v>6.9210561622041196E-33</c:v>
                </c:pt>
                <c:pt idx="742">
                  <c:v>5.5102814163454562E-33</c:v>
                </c:pt>
                <c:pt idx="743">
                  <c:v>4.3870316150872696E-33</c:v>
                </c:pt>
                <c:pt idx="744">
                  <c:v>3.4927168596532265E-33</c:v>
                </c:pt>
                <c:pt idx="745">
                  <c:v>2.7806842737188203E-33</c:v>
                </c:pt>
                <c:pt idx="746">
                  <c:v>2.2137864039570953E-33</c:v>
                </c:pt>
                <c:pt idx="747">
                  <c:v>1.7624448530640482E-33</c:v>
                </c:pt>
                <c:pt idx="748">
                  <c:v>1.4031082992867155E-33</c:v>
                </c:pt>
                <c:pt idx="749">
                  <c:v>1.1170245937964639E-33</c:v>
                </c:pt>
                <c:pt idx="750">
                  <c:v>8.8926297533172591E-34</c:v>
                </c:pt>
                <c:pt idx="751">
                  <c:v>7.079354627978989E-34</c:v>
                </c:pt>
                <c:pt idx="752">
                  <c:v>5.6357686226591806E-34</c:v>
                </c:pt>
                <c:pt idx="753">
                  <c:v>4.4865107999038982E-34</c:v>
                </c:pt>
                <c:pt idx="754">
                  <c:v>3.571580166163897E-34</c:v>
                </c:pt>
                <c:pt idx="755">
                  <c:v>2.8432055322327399E-34</c:v>
                </c:pt>
                <c:pt idx="756">
                  <c:v>2.263353146416902E-34</c:v>
                </c:pt>
                <c:pt idx="757">
                  <c:v>1.8017421746145599E-34</c:v>
                </c:pt>
                <c:pt idx="758">
                  <c:v>1.4342645650028464E-34</c:v>
                </c:pt>
                <c:pt idx="759">
                  <c:v>1.1417269110048999E-34</c:v>
                </c:pt>
                <c:pt idx="760">
                  <c:v>9.0884870720814049E-35</c:v>
                </c:pt>
                <c:pt idx="761">
                  <c:v>7.2346475636258909E-35</c:v>
                </c:pt>
                <c:pt idx="762">
                  <c:v>5.7589013071460525E-35</c:v>
                </c:pt>
                <c:pt idx="763">
                  <c:v>4.5841456168462031E-35</c:v>
                </c:pt>
                <c:pt idx="764">
                  <c:v>3.6489988482329445E-35</c:v>
                </c:pt>
                <c:pt idx="765">
                  <c:v>2.9045953703566748E-35</c:v>
                </c:pt>
                <c:pt idx="766">
                  <c:v>2.3120338476814965E-35</c:v>
                </c:pt>
                <c:pt idx="767">
                  <c:v>1.8403456812334788E-35</c:v>
                </c:pt>
                <c:pt idx="768">
                  <c:v>1.4648775899241658E-35</c:v>
                </c:pt>
                <c:pt idx="769">
                  <c:v>1.1660039245339109E-35</c:v>
                </c:pt>
                <c:pt idx="770">
                  <c:v>9.2810150116768252E-36</c:v>
                </c:pt>
                <c:pt idx="771">
                  <c:v>7.3873344451380092E-36</c:v>
                </c:pt>
                <c:pt idx="772">
                  <c:v>5.8799943265943861E-36</c:v>
                </c:pt>
                <c:pt idx="773">
                  <c:v>4.6801842299302805E-36</c:v>
                </c:pt>
                <c:pt idx="774">
                  <c:v>3.7251685059233727E-36</c:v>
                </c:pt>
                <c:pt idx="775">
                  <c:v>2.9650079594055707E-36</c:v>
                </c:pt>
                <c:pt idx="776">
                  <c:v>2.3599500262950652E-36</c:v>
                </c:pt>
                <c:pt idx="777">
                  <c:v>1.8783511547290518E-36</c:v>
                </c:pt>
                <c:pt idx="778">
                  <c:v>1.4950228706606733E-36</c:v>
                </c:pt>
                <c:pt idx="779">
                  <c:v>1.1899151419596367E-36</c:v>
                </c:pt>
                <c:pt idx="780">
                  <c:v>9.4706826278925507E-37</c:v>
                </c:pt>
                <c:pt idx="781">
                  <c:v>7.5377849970394155E-37</c:v>
                </c:pt>
                <c:pt idx="782">
                  <c:v>5.9993391111663918E-37</c:v>
                </c:pt>
                <c:pt idx="783">
                  <c:v>4.7748563574818407E-37</c:v>
                </c:pt>
                <c:pt idx="784">
                  <c:v>3.800270214281092E-37</c:v>
                </c:pt>
                <c:pt idx="785">
                  <c:v>3.0245860317190481E-37</c:v>
                </c:pt>
                <c:pt idx="786">
                  <c:v>2.4072141915653992E-37</c:v>
                </c:pt>
                <c:pt idx="787">
                  <c:v>1.9158472816022959E-37</c:v>
                </c:pt>
                <c:pt idx="788">
                  <c:v>1.5247703152356587E-37</c:v>
                </c:pt>
                <c:pt idx="789">
                  <c:v>1.2135156699505437E-37</c:v>
                </c:pt>
                <c:pt idx="790">
                  <c:v>9.6579243108456758E-38</c:v>
                </c:pt>
                <c:pt idx="791">
                  <c:v>7.6863416362356719E-38</c:v>
                </c:pt>
                <c:pt idx="792">
                  <c:v>6.117205582736396E-38</c:v>
                </c:pt>
                <c:pt idx="793">
                  <c:v>4.8683747716950274E-38</c:v>
                </c:pt>
                <c:pt idx="794">
                  <c:v>3.8744716984032382E-38</c:v>
                </c:pt>
                <c:pt idx="795">
                  <c:v>3.0834618026793694E-38</c:v>
                </c:pt>
                <c:pt idx="796">
                  <c:v>2.4539305674192503E-38</c:v>
                </c:pt>
                <c:pt idx="797">
                  <c:v>1.9529162212655222E-38</c:v>
                </c:pt>
                <c:pt idx="798">
                  <c:v>1.5541846898809804E-38</c:v>
                </c:pt>
                <c:pt idx="799">
                  <c:v>1.2368565634198865E-38</c:v>
                </c:pt>
                <c:pt idx="800">
                  <c:v>9.8431425265702858E-39</c:v>
                </c:pt>
              </c:numCache>
            </c:numRef>
          </c:yVal>
          <c:smooth val="0"/>
          <c:extLst>
            <c:ext xmlns:c16="http://schemas.microsoft.com/office/drawing/2014/chart" uri="{C3380CC4-5D6E-409C-BE32-E72D297353CC}">
              <c16:uniqueId val="{00000001-1D62-4DE3-8E9D-34C68BC76380}"/>
            </c:ext>
          </c:extLst>
        </c:ser>
        <c:ser>
          <c:idx val="2"/>
          <c:order val="2"/>
          <c:tx>
            <c:strRef>
              <c:f>Calc!$F$6</c:f>
              <c:strCache>
                <c:ptCount val="1"/>
                <c:pt idx="0">
                  <c:v>3</c:v>
                </c:pt>
              </c:strCache>
            </c:strRef>
          </c:tx>
          <c:spPr>
            <a:ln w="28575">
              <a:noFill/>
            </a:ln>
          </c:spPr>
          <c:marker>
            <c:symbol val="triangle"/>
            <c:size val="3"/>
            <c:spPr>
              <a:solidFill>
                <a:srgbClr val="FFFF00"/>
              </a:solidFill>
              <a:ln>
                <a:solidFill>
                  <a:srgbClr val="FFFF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F$7:$F$807</c:f>
              <c:numCache>
                <c:formatCode>000,000,000</c:formatCode>
                <c:ptCount val="801"/>
                <c:pt idx="0">
                  <c:v>1.5589799102384531E-24</c:v>
                </c:pt>
                <c:pt idx="1">
                  <c:v>1.7681081244677853E-24</c:v>
                </c:pt>
                <c:pt idx="2">
                  <c:v>2.0052781917719737E-24</c:v>
                </c:pt>
                <c:pt idx="3">
                  <c:v>2.2742485165054228E-24</c:v>
                </c:pt>
                <c:pt idx="4">
                  <c:v>2.5792809820726879E-24</c:v>
                </c:pt>
                <c:pt idx="5">
                  <c:v>2.9252083596558739E-24</c:v>
                </c:pt>
                <c:pt idx="6">
                  <c:v>3.317510736397247E-24</c:v>
                </c:pt>
                <c:pt idx="7">
                  <c:v>3.7624021690255913E-24</c:v>
                </c:pt>
                <c:pt idx="8">
                  <c:v>4.2669289300413235E-24</c:v>
                </c:pt>
                <c:pt idx="9">
                  <c:v>4.8390808962128514E-24</c:v>
                </c:pt>
                <c:pt idx="10">
                  <c:v>5.4879178361497099E-24</c:v>
                </c:pt>
                <c:pt idx="11">
                  <c:v>6.223712588359843E-24</c:v>
                </c:pt>
                <c:pt idx="12">
                  <c:v>7.0581133871519084E-24</c:v>
                </c:pt>
                <c:pt idx="13">
                  <c:v>8.0043278951826865E-24</c:v>
                </c:pt>
                <c:pt idx="14">
                  <c:v>9.0773318431034447E-24</c:v>
                </c:pt>
                <c:pt idx="15">
                  <c:v>1.0294105563990512E-23</c:v>
                </c:pt>
                <c:pt idx="16">
                  <c:v>1.1673902149121339E-23</c:v>
                </c:pt>
                <c:pt idx="17">
                  <c:v>1.323855144906694E-23</c:v>
                </c:pt>
                <c:pt idx="18">
                  <c:v>1.5012804707806598E-23</c:v>
                </c:pt>
                <c:pt idx="19">
                  <c:v>1.7024725256466492E-23</c:v>
                </c:pt>
                <c:pt idx="20">
                  <c:v>1.9306131417350645E-23</c:v>
                </c:pt>
                <c:pt idx="21">
                  <c:v>2.1893098589517905E-23</c:v>
                </c:pt>
                <c:pt idx="22">
                  <c:v>2.4826528417097191E-23</c:v>
                </c:pt>
                <c:pt idx="23">
                  <c:v>2.8152793995399548E-23</c:v>
                </c:pt>
                <c:pt idx="24">
                  <c:v>3.1924471264162565E-23</c:v>
                </c:pt>
                <c:pt idx="25">
                  <c:v>3.620116809064626E-23</c:v>
                </c:pt>
                <c:pt idx="26">
                  <c:v>4.1050464078934918E-23</c:v>
                </c:pt>
                <c:pt idx="27">
                  <c:v>4.6548975879717069E-23</c:v>
                </c:pt>
                <c:pt idx="28">
                  <c:v>5.2783564744112591E-23</c:v>
                </c:pt>
                <c:pt idx="29">
                  <c:v>5.9852705296651257E-23</c:v>
                </c:pt>
                <c:pt idx="30">
                  <c:v>6.7868037031066389E-23</c:v>
                </c:pt>
                <c:pt idx="31">
                  <c:v>7.6956122897698056E-23</c:v>
                </c:pt>
                <c:pt idx="32">
                  <c:v>8.7260442597710438E-23</c:v>
                </c:pt>
                <c:pt idx="33">
                  <c:v>9.8943651877709835E-23</c:v>
                </c:pt>
                <c:pt idx="34">
                  <c:v>1.1219014328607347E-22</c:v>
                </c:pt>
                <c:pt idx="35">
                  <c:v>1.2720894857436712E-22</c:v>
                </c:pt>
                <c:pt idx="36">
                  <c:v>1.4423702827739329E-22</c:v>
                </c:pt>
                <c:pt idx="37">
                  <c:v>1.6354300006682197E-22</c:v>
                </c:pt>
                <c:pt idx="38">
                  <c:v>1.8543136434078109E-22</c:v>
                </c:pt>
                <c:pt idx="39">
                  <c:v>2.10247293291913E-22</c:v>
                </c:pt>
                <c:pt idx="40">
                  <c:v>2.3838205851061062E-22</c:v>
                </c:pt>
                <c:pt idx="41">
                  <c:v>2.7027918216548863E-22</c:v>
                </c:pt>
                <c:pt idx="42">
                  <c:v>3.0644140811506717E-22</c:v>
                </c:pt>
                <c:pt idx="43">
                  <c:v>3.4743860211921257E-22</c:v>
                </c:pt>
                <c:pt idx="44">
                  <c:v>3.9391670483494173E-22</c:v>
                </c:pt>
                <c:pt idx="45">
                  <c:v>4.4660787772515853E-22</c:v>
                </c:pt>
                <c:pt idx="46">
                  <c:v>5.0634200063522182E-22</c:v>
                </c:pt>
                <c:pt idx="47">
                  <c:v>5.7405970089133725E-22</c:v>
                </c:pt>
                <c:pt idx="48">
                  <c:v>6.5082711767310193E-22</c:v>
                </c:pt>
                <c:pt idx="49">
                  <c:v>7.3785263248215452E-22</c:v>
                </c:pt>
                <c:pt idx="50">
                  <c:v>8.3650582718840912E-22</c:v>
                </c:pt>
                <c:pt idx="51">
                  <c:v>9.4833896586148089E-22</c:v>
                </c:pt>
                <c:pt idx="52">
                  <c:v>1.0751113359249023E-21</c:v>
                </c:pt>
                <c:pt idx="53">
                  <c:v>1.2188168287146366E-21</c:v>
                </c:pt>
                <c:pt idx="54">
                  <c:v>1.3817151899702498E-21</c:v>
                </c:pt>
                <c:pt idx="55">
                  <c:v>1.5663674279186703E-21</c:v>
                </c:pt>
                <c:pt idx="56">
                  <c:v>1.7756759313104471E-21</c:v>
                </c:pt>
                <c:pt idx="57">
                  <c:v>2.0129299230363342E-21</c:v>
                </c:pt>
                <c:pt idx="58">
                  <c:v>2.2818569579228658E-21</c:v>
                </c:pt>
                <c:pt idx="59">
                  <c:v>2.5866812672582628E-21</c:v>
                </c:pt>
                <c:pt idx="60">
                  <c:v>2.9321898589887276E-21</c:v>
                </c:pt>
                <c:pt idx="61">
                  <c:v>3.3238074029887147E-21</c:v>
                </c:pt>
                <c:pt idx="62">
                  <c:v>3.7676810672093724E-21</c:v>
                </c:pt>
                <c:pt idx="63">
                  <c:v>4.2707766249467283E-21</c:v>
                </c:pt>
                <c:pt idx="64">
                  <c:v>4.8409873283283544E-21</c:v>
                </c:pt>
                <c:pt idx="65">
                  <c:v>5.4872572410872754E-21</c:v>
                </c:pt>
                <c:pt idx="66">
                  <c:v>6.2197209478198323E-21</c:v>
                </c:pt>
                <c:pt idx="67">
                  <c:v>7.0498618106659885E-21</c:v>
                </c:pt>
                <c:pt idx="68">
                  <c:v>7.9906912315990122E-21</c:v>
                </c:pt>
                <c:pt idx="69">
                  <c:v>9.0569517036908517E-21</c:v>
                </c:pt>
                <c:pt idx="70">
                  <c:v>1.0265346802821495E-20</c:v>
                </c:pt>
                <c:pt idx="71">
                  <c:v>1.1634801687972205E-20</c:v>
                </c:pt>
                <c:pt idx="72">
                  <c:v>1.3186758149890775E-20</c:v>
                </c:pt>
                <c:pt idx="73">
                  <c:v>1.4945508781758886E-20</c:v>
                </c:pt>
                <c:pt idx="74">
                  <c:v>1.6938575449717921E-20</c:v>
                </c:pt>
                <c:pt idx="75">
                  <c:v>1.9197137924980141E-20</c:v>
                </c:pt>
                <c:pt idx="76">
                  <c:v>2.1756519313216269E-20</c:v>
                </c:pt>
                <c:pt idx="77">
                  <c:v>2.4656735792835616E-20</c:v>
                </c:pt>
                <c:pt idx="78">
                  <c:v>2.794311916502227E-20</c:v>
                </c:pt>
                <c:pt idx="79">
                  <c:v>3.1667021840130073E-20</c:v>
                </c:pt>
                <c:pt idx="80">
                  <c:v>3.5886615154379256E-20</c:v>
                </c:pt>
                <c:pt idx="81">
                  <c:v>4.0667793347106087E-20</c:v>
                </c:pt>
                <c:pt idx="82">
                  <c:v>4.6085197154015744E-20</c:v>
                </c:pt>
                <c:pt idx="83">
                  <c:v>5.2223372810692105E-20</c:v>
                </c:pt>
                <c:pt idx="84">
                  <c:v>5.9178084341074233E-20</c:v>
                </c:pt>
                <c:pt idx="85">
                  <c:v>6.7057799359332576E-20</c:v>
                </c:pt>
                <c:pt idx="86">
                  <c:v>7.5985371276363649E-20</c:v>
                </c:pt>
                <c:pt idx="87">
                  <c:v>8.6099943814424393E-20</c:v>
                </c:pt>
                <c:pt idx="88">
                  <c:v>9.755910714096032E-20</c:v>
                </c:pt>
                <c:pt idx="89">
                  <c:v>1.105413387871315E-19</c:v>
                </c:pt>
                <c:pt idx="90">
                  <c:v>1.2524876687635003E-19</c:v>
                </c:pt>
                <c:pt idx="91">
                  <c:v>1.4191029811925633E-19</c:v>
                </c:pt>
                <c:pt idx="92">
                  <c:v>1.6078515860870214E-19</c:v>
                </c:pt>
                <c:pt idx="93">
                  <c:v>1.8216690175567678E-19</c:v>
                </c:pt>
                <c:pt idx="94">
                  <c:v>2.0638794484007915E-19</c:v>
                </c:pt>
                <c:pt idx="95">
                  <c:v>2.3382470371634385E-19</c:v>
                </c:pt>
                <c:pt idx="96">
                  <c:v>2.6490340433494285E-19</c:v>
                </c:pt>
                <c:pt idx="97">
                  <c:v>3.0010666005396376E-19</c:v>
                </c:pt>
                <c:pt idx="98">
                  <c:v>3.3998091537558195E-19</c:v>
                </c:pt>
                <c:pt idx="99">
                  <c:v>3.851448699257861E-19</c:v>
                </c:pt>
                <c:pt idx="100">
                  <c:v>4.3629901139984854E-19</c:v>
                </c:pt>
                <c:pt idx="101">
                  <c:v>4.94236403045029E-19</c:v>
                </c:pt>
                <c:pt idx="102">
                  <c:v>5.5985489029782417E-19</c:v>
                </c:pt>
                <c:pt idx="103">
                  <c:v>6.3417091272141173E-19</c:v>
                </c:pt>
                <c:pt idx="104">
                  <c:v>7.1833513172203183E-19</c:v>
                </c:pt>
                <c:pt idx="105">
                  <c:v>8.1365011202391183E-19</c:v>
                </c:pt>
                <c:pt idx="106">
                  <c:v>9.2159032596257847E-19</c:v>
                </c:pt>
                <c:pt idx="107">
                  <c:v>1.0438247847786754E-18</c:v>
                </c:pt>
                <c:pt idx="108">
                  <c:v>1.1822426407825365E-18</c:v>
                </c:pt>
                <c:pt idx="109">
                  <c:v>1.3389821491042557E-18</c:v>
                </c:pt>
                <c:pt idx="110">
                  <c:v>1.5164634284111668E-18</c:v>
                </c:pt>
                <c:pt idx="111">
                  <c:v>1.7174255172175393E-18</c:v>
                </c:pt>
                <c:pt idx="112">
                  <c:v>1.9449682870771888E-18</c:v>
                </c:pt>
                <c:pt idx="113">
                  <c:v>2.2025998469988225E-18</c:v>
                </c:pt>
                <c:pt idx="114">
                  <c:v>2.4942901559348067E-18</c:v>
                </c:pt>
                <c:pt idx="115">
                  <c:v>2.8245316533861436E-18</c:v>
                </c:pt>
                <c:pt idx="116">
                  <c:v>3.1984078234156259E-18</c:v>
                </c:pt>
                <c:pt idx="117">
                  <c:v>3.6216707262192632E-18</c:v>
                </c:pt>
                <c:pt idx="118">
                  <c:v>4.1008286656174703E-18</c:v>
                </c:pt>
                <c:pt idx="119">
                  <c:v>4.6432453123720008E-18</c:v>
                </c:pt>
                <c:pt idx="120">
                  <c:v>5.2572517743312635E-18</c:v>
                </c:pt>
                <c:pt idx="121">
                  <c:v>5.9522732975609785E-18</c:v>
                </c:pt>
                <c:pt idx="122">
                  <c:v>6.7389725006650949E-18</c:v>
                </c:pt>
                <c:pt idx="123">
                  <c:v>7.6294112906164157E-18</c:v>
                </c:pt>
                <c:pt idx="124">
                  <c:v>8.6372338862013102E-18</c:v>
                </c:pt>
                <c:pt idx="125">
                  <c:v>9.7778736886743302E-18</c:v>
                </c:pt>
                <c:pt idx="126">
                  <c:v>1.1068787092986134E-17</c:v>
                </c:pt>
                <c:pt idx="127">
                  <c:v>1.2529717732117173E-17</c:v>
                </c:pt>
                <c:pt idx="128">
                  <c:v>1.418299509742276E-17</c:v>
                </c:pt>
                <c:pt idx="129">
                  <c:v>1.6053871985975377E-17</c:v>
                </c:pt>
                <c:pt idx="130">
                  <c:v>1.8170905799030794E-17</c:v>
                </c:pt>
                <c:pt idx="131">
                  <c:v>2.056638936220586E-17</c:v>
                </c:pt>
                <c:pt idx="132">
                  <c:v>2.3276837667052118E-17</c:v>
                </c:pt>
                <c:pt idx="133">
                  <c:v>2.6343537755911317E-17</c:v>
                </c:pt>
                <c:pt idx="134">
                  <c:v>2.9813169899054709E-17</c:v>
                </c:pt>
                <c:pt idx="135">
                  <c:v>3.3738509258397525E-17</c:v>
                </c:pt>
                <c:pt idx="136">
                  <c:v>3.8179218410499976E-17</c:v>
                </c:pt>
                <c:pt idx="137">
                  <c:v>4.3202742429909207E-17</c:v>
                </c:pt>
                <c:pt idx="138">
                  <c:v>4.8885319731081948E-17</c:v>
                </c:pt>
                <c:pt idx="139">
                  <c:v>5.5313123554434039E-17</c:v>
                </c:pt>
                <c:pt idx="140">
                  <c:v>6.2583550883360981E-17</c:v>
                </c:pt>
                <c:pt idx="141">
                  <c:v>7.0806677721356963E-17</c:v>
                </c:pt>
                <c:pt idx="142">
                  <c:v>8.0106902071747666E-17</c:v>
                </c:pt>
                <c:pt idx="143">
                  <c:v>9.0624798681120899E-17</c:v>
                </c:pt>
                <c:pt idx="144">
                  <c:v>1.0251921266947919E-16</c:v>
                </c:pt>
                <c:pt idx="145">
                  <c:v>1.159696226183073E-16</c:v>
                </c:pt>
                <c:pt idx="146">
                  <c:v>1.311788075704923E-16</c:v>
                </c:pt>
                <c:pt idx="147">
                  <c:v>1.4837585676735309E-16</c:v>
                </c:pt>
                <c:pt idx="148">
                  <c:v>1.6781956586899627E-16</c:v>
                </c:pt>
                <c:pt idx="149">
                  <c:v>1.8980226894284384E-16</c:v>
                </c:pt>
                <c:pt idx="150">
                  <c:v>2.146541617384509E-16</c:v>
                </c:pt>
                <c:pt idx="151">
                  <c:v>2.4274817878048561E-16</c:v>
                </c:pt>
                <c:pt idx="152">
                  <c:v>2.7450549470267026E-16</c:v>
                </c:pt>
                <c:pt idx="153">
                  <c:v>3.1040172912200763E-16</c:v>
                </c:pt>
                <c:pt idx="154">
                  <c:v>3.5097394433609983E-16</c:v>
                </c:pt>
                <c:pt idx="155">
                  <c:v>3.9682853635339008E-16</c:v>
                </c:pt>
                <c:pt idx="156">
                  <c:v>4.4865013238914777E-16</c:v>
                </c:pt>
                <c:pt idx="157">
                  <c:v>5.0721162215096131E-16</c:v>
                </c:pt>
                <c:pt idx="158">
                  <c:v>5.7338546618746499E-16</c:v>
                </c:pt>
                <c:pt idx="159">
                  <c:v>6.4815644249903682E-16</c:v>
                </c:pt>
                <c:pt idx="160">
                  <c:v>7.3263601274960776E-16</c:v>
                </c:pt>
                <c:pt idx="161">
                  <c:v>8.2807851204437959E-16</c:v>
                </c:pt>
                <c:pt idx="162">
                  <c:v>9.3589939165179269E-16</c:v>
                </c:pt>
                <c:pt idx="163">
                  <c:v>1.0576957725866822E-15</c:v>
                </c:pt>
                <c:pt idx="164">
                  <c:v>1.1952696000143599E-15</c:v>
                </c:pt>
                <c:pt idx="165">
                  <c:v>1.3506537244054415E-15</c:v>
                </c:pt>
                <c:pt idx="166">
                  <c:v>1.5261412757406605E-15</c:v>
                </c:pt>
                <c:pt idx="167">
                  <c:v>1.7243187423656777E-15</c:v>
                </c:pt>
                <c:pt idx="168">
                  <c:v>1.9481032169153255E-15</c:v>
                </c:pt>
                <c:pt idx="169">
                  <c:v>2.2007843287291366E-15</c:v>
                </c:pt>
                <c:pt idx="170">
                  <c:v>2.4860714461024295E-15</c:v>
                </c:pt>
                <c:pt idx="171">
                  <c:v>2.8081468033812466E-15</c:v>
                </c:pt>
                <c:pt idx="172">
                  <c:v>3.1717252882392944E-15</c:v>
                </c:pt>
                <c:pt idx="173">
                  <c:v>3.5821217144941631E-15</c:v>
                </c:pt>
                <c:pt idx="174">
                  <c:v>4.0453265066732115E-15</c:v>
                </c:pt>
                <c:pt idx="175">
                  <c:v>4.5680908355051805E-15</c:v>
                </c:pt>
                <c:pt idx="176">
                  <c:v>5.1580223700144067E-15</c:v>
                </c:pt>
                <c:pt idx="177">
                  <c:v>5.8236929535139872E-15</c:v>
                </c:pt>
                <c:pt idx="178">
                  <c:v>6.5747596693003676E-15</c:v>
                </c:pt>
                <c:pt idx="179">
                  <c:v>7.4221009392134428E-15</c:v>
                </c:pt>
                <c:pt idx="180">
                  <c:v>8.3779694966215478E-15</c:v>
                </c:pt>
                <c:pt idx="181">
                  <c:v>9.4561642972697282E-15</c:v>
                </c:pt>
                <c:pt idx="182">
                  <c:v>1.0672223679481014E-14</c:v>
                </c:pt>
                <c:pt idx="183">
                  <c:v>1.2043642362449647E-14</c:v>
                </c:pt>
                <c:pt idx="184">
                  <c:v>1.3590115181137924E-14</c:v>
                </c:pt>
                <c:pt idx="185">
                  <c:v>1.5333810802311591E-14</c:v>
                </c:pt>
                <c:pt idx="186">
                  <c:v>1.7299679052626095E-14</c:v>
                </c:pt>
                <c:pt idx="187">
                  <c:v>1.9515795920986762E-14</c:v>
                </c:pt>
                <c:pt idx="188">
                  <c:v>2.2013750778713168E-14</c:v>
                </c:pt>
                <c:pt idx="189">
                  <c:v>2.4829080897950478E-14</c:v>
                </c:pt>
                <c:pt idx="190">
                  <c:v>2.8001758947512666E-14</c:v>
                </c:pt>
                <c:pt idx="191">
                  <c:v>3.1576739812789811E-14</c:v>
                </c:pt>
                <c:pt idx="192">
                  <c:v>3.5604573830119988E-14</c:v>
                </c:pt>
                <c:pt idx="193">
                  <c:v>4.0142094354538042E-14</c:v>
                </c:pt>
                <c:pt idx="194">
                  <c:v>4.5253188502346886E-14</c:v>
                </c:pt>
                <c:pt idx="195">
                  <c:v>5.1009660936823109E-14</c:v>
                </c:pt>
                <c:pt idx="196">
                  <c:v>5.7492201707839972E-14</c:v>
                </c:pt>
                <c:pt idx="197">
                  <c:v>6.479147042682875E-14</c:v>
                </c:pt>
                <c:pt idx="198">
                  <c:v>7.3009310471015449E-14</c:v>
                </c:pt>
                <c:pt idx="199">
                  <c:v>8.2260108480453551E-14</c:v>
                </c:pt>
                <c:pt idx="200">
                  <c:v>9.2672316154709619E-14</c:v>
                </c:pt>
                <c:pt idx="201">
                  <c:v>1.0439015329147093E-13</c:v>
                </c:pt>
                <c:pt idx="202">
                  <c:v>1.1757551315699052E-13</c:v>
                </c:pt>
                <c:pt idx="203">
                  <c:v>1.3241009366024049E-13</c:v>
                </c:pt>
                <c:pt idx="204">
                  <c:v>1.4909778044325515E-13</c:v>
                </c:pt>
                <c:pt idx="205">
                  <c:v>1.678673109258127E-13</c:v>
                </c:pt>
                <c:pt idx="206">
                  <c:v>1.8897525158259021E-13</c:v>
                </c:pt>
                <c:pt idx="207">
                  <c:v>2.1270932431681937E-13</c:v>
                </c:pt>
                <c:pt idx="208">
                  <c:v>2.3939212176125541E-13</c:v>
                </c:pt>
                <c:pt idx="209">
                  <c:v>2.6938525572251031E-13</c:v>
                </c:pt>
                <c:pt idx="210">
                  <c:v>3.030939878301265E-13</c:v>
                </c:pt>
                <c:pt idx="211">
                  <c:v>3.4097239680187593E-13</c:v>
                </c:pt>
                <c:pt idx="212">
                  <c:v>3.8352914264066365E-13</c:v>
                </c:pt>
                <c:pt idx="213">
                  <c:v>4.3133389458921827E-13</c:v>
                </c:pt>
                <c:pt idx="214">
                  <c:v>4.8502449684371442E-13</c:v>
                </c:pt>
                <c:pt idx="215">
                  <c:v>5.4531495392943623E-13</c:v>
                </c:pt>
                <c:pt idx="216">
                  <c:v>6.1300432633733424E-13</c:v>
                </c:pt>
                <c:pt idx="217">
                  <c:v>6.8898663658299088E-13</c:v>
                </c:pt>
                <c:pt idx="218">
                  <c:v>7.7426189635730344E-13</c:v>
                </c:pt>
                <c:pt idx="219">
                  <c:v>8.6994837697527985E-13</c:v>
                </c:pt>
                <c:pt idx="220">
                  <c:v>9.7729625798659031E-13</c:v>
                </c:pt>
                <c:pt idx="221">
                  <c:v>1.0977028026854199E-12</c:v>
                </c:pt>
                <c:pt idx="222">
                  <c:v>1.2327292244516773E-12</c:v>
                </c:pt>
                <c:pt idx="223">
                  <c:v>1.3841194244813713E-12</c:v>
                </c:pt>
                <c:pt idx="224">
                  <c:v>1.553820799638304E-12</c:v>
                </c:pt>
                <c:pt idx="225">
                  <c:v>1.7440073390075042E-12</c:v>
                </c:pt>
                <c:pt idx="226">
                  <c:v>1.9571052493842832E-12</c:v>
                </c:pt>
                <c:pt idx="227">
                  <c:v>2.1958213735323883E-12</c:v>
                </c:pt>
                <c:pt idx="228">
                  <c:v>2.4631746907342533E-12</c:v>
                </c:pt>
                <c:pt idx="229">
                  <c:v>2.7625312170931088E-12</c:v>
                </c:pt>
                <c:pt idx="230">
                  <c:v>3.0976426533858603E-12</c:v>
                </c:pt>
                <c:pt idx="231">
                  <c:v>3.4726891611778985E-12</c:v>
                </c:pt>
                <c:pt idx="232">
                  <c:v>3.8923266835642447E-12</c:v>
                </c:pt>
                <c:pt idx="233">
                  <c:v>4.3617392654741888E-12</c:v>
                </c:pt>
                <c:pt idx="234">
                  <c:v>4.8866968701461001E-12</c:v>
                </c:pt>
                <c:pt idx="235">
                  <c:v>5.4736192333287307E-12</c:v>
                </c:pt>
                <c:pt idx="236">
                  <c:v>6.1296463451763893E-12</c:v>
                </c:pt>
                <c:pt idx="237">
                  <c:v>6.8627162018585491E-12</c:v>
                </c:pt>
                <c:pt idx="238">
                  <c:v>7.6816505247733767E-12</c:v>
                </c:pt>
                <c:pt idx="239">
                  <c:v>8.5962492051180114E-12</c:v>
                </c:pt>
                <c:pt idx="240">
                  <c:v>9.617394295571677E-12</c:v>
                </c:pt>
                <c:pt idx="241">
                  <c:v>1.0757164439152565E-11</c:v>
                </c:pt>
                <c:pt idx="242">
                  <c:v>1.2028960698031466E-11</c:v>
                </c:pt>
                <c:pt idx="243">
                  <c:v>1.3447644822337995E-11</c:v>
                </c:pt>
                <c:pt idx="244">
                  <c:v>1.5029691080848185E-11</c:v>
                </c:pt>
                <c:pt idx="245">
                  <c:v>1.6793352861944869E-11</c:v>
                </c:pt>
                <c:pt idx="246">
                  <c:v>1.875884534438185E-11</c:v>
                </c:pt>
                <c:pt idx="247">
                  <c:v>2.0948545633117681E-11</c:v>
                </c:pt>
                <c:pt idx="248">
                  <c:v>2.3387211855704833E-11</c:v>
                </c:pt>
                <c:pt idx="249">
                  <c:v>2.6102222819228582E-11</c:v>
                </c:pt>
                <c:pt idx="250">
                  <c:v>2.9123839936349271E-11</c:v>
                </c:pt>
                <c:pt idx="251">
                  <c:v>3.2485493241241595E-11</c:v>
                </c:pt>
                <c:pt idx="252">
                  <c:v>3.6224093431689829E-11</c:v>
                </c:pt>
                <c:pt idx="253">
                  <c:v>4.038037199172101E-11</c:v>
                </c:pt>
                <c:pt idx="254">
                  <c:v>4.4999251569203569E-11</c:v>
                </c:pt>
                <c:pt idx="255">
                  <c:v>5.0130248903965734E-11</c:v>
                </c:pt>
                <c:pt idx="256">
                  <c:v>5.5827912723141201E-11</c:v>
                </c:pt>
                <c:pt idx="257">
                  <c:v>6.215229914043366E-11</c:v>
                </c:pt>
                <c:pt idx="258">
                  <c:v>6.9169487213325925E-11</c:v>
                </c:pt>
                <c:pt idx="259">
                  <c:v>7.6952137425367047E-11</c:v>
                </c:pt>
                <c:pt idx="260">
                  <c:v>8.5580095967564316E-11</c:v>
                </c:pt>
                <c:pt idx="261">
                  <c:v>9.5141047791465471E-11</c:v>
                </c:pt>
                <c:pt idx="262">
                  <c:v>1.0573122149425439E-10</c:v>
                </c:pt>
                <c:pt idx="263">
                  <c:v>1.1745614917033336E-10</c:v>
                </c:pt>
                <c:pt idx="264">
                  <c:v>1.3043148442128436E-10</c:v>
                </c:pt>
                <c:pt idx="265">
                  <c:v>1.4478388175339636E-10</c:v>
                </c:pt>
                <c:pt idx="266">
                  <c:v>1.6065194060516341E-10</c:v>
                </c:pt>
                <c:pt idx="267">
                  <c:v>1.7818721723222379E-10</c:v>
                </c:pt>
                <c:pt idx="268">
                  <c:v>1.9755530762938053E-10</c:v>
                </c:pt>
                <c:pt idx="269">
                  <c:v>2.1893700458360066E-10</c:v>
                </c:pt>
                <c:pt idx="270">
                  <c:v>2.4252953182290317E-10</c:v>
                </c:pt>
                <c:pt idx="271">
                  <c:v>2.6854785804778148E-10</c:v>
                </c:pt>
                <c:pt idx="272">
                  <c:v>2.9722609339809437E-10</c:v>
                </c:pt>
                <c:pt idx="273">
                  <c:v>3.2881897061257312E-10</c:v>
                </c:pt>
                <c:pt idx="274">
                  <c:v>3.6360341277309054E-10</c:v>
                </c:pt>
                <c:pt idx="275">
                  <c:v>4.0188018908441222E-10</c:v>
                </c:pt>
                <c:pt idx="276">
                  <c:v>4.4397565961439136E-10</c:v>
                </c:pt>
                <c:pt idx="277">
                  <c:v>4.9024360930208891E-10</c:v>
                </c:pt>
                <c:pt idx="278">
                  <c:v>5.4106717082338704E-10</c:v>
                </c:pt>
                <c:pt idx="279">
                  <c:v>5.9686083507794258E-10</c:v>
                </c:pt>
                <c:pt idx="280">
                  <c:v>6.5807254711922954E-10</c:v>
                </c:pt>
                <c:pt idx="281">
                  <c:v>7.2518588428342194E-10</c:v>
                </c:pt>
                <c:pt idx="282">
                  <c:v>7.9872231207507931E-10</c:v>
                </c:pt>
                <c:pt idx="283">
                  <c:v>8.7924351203168274E-10</c:v>
                </c:pt>
                <c:pt idx="284">
                  <c:v>9.6735377430751245E-10</c:v>
                </c:pt>
                <c:pt idx="285">
                  <c:v>1.0637024460861436E-9</c:v>
                </c:pt>
                <c:pt idx="286">
                  <c:v>1.1689864251444605E-9</c:v>
                </c:pt>
                <c:pt idx="287">
                  <c:v>1.2839526859473019E-9</c:v>
                </c:pt>
                <c:pt idx="288">
                  <c:v>1.4094008235494887E-9</c:v>
                </c:pt>
                <c:pt idx="289">
                  <c:v>1.5461855983215431E-9</c:v>
                </c:pt>
                <c:pt idx="290">
                  <c:v>1.6952194621001327E-9</c:v>
                </c:pt>
                <c:pt idx="291">
                  <c:v>1.857475043800608E-9</c:v>
                </c:pt>
                <c:pt idx="292">
                  <c:v>2.0339875698247027E-9</c:v>
                </c:pt>
                <c:pt idx="293">
                  <c:v>2.2258571917645819E-9</c:v>
                </c:pt>
                <c:pt idx="294">
                  <c:v>2.4342511909615425E-9</c:v>
                </c:pt>
                <c:pt idx="295">
                  <c:v>2.6604060264418485E-9</c:v>
                </c:pt>
                <c:pt idx="296">
                  <c:v>2.9056291896512622E-9</c:v>
                </c:pt>
                <c:pt idx="297">
                  <c:v>3.1713008262698726E-9</c:v>
                </c:pt>
                <c:pt idx="298">
                  <c:v>3.4588750822473769E-9</c:v>
                </c:pt>
                <c:pt idx="299">
                  <c:v>3.7698811280940523E-9</c:v>
                </c:pt>
                <c:pt idx="300">
                  <c:v>4.1059238124401886E-9</c:v>
                </c:pt>
                <c:pt idx="301">
                  <c:v>4.4686838929892782E-9</c:v>
                </c:pt>
                <c:pt idx="302">
                  <c:v>4.8599177902918887E-9</c:v>
                </c:pt>
                <c:pt idx="303">
                  <c:v>5.2814568073241288E-9</c:v>
                </c:pt>
                <c:pt idx="304">
                  <c:v>5.7352057557311895E-9</c:v>
                </c:pt>
                <c:pt idx="305">
                  <c:v>6.22314092786948E-9</c:v>
                </c:pt>
                <c:pt idx="306">
                  <c:v>6.7473073525259543E-9</c:v>
                </c:pt>
                <c:pt idx="307">
                  <c:v>7.3098152714923423E-9</c:v>
                </c:pt>
                <c:pt idx="308">
                  <c:v>7.912835774114114E-9</c:v>
                </c:pt>
                <c:pt idx="309">
                  <c:v>8.5585955276025695E-9</c:v>
                </c:pt>
                <c:pt idx="310">
                  <c:v>9.2493705423825868E-9</c:v>
                </c:pt>
                <c:pt idx="311">
                  <c:v>9.9874789141457918E-9</c:v>
                </c:pt>
                <c:pt idx="312">
                  <c:v>1.0775272487659602E-8</c:v>
                </c:pt>
                <c:pt idx="313">
                  <c:v>1.1615127391851066E-8</c:v>
                </c:pt>
                <c:pt idx="314">
                  <c:v>1.2509433401297643E-8</c:v>
                </c:pt>
                <c:pt idx="315">
                  <c:v>1.3460582086108067E-8</c:v>
                </c:pt>
                <c:pt idx="316">
                  <c:v>1.4470953720299981E-8</c:v>
                </c:pt>
                <c:pt idx="317">
                  <c:v>1.5542902928255381E-8</c:v>
                </c:pt>
                <c:pt idx="318">
                  <c:v>1.6678743059662328E-8</c:v>
                </c:pt>
                <c:pt idx="319">
                  <c:v>1.788072929557844E-8</c:v>
                </c:pt>
                <c:pt idx="320">
                  <c:v>1.915104050184479E-8</c:v>
                </c:pt>
                <c:pt idx="321">
                  <c:v>2.0491759861042768E-8</c:v>
                </c:pt>
                <c:pt idx="322">
                  <c:v>2.1904854330436632E-8</c:v>
                </c:pt>
                <c:pt idx="323">
                  <c:v>2.3392152990835512E-8</c:v>
                </c:pt>
                <c:pt idx="324">
                  <c:v>2.4955324369903574E-8</c:v>
                </c:pt>
                <c:pt idx="325">
                  <c:v>2.6595852843030347E-8</c:v>
                </c:pt>
                <c:pt idx="326">
                  <c:v>2.8315014235257436E-8</c:v>
                </c:pt>
                <c:pt idx="327">
                  <c:v>3.0113850768751366E-8</c:v>
                </c:pt>
                <c:pt idx="328">
                  <c:v>3.1993145521669557E-8</c:v>
                </c:pt>
                <c:pt idx="329">
                  <c:v>3.3953396585726195E-8</c:v>
                </c:pt>
                <c:pt idx="330">
                  <c:v>3.5994791131021917E-8</c:v>
                </c:pt>
                <c:pt idx="331">
                  <c:v>3.8117179607425608E-8</c:v>
                </c:pt>
                <c:pt idx="332">
                  <c:v>4.0320050331632314E-8</c:v>
                </c:pt>
                <c:pt idx="333">
                  <c:v>4.2602504727600582E-8</c:v>
                </c:pt>
                <c:pt idx="334">
                  <c:v>4.4963233504968553E-8</c:v>
                </c:pt>
                <c:pt idx="335">
                  <c:v>4.7400494074889213E-8</c:v>
                </c:pt>
                <c:pt idx="336">
                  <c:v>4.9912089515062043E-8</c:v>
                </c:pt>
                <c:pt idx="337">
                  <c:v>5.2495349405170074E-8</c:v>
                </c:pt>
                <c:pt idx="338">
                  <c:v>5.514711286004784E-8</c:v>
                </c:pt>
                <c:pt idx="339">
                  <c:v>5.7863714090311814E-8</c:v>
                </c:pt>
                <c:pt idx="340">
                  <c:v>6.0640970818513894E-8</c:v>
                </c:pt>
                <c:pt idx="341">
                  <c:v>6.3474175872810373E-8</c:v>
                </c:pt>
                <c:pt idx="342">
                  <c:v>6.6358092269361686E-8</c:v>
                </c:pt>
                <c:pt idx="343">
                  <c:v>6.9286952078992481E-8</c:v>
                </c:pt>
                <c:pt idx="344">
                  <c:v>7.2254459352849604E-8</c:v>
                </c:pt>
                <c:pt idx="345">
                  <c:v>7.5253797355804962E-8</c:v>
                </c:pt>
                <c:pt idx="346">
                  <c:v>7.8277640325164301E-8</c:v>
                </c:pt>
                <c:pt idx="347">
                  <c:v>8.131816993588565E-8</c:v>
                </c:pt>
                <c:pt idx="348">
                  <c:v>8.4367096612198258E-8</c:v>
                </c:pt>
                <c:pt idx="349">
                  <c:v>8.7415685779445755E-8</c:v>
                </c:pt>
                <c:pt idx="350">
                  <c:v>9.0454789099565812E-8</c:v>
                </c:pt>
                <c:pt idx="351">
                  <c:v>9.3474880679276269E-8</c:v>
                </c:pt>
                <c:pt idx="352">
                  <c:v>9.6466098182364337E-8</c:v>
                </c:pt>
                <c:pt idx="353">
                  <c:v>9.9418288717066538E-8</c:v>
                </c:pt>
                <c:pt idx="354">
                  <c:v>1.0232105930721903E-7</c:v>
                </c:pt>
                <c:pt idx="355">
                  <c:v>1.0516383169235774E-7</c:v>
                </c:pt>
                <c:pt idx="356">
                  <c:v>1.0793590113827313E-7</c:v>
                </c:pt>
                <c:pt idx="357">
                  <c:v>1.1062649887654852E-7</c:v>
                </c:pt>
                <c:pt idx="358">
                  <c:v>1.1322485773038315E-7</c:v>
                </c:pt>
                <c:pt idx="359">
                  <c:v>1.1572028042553893E-7</c:v>
                </c:pt>
                <c:pt idx="360">
                  <c:v>1.1810221003061079E-7</c:v>
                </c:pt>
                <c:pt idx="361">
                  <c:v>1.2036030192102443E-7</c:v>
                </c:pt>
                <c:pt idx="362">
                  <c:v>1.2248449661723492E-7</c:v>
                </c:pt>
                <c:pt idx="363">
                  <c:v>1.2446509281049667E-7</c:v>
                </c:pt>
                <c:pt idx="364">
                  <c:v>1.2629281986016284E-7</c:v>
                </c:pt>
                <c:pt idx="365">
                  <c:v>1.2795890902559901E-7</c:v>
                </c:pt>
                <c:pt idx="366">
                  <c:v>1.2945516268407257E-7</c:v>
                </c:pt>
                <c:pt idx="367">
                  <c:v>1.3077402078404429E-7</c:v>
                </c:pt>
                <c:pt idx="368">
                  <c:v>1.3190862379152045E-7</c:v>
                </c:pt>
                <c:pt idx="369">
                  <c:v>1.3285287140569306E-7</c:v>
                </c:pt>
                <c:pt idx="370">
                  <c:v>1.3360147634928432E-7</c:v>
                </c:pt>
                <c:pt idx="371">
                  <c:v>1.3415001257845927E-7</c:v>
                </c:pt>
                <c:pt idx="372">
                  <c:v>1.3449495730681269E-7</c:v>
                </c:pt>
                <c:pt idx="373">
                  <c:v>1.3463372629715366E-7</c:v>
                </c:pt>
                <c:pt idx="374">
                  <c:v>1.3456470194303266E-7</c:v>
                </c:pt>
                <c:pt idx="375">
                  <c:v>1.3428725373829476E-7</c:v>
                </c:pt>
                <c:pt idx="376">
                  <c:v>1.3380175081643194E-7</c:v>
                </c:pt>
                <c:pt idx="377">
                  <c:v>1.3310956633096486E-7</c:v>
                </c:pt>
                <c:pt idx="378">
                  <c:v>1.3221307354229119E-7</c:v>
                </c:pt>
                <c:pt idx="379">
                  <c:v>1.3111563357386978E-7</c:v>
                </c:pt>
                <c:pt idx="380">
                  <c:v>1.2982157489997521E-7</c:v>
                </c:pt>
                <c:pt idx="381">
                  <c:v>1.283361647268093E-7</c:v>
                </c:pt>
                <c:pt idx="382">
                  <c:v>1.2666557252710536E-7</c:v>
                </c:pt>
                <c:pt idx="383">
                  <c:v>1.2481682608379091E-7</c:v>
                </c:pt>
                <c:pt idx="384">
                  <c:v>1.2279776048940308E-7</c:v>
                </c:pt>
                <c:pt idx="385">
                  <c:v>1.2061696063310084E-7</c:v>
                </c:pt>
                <c:pt idx="386">
                  <c:v>1.1828369778515243E-7</c:v>
                </c:pt>
                <c:pt idx="387">
                  <c:v>1.1580786095819119E-7</c:v>
                </c:pt>
                <c:pt idx="388">
                  <c:v>1.1319988378441161E-7</c:v>
                </c:pt>
                <c:pt idx="389">
                  <c:v>1.1047066769713573E-7</c:v>
                </c:pt>
                <c:pt idx="390">
                  <c:v>1.07631502243142E-7</c:v>
                </c:pt>
                <c:pt idx="391">
                  <c:v>1.0469398337823965E-7</c:v>
                </c:pt>
                <c:pt idx="392">
                  <c:v>1.0166993061244613E-7</c:v>
                </c:pt>
                <c:pt idx="393">
                  <c:v>9.8571303872661614E-8</c:v>
                </c:pt>
                <c:pt idx="394">
                  <c:v>9.5410120940096792E-8</c:v>
                </c:pt>
                <c:pt idx="395">
                  <c:v>9.2198376297148982E-8</c:v>
                </c:pt>
                <c:pt idx="396">
                  <c:v>8.8947962184516815E-8</c:v>
                </c:pt>
                <c:pt idx="397">
                  <c:v>8.5670592624848505E-8</c:v>
                </c:pt>
                <c:pt idx="398">
                  <c:v>8.2377731115004802E-8</c:v>
                </c:pt>
                <c:pt idx="399">
                  <c:v>7.9080522626177886E-8</c:v>
                </c:pt>
                <c:pt idx="400">
                  <c:v>7.5789730480887688E-8</c:v>
                </c:pt>
                <c:pt idx="401">
                  <c:v>7.2515678599516495E-8</c:v>
                </c:pt>
                <c:pt idx="402">
                  <c:v>6.9268199528020542E-8</c:v>
                </c:pt>
                <c:pt idx="403">
                  <c:v>6.6056588574152318E-8</c:v>
                </c:pt>
                <c:pt idx="404">
                  <c:v>6.2889564293435026E-8</c:v>
                </c:pt>
                <c:pt idx="405">
                  <c:v>5.9775235479702336E-8</c:v>
                </c:pt>
                <c:pt idx="406">
                  <c:v>5.6721074729619714E-8</c:v>
                </c:pt>
                <c:pt idx="407">
                  <c:v>5.3733898567640907E-8</c:v>
                </c:pt>
                <c:pt idx="408">
                  <c:v>5.0819854038504464E-8</c:v>
                </c:pt>
                <c:pt idx="409">
                  <c:v>4.7984411599821131E-8</c:v>
                </c:pt>
                <c:pt idx="410">
                  <c:v>4.5232364078504034E-8</c:v>
                </c:pt>
                <c:pt idx="411">
                  <c:v>4.2567831392622823E-8</c:v>
                </c:pt>
                <c:pt idx="412">
                  <c:v>3.9994270685384929E-8</c:v>
                </c:pt>
                <c:pt idx="413">
                  <c:v>3.7514491470912032E-8</c:v>
                </c:pt>
                <c:pt idx="414">
                  <c:v>3.5130675352601007E-8</c:v>
                </c:pt>
                <c:pt idx="415">
                  <c:v>3.2844399844363309E-8</c:v>
                </c:pt>
                <c:pt idx="416">
                  <c:v>3.0656665802925278E-8</c:v>
                </c:pt>
                <c:pt idx="417">
                  <c:v>2.8567927965501107E-8</c:v>
                </c:pt>
                <c:pt idx="418">
                  <c:v>2.6578128081284289E-8</c:v>
                </c:pt>
                <c:pt idx="419">
                  <c:v>2.4686730126899811E-8</c:v>
                </c:pt>
                <c:pt idx="420">
                  <c:v>2.2892757104725923E-8</c:v>
                </c:pt>
                <c:pt idx="421">
                  <c:v>2.1194828938222334E-8</c:v>
                </c:pt>
                <c:pt idx="422">
                  <c:v>1.9591200999383616E-8</c:v>
                </c:pt>
                <c:pt idx="423">
                  <c:v>1.8079802829459568E-8</c:v>
                </c:pt>
                <c:pt idx="424">
                  <c:v>1.6658276644343768E-8</c:v>
                </c:pt>
                <c:pt idx="425">
                  <c:v>1.5324015249731349E-8</c:v>
                </c:pt>
                <c:pt idx="426">
                  <c:v>1.4074199027497556E-8</c:v>
                </c:pt>
                <c:pt idx="427">
                  <c:v>1.2905831692941015E-8</c:v>
                </c:pt>
                <c:pt idx="428">
                  <c:v>1.1815774561831593E-8</c:v>
                </c:pt>
                <c:pt idx="429">
                  <c:v>1.0800779105869046E-8</c:v>
                </c:pt>
                <c:pt idx="430">
                  <c:v>9.857517614544204E-9</c:v>
                </c:pt>
                <c:pt idx="431">
                  <c:v>8.9826118198907014E-9</c:v>
                </c:pt>
                <c:pt idx="432">
                  <c:v>8.1726593776939006E-9</c:v>
                </c:pt>
                <c:pt idx="433">
                  <c:v>7.4242581339209229E-9</c:v>
                </c:pt>
                <c:pt idx="434">
                  <c:v>6.7340281380743568E-9</c:v>
                </c:pt>
                <c:pt idx="435">
                  <c:v>6.0986313955365116E-9</c:v>
                </c:pt>
                <c:pt idx="436">
                  <c:v>5.5147893785369816E-9</c:v>
                </c:pt>
                <c:pt idx="437">
                  <c:v>4.9792983399781959E-9</c:v>
                </c:pt>
                <c:pt idx="438">
                  <c:v>4.4890424959027834E-9</c:v>
                </c:pt>
                <c:pt idx="439">
                  <c:v>4.0410051608541883E-9</c:v>
                </c:pt>
                <c:pt idx="440">
                  <c:v>3.6322779357976521E-9</c:v>
                </c:pt>
                <c:pt idx="441">
                  <c:v>3.2600680607106387E-9</c:v>
                </c:pt>
                <c:pt idx="442">
                  <c:v>2.9217040535467048E-9</c:v>
                </c:pt>
                <c:pt idx="443">
                  <c:v>2.6146397641814569E-9</c:v>
                </c:pt>
                <c:pt idx="444">
                  <c:v>2.3364569763545387E-9</c:v>
                </c:pt>
                <c:pt idx="445">
                  <c:v>2.0848666927401669E-9</c:v>
                </c:pt>
                <c:pt idx="446">
                  <c:v>1.8577092383348967E-9</c:v>
                </c:pt>
                <c:pt idx="447">
                  <c:v>1.652953315586021E-9</c:v>
                </c:pt>
                <c:pt idx="448">
                  <c:v>1.468694141333006E-9</c:v>
                </c:pt>
                <c:pt idx="449">
                  <c:v>1.3031507909412565E-9</c:v>
                </c:pt>
                <c:pt idx="450">
                  <c:v>1.1546628692016905E-9</c:v>
                </c:pt>
                <c:pt idx="451">
                  <c:v>1.021686620877673E-9</c:v>
                </c:pt>
                <c:pt idx="452">
                  <c:v>9.0279058641223291E-10</c:v>
                </c:pt>
                <c:pt idx="453">
                  <c:v>7.9665090045953441E-10</c:v>
                </c:pt>
                <c:pt idx="454">
                  <c:v>7.0204632275509431E-10</c:v>
                </c:pt>
                <c:pt idx="455">
                  <c:v>6.1785308254945974E-10</c:v>
                </c:pt>
                <c:pt idx="456">
                  <c:v>5.4303960954275259E-10</c:v>
                </c:pt>
                <c:pt idx="457">
                  <c:v>4.7666121609672323E-10</c:v>
                </c:pt>
                <c:pt idx="458">
                  <c:v>4.1785478757025492E-10</c:v>
                </c:pt>
                <c:pt idx="459">
                  <c:v>3.6583353001213177E-10</c:v>
                </c:pt>
                <c:pt idx="460">
                  <c:v>3.1988181721920213E-10</c:v>
                </c:pt>
                <c:pt idx="461">
                  <c:v>2.7935017238369832E-10</c:v>
                </c:pt>
                <c:pt idx="462">
                  <c:v>2.436504132483243E-10</c:v>
                </c:pt>
                <c:pt idx="463">
                  <c:v>2.1225098388742433E-10</c:v>
                </c:pt>
                <c:pt idx="464">
                  <c:v>1.8467249095033346E-10</c:v>
                </c:pt>
                <c:pt idx="465">
                  <c:v>1.6048345744194474E-10</c:v>
                </c:pt>
                <c:pt idx="466">
                  <c:v>1.3929630286933795E-10</c:v>
                </c:pt>
                <c:pt idx="467">
                  <c:v>1.2076355483874605E-10</c:v>
                </c:pt>
                <c:pt idx="468">
                  <c:v>1.0457429392420229E-10</c:v>
                </c:pt>
                <c:pt idx="469">
                  <c:v>9.045083082347811E-11</c:v>
                </c:pt>
                <c:pt idx="470">
                  <c:v>7.8145612440212529E-11</c:v>
                </c:pt>
                <c:pt idx="471">
                  <c:v>6.7438351552405404E-11</c:v>
                </c:pt>
                <c:pt idx="472">
                  <c:v>5.8133373114452987E-11</c:v>
                </c:pt>
                <c:pt idx="473">
                  <c:v>5.0057168959140406E-11</c:v>
                </c:pt>
                <c:pt idx="474">
                  <c:v>4.3056151684228912E-11</c:v>
                </c:pt>
                <c:pt idx="475">
                  <c:v>3.6994597792547882E-11</c:v>
                </c:pt>
                <c:pt idx="476">
                  <c:v>3.1752769672997839E-11</c:v>
                </c:pt>
                <c:pt idx="477">
                  <c:v>2.7225205732127376E-11</c:v>
                </c:pt>
                <c:pt idx="478">
                  <c:v>2.3319167883280274E-11</c:v>
                </c:pt>
                <c:pt idx="479">
                  <c:v>1.9953235645843923E-11</c:v>
                </c:pt>
                <c:pt idx="480">
                  <c:v>1.7056036276251793E-11</c:v>
                </c:pt>
                <c:pt idx="481">
                  <c:v>1.4565100622457211E-11</c:v>
                </c:pt>
                <c:pt idx="482">
                  <c:v>1.2425834744294685E-11</c:v>
                </c:pt>
                <c:pt idx="483">
                  <c:v>1.0590597755249448E-11</c:v>
                </c:pt>
                <c:pt idx="484">
                  <c:v>9.0178768006026743E-12</c:v>
                </c:pt>
                <c:pt idx="485">
                  <c:v>7.6715505786112915E-12</c:v>
                </c:pt>
                <c:pt idx="486">
                  <c:v>6.5202333232087504E-12</c:v>
                </c:pt>
                <c:pt idx="487">
                  <c:v>5.5366916882757965E-12</c:v>
                </c:pt>
                <c:pt idx="488">
                  <c:v>4.6973274961297139E-12</c:v>
                </c:pt>
                <c:pt idx="489">
                  <c:v>3.9817198293149283E-12</c:v>
                </c:pt>
                <c:pt idx="490">
                  <c:v>3.3722204491727097E-12</c:v>
                </c:pt>
                <c:pt idx="491">
                  <c:v>2.8535970124146402E-12</c:v>
                </c:pt>
                <c:pt idx="492">
                  <c:v>2.4127190244404685E-12</c:v>
                </c:pt>
                <c:pt idx="493">
                  <c:v>2.0382819128124024E-12</c:v>
                </c:pt>
                <c:pt idx="494">
                  <c:v>1.7205650243150066E-12</c:v>
                </c:pt>
                <c:pt idx="495">
                  <c:v>1.4512197432663805E-12</c:v>
                </c:pt>
                <c:pt idx="496">
                  <c:v>1.2230842966730589E-12</c:v>
                </c:pt>
                <c:pt idx="497">
                  <c:v>1.0300221533911924E-12</c:v>
                </c:pt>
                <c:pt idx="498">
                  <c:v>8.6678124000487766E-13</c:v>
                </c:pt>
                <c:pt idx="499">
                  <c:v>7.2887148633589359E-13</c:v>
                </c:pt>
                <c:pt idx="500">
                  <c:v>6.1245847924922532E-13</c:v>
                </c:pt>
                <c:pt idx="501">
                  <c:v>5.1427124582027283E-13</c:v>
                </c:pt>
                <c:pt idx="502">
                  <c:v>4.3152240719839018E-13</c:v>
                </c:pt>
                <c:pt idx="503">
                  <c:v>3.6183914395297652E-13</c:v>
                </c:pt>
                <c:pt idx="504">
                  <c:v>3.0320359368102934E-13</c:v>
                </c:pt>
                <c:pt idx="505">
                  <c:v>2.5390146357025685E-13</c:v>
                </c:pt>
                <c:pt idx="506">
                  <c:v>2.1247778581930173E-13</c:v>
                </c:pt>
                <c:pt idx="507">
                  <c:v>1.7769887366361787E-13</c:v>
                </c:pt>
                <c:pt idx="508">
                  <c:v>1.4851965154148132E-13</c:v>
                </c:pt>
                <c:pt idx="509">
                  <c:v>1.2405563590840124E-13</c:v>
                </c:pt>
                <c:pt idx="510">
                  <c:v>1.0355893455127908E-13</c:v>
                </c:pt>
                <c:pt idx="511">
                  <c:v>8.6397713081024943E-14</c:v>
                </c:pt>
                <c:pt idx="512">
                  <c:v>7.2038648634133518E-14</c:v>
                </c:pt>
                <c:pt idx="513">
                  <c:v>6.0031953657459807E-14</c:v>
                </c:pt>
                <c:pt idx="514">
                  <c:v>4.9998607877851281E-14</c:v>
                </c:pt>
                <c:pt idx="515">
                  <c:v>4.1619484989605737E-14</c:v>
                </c:pt>
                <c:pt idx="516">
                  <c:v>3.4626102976529471E-14</c:v>
                </c:pt>
                <c:pt idx="517">
                  <c:v>2.8792764002972848E-14</c:v>
                </c:pt>
                <c:pt idx="518">
                  <c:v>2.3929882077003627E-14</c:v>
                </c:pt>
                <c:pt idx="519">
                  <c:v>1.9878324765206547E-14</c:v>
                </c:pt>
                <c:pt idx="520">
                  <c:v>1.6504619623324525E-14</c:v>
                </c:pt>
                <c:pt idx="521">
                  <c:v>1.3696897148219391E-14</c:v>
                </c:pt>
                <c:pt idx="522">
                  <c:v>1.1361460354749197E-14</c:v>
                </c:pt>
                <c:pt idx="523">
                  <c:v>9.4198868923350826E-15</c:v>
                </c:pt>
                <c:pt idx="524">
                  <c:v>7.8065832564956449E-15</c:v>
                </c:pt>
                <c:pt idx="525">
                  <c:v>6.466722399995389E-15</c:v>
                </c:pt>
                <c:pt idx="526">
                  <c:v>5.3545061536401736E-15</c:v>
                </c:pt>
                <c:pt idx="527">
                  <c:v>4.4317025452078255E-15</c:v>
                </c:pt>
                <c:pt idx="528">
                  <c:v>3.6664155476216027E-15</c:v>
                </c:pt>
                <c:pt idx="529">
                  <c:v>3.0320511612420282E-15</c:v>
                </c:pt>
                <c:pt idx="530">
                  <c:v>2.5064491863281007E-15</c:v>
                </c:pt>
                <c:pt idx="531">
                  <c:v>2.071154697698027E-15</c:v>
                </c:pt>
                <c:pt idx="532">
                  <c:v>1.7108072053616292E-15</c:v>
                </c:pt>
                <c:pt idx="533">
                  <c:v>1.4126288687567837E-15</c:v>
                </c:pt>
                <c:pt idx="534">
                  <c:v>1.1659960117481918E-15</c:v>
                </c:pt>
                <c:pt idx="535">
                  <c:v>9.6208063303370555E-16</c:v>
                </c:pt>
                <c:pt idx="536">
                  <c:v>7.9355068450719211E-16</c:v>
                </c:pt>
                <c:pt idx="537">
                  <c:v>6.5431965229362118E-16</c:v>
                </c:pt>
                <c:pt idx="538">
                  <c:v>5.3933746796874555E-16</c:v>
                </c:pt>
                <c:pt idx="539">
                  <c:v>4.4441604075379195E-16</c:v>
                </c:pt>
                <c:pt idx="540">
                  <c:v>3.6608376942018974E-16</c:v>
                </c:pt>
                <c:pt idx="541">
                  <c:v>3.0146429456817994E-16</c:v>
                </c:pt>
                <c:pt idx="542">
                  <c:v>2.4817551291392468E-16</c:v>
                </c:pt>
                <c:pt idx="543">
                  <c:v>2.0424551666554378E-16</c:v>
                </c:pt>
                <c:pt idx="544">
                  <c:v>1.6804266125834845E-16</c:v>
                </c:pt>
                <c:pt idx="545">
                  <c:v>1.3821741923727297E-16</c:v>
                </c:pt>
                <c:pt idx="546">
                  <c:v>1.1365406016932233E-16</c:v>
                </c:pt>
                <c:pt idx="547">
                  <c:v>9.3430517409806897E-17</c:v>
                </c:pt>
                <c:pt idx="548">
                  <c:v>7.6785071899233535E-17</c:v>
                </c:pt>
                <c:pt idx="549">
                  <c:v>6.308870904110951E-17</c:v>
                </c:pt>
                <c:pt idx="550">
                  <c:v>5.1822193976334587E-17</c:v>
                </c:pt>
                <c:pt idx="551">
                  <c:v>4.2557069038981122E-17</c:v>
                </c:pt>
                <c:pt idx="552">
                  <c:v>3.4939909763103078E-17</c:v>
                </c:pt>
                <c:pt idx="553">
                  <c:v>2.8679286659074796E-17</c:v>
                </c:pt>
                <c:pt idx="554">
                  <c:v>2.3534972587968134E-17</c:v>
                </c:pt>
                <c:pt idx="555">
                  <c:v>1.9309012882500816E-17</c:v>
                </c:pt>
                <c:pt idx="556">
                  <c:v>1.5838339873248895E-17</c:v>
                </c:pt>
                <c:pt idx="557">
                  <c:v>1.2988667267057589E-17</c:v>
                </c:pt>
                <c:pt idx="558">
                  <c:v>1.0649444644148113E-17</c:v>
                </c:pt>
                <c:pt idx="559">
                  <c:v>8.7296896634499554E-18</c:v>
                </c:pt>
                <c:pt idx="560">
                  <c:v>7.1545466277403538E-18</c:v>
                </c:pt>
                <c:pt idx="561">
                  <c:v>5.8624458959793916E-18</c:v>
                </c:pt>
                <c:pt idx="562">
                  <c:v>4.8027601069498032E-18</c:v>
                </c:pt>
                <c:pt idx="563">
                  <c:v>3.9338710215601053E-18</c:v>
                </c:pt>
                <c:pt idx="564">
                  <c:v>3.2215756073646836E-18</c:v>
                </c:pt>
                <c:pt idx="565">
                  <c:v>2.6377722853051139E-18</c:v>
                </c:pt>
                <c:pt idx="566">
                  <c:v>2.1593784583597725E-18</c:v>
                </c:pt>
                <c:pt idx="567">
                  <c:v>1.7674388982264297E-18</c:v>
                </c:pt>
                <c:pt idx="568">
                  <c:v>1.4463915736706256E-18</c:v>
                </c:pt>
                <c:pt idx="569">
                  <c:v>1.1834633083633619E-18</c:v>
                </c:pt>
                <c:pt idx="570">
                  <c:v>9.681724612465905E-19</c:v>
                </c:pt>
                <c:pt idx="571">
                  <c:v>7.9191979881911866E-19</c:v>
                </c:pt>
                <c:pt idx="572">
                  <c:v>6.4765201780407454E-19</c:v>
                </c:pt>
                <c:pt idx="573">
                  <c:v>5.2958509599728557E-19</c:v>
                </c:pt>
                <c:pt idx="574">
                  <c:v>4.3297689649220673E-19</c:v>
                </c:pt>
                <c:pt idx="575">
                  <c:v>3.5394030705600085E-19</c:v>
                </c:pt>
                <c:pt idx="576">
                  <c:v>2.8928972954751605E-19</c:v>
                </c:pt>
                <c:pt idx="577">
                  <c:v>2.3641499978587847E-19</c:v>
                </c:pt>
                <c:pt idx="578">
                  <c:v>1.9317786250370679E-19</c:v>
                </c:pt>
                <c:pt idx="579">
                  <c:v>1.5782698733855064E-19</c:v>
                </c:pt>
                <c:pt idx="580">
                  <c:v>1.2892822199965278E-19</c:v>
                </c:pt>
                <c:pt idx="581">
                  <c:v>1.0530736411768689E-19</c:v>
                </c:pt>
                <c:pt idx="582">
                  <c:v>8.6003215609271647E-20</c:v>
                </c:pt>
                <c:pt idx="583">
                  <c:v>7.0229080670578299E-20</c:v>
                </c:pt>
                <c:pt idx="584">
                  <c:v>5.7341195647874185E-20</c:v>
                </c:pt>
                <c:pt idx="585">
                  <c:v>4.6812848312417233E-20</c:v>
                </c:pt>
                <c:pt idx="586">
                  <c:v>3.8213165660359105E-20</c:v>
                </c:pt>
                <c:pt idx="587">
                  <c:v>3.1189731650608202E-20</c:v>
                </c:pt>
                <c:pt idx="588">
                  <c:v>2.5454346214515435E-20</c:v>
                </c:pt>
                <c:pt idx="589">
                  <c:v>2.0771360130538687E-20</c:v>
                </c:pt>
                <c:pt idx="590">
                  <c:v>1.6948121670596291E-20</c:v>
                </c:pt>
                <c:pt idx="591">
                  <c:v>1.3827154174553827E-20</c:v>
                </c:pt>
                <c:pt idx="592">
                  <c:v>1.1279752099777302E-20</c:v>
                </c:pt>
                <c:pt idx="593">
                  <c:v>9.2007392597285041E-21</c:v>
                </c:pt>
                <c:pt idx="594">
                  <c:v>7.5041790836340554E-21</c:v>
                </c:pt>
                <c:pt idx="595">
                  <c:v>6.1198645854112591E-21</c:v>
                </c:pt>
                <c:pt idx="596">
                  <c:v>4.9904467980005086E-21</c:v>
                </c:pt>
                <c:pt idx="597">
                  <c:v>4.0690859195549495E-21</c:v>
                </c:pt>
                <c:pt idx="598">
                  <c:v>3.3175303271583693E-21</c:v>
                </c:pt>
                <c:pt idx="599">
                  <c:v>2.7045457616750986E-21</c:v>
                </c:pt>
                <c:pt idx="600">
                  <c:v>2.2046310470503325E-21</c:v>
                </c:pt>
                <c:pt idx="601">
                  <c:v>1.7969682328743367E-21</c:v>
                </c:pt>
                <c:pt idx="602">
                  <c:v>1.4645644949159979E-21</c:v>
                </c:pt>
                <c:pt idx="603">
                  <c:v>1.1935508684100996E-21</c:v>
                </c:pt>
                <c:pt idx="604">
                  <c:v>9.7260922976630719E-22</c:v>
                </c:pt>
                <c:pt idx="605">
                  <c:v>7.9250413614854335E-22</c:v>
                </c:pt>
                <c:pt idx="606">
                  <c:v>6.4570038560801811E-22</c:v>
                </c:pt>
                <c:pt idx="607">
                  <c:v>5.2605064292070507E-22</c:v>
                </c:pt>
                <c:pt idx="608">
                  <c:v>4.2854032706989059E-22</c:v>
                </c:pt>
                <c:pt idx="609">
                  <c:v>3.4907928964150113E-22</c:v>
                </c:pt>
                <c:pt idx="610">
                  <c:v>2.8433172281362702E-22</c:v>
                </c:pt>
                <c:pt idx="611">
                  <c:v>2.3157729791075504E-22</c:v>
                </c:pt>
                <c:pt idx="612">
                  <c:v>1.88597813521479E-22</c:v>
                </c:pt>
                <c:pt idx="613">
                  <c:v>1.5358467752465672E-22</c:v>
                </c:pt>
                <c:pt idx="614">
                  <c:v>1.2506340223043177E-22</c:v>
                </c:pt>
                <c:pt idx="615">
                  <c:v>1.018319908530314E-22</c:v>
                </c:pt>
                <c:pt idx="616">
                  <c:v>8.2910664990048399E-23</c:v>
                </c:pt>
                <c:pt idx="617">
                  <c:v>6.7500849917466446E-23</c:v>
                </c:pt>
                <c:pt idx="618">
                  <c:v>5.495171629036859E-23</c:v>
                </c:pt>
                <c:pt idx="619">
                  <c:v>4.4732888836184917E-23</c:v>
                </c:pt>
                <c:pt idx="620">
                  <c:v>3.6412187544340673E-23</c:v>
                </c:pt>
                <c:pt idx="621">
                  <c:v>2.96374751197074E-23</c:v>
                </c:pt>
                <c:pt idx="622">
                  <c:v>2.4121854586128375E-23</c:v>
                </c:pt>
                <c:pt idx="623">
                  <c:v>1.9631599872449598E-23</c:v>
                </c:pt>
                <c:pt idx="624">
                  <c:v>1.597631568220604E-23</c:v>
                </c:pt>
                <c:pt idx="625">
                  <c:v>1.3000915601730349E-23</c:v>
                </c:pt>
                <c:pt idx="626">
                  <c:v>1.0579083047774847E-23</c:v>
                </c:pt>
                <c:pt idx="627">
                  <c:v>8.6079414089828215E-24</c:v>
                </c:pt>
                <c:pt idx="628">
                  <c:v>7.0037101435574359E-24</c:v>
                </c:pt>
                <c:pt idx="629">
                  <c:v>5.6981647344477312E-24</c:v>
                </c:pt>
                <c:pt idx="630">
                  <c:v>4.6357519778340246E-24</c:v>
                </c:pt>
                <c:pt idx="631">
                  <c:v>3.771239475175673E-24</c:v>
                </c:pt>
                <c:pt idx="632">
                  <c:v>3.06780055134047E-24</c:v>
                </c:pt>
                <c:pt idx="633">
                  <c:v>2.4954540556355398E-24</c:v>
                </c:pt>
                <c:pt idx="634">
                  <c:v>2.0297933774330105E-24</c:v>
                </c:pt>
                <c:pt idx="635">
                  <c:v>1.6509511402557605E-24</c:v>
                </c:pt>
                <c:pt idx="636">
                  <c:v>1.3427559330480452E-24</c:v>
                </c:pt>
                <c:pt idx="637">
                  <c:v>1.0920455062547314E-24</c:v>
                </c:pt>
                <c:pt idx="638">
                  <c:v>8.8810744002485556E-25</c:v>
                </c:pt>
                <c:pt idx="639">
                  <c:v>7.2222365629240454E-25</c:v>
                </c:pt>
                <c:pt idx="640">
                  <c:v>5.8729952008174469E-25</c:v>
                </c:pt>
                <c:pt idx="641">
                  <c:v>4.7756184053880967E-25</c:v>
                </c:pt>
                <c:pt idx="642">
                  <c:v>3.8831298836267475E-25</c:v>
                </c:pt>
                <c:pt idx="643">
                  <c:v>3.1573071482691668E-25</c:v>
                </c:pt>
                <c:pt idx="644">
                  <c:v>2.567051880415471E-25</c:v>
                </c:pt>
                <c:pt idx="645">
                  <c:v>2.0870633510437521E-25</c:v>
                </c:pt>
                <c:pt idx="646">
                  <c:v>1.6967586069013306E-25</c:v>
                </c:pt>
                <c:pt idx="647">
                  <c:v>1.3793935699263924E-25</c:v>
                </c:pt>
                <c:pt idx="648">
                  <c:v>1.1213477086633981E-25</c:v>
                </c:pt>
                <c:pt idx="649">
                  <c:v>9.1154187215182589E-26</c:v>
                </c:pt>
                <c:pt idx="650">
                  <c:v>7.4096452346129783E-26</c:v>
                </c:pt>
                <c:pt idx="651">
                  <c:v>6.0228620982900647E-26</c:v>
                </c:pt>
                <c:pt idx="652">
                  <c:v>4.8954585246104417E-26</c:v>
                </c:pt>
                <c:pt idx="653">
                  <c:v>3.9789549026137702E-26</c:v>
                </c:pt>
                <c:pt idx="654">
                  <c:v>3.2339259639128413E-26</c:v>
                </c:pt>
                <c:pt idx="655">
                  <c:v>2.6283110993560937E-26</c:v>
                </c:pt>
                <c:pt idx="656">
                  <c:v>2.1360397247579342E-26</c:v>
                </c:pt>
                <c:pt idx="657">
                  <c:v>1.7359130079939795E-26</c:v>
                </c:pt>
                <c:pt idx="658">
                  <c:v>1.4106941913089928E-26</c:v>
                </c:pt>
                <c:pt idx="659">
                  <c:v>1.1463686337454576E-26</c:v>
                </c:pt>
                <c:pt idx="660">
                  <c:v>9.3154193670160076E-27</c:v>
                </c:pt>
                <c:pt idx="661">
                  <c:v>7.5695040734847131E-27</c:v>
                </c:pt>
                <c:pt idx="662">
                  <c:v>6.1506291021633078E-27</c:v>
                </c:pt>
                <c:pt idx="663">
                  <c:v>4.9975706068409884E-27</c:v>
                </c:pt>
                <c:pt idx="664">
                  <c:v>4.0605589071579679E-27</c:v>
                </c:pt>
                <c:pt idx="665">
                  <c:v>3.2991370250812991E-27</c:v>
                </c:pt>
                <c:pt idx="666">
                  <c:v>2.6804192964000451E-27</c:v>
                </c:pt>
                <c:pt idx="667">
                  <c:v>2.1776753721594589E-27</c:v>
                </c:pt>
                <c:pt idx="668">
                  <c:v>1.769178855472073E-27</c:v>
                </c:pt>
                <c:pt idx="669">
                  <c:v>1.4372711536812487E-27</c:v>
                </c:pt>
                <c:pt idx="670">
                  <c:v>1.1676003470195461E-27</c:v>
                </c:pt>
                <c:pt idx="671">
                  <c:v>9.4850237788319878E-28</c:v>
                </c:pt>
                <c:pt idx="672">
                  <c:v>7.7049796771112088E-28</c:v>
                </c:pt>
                <c:pt idx="673">
                  <c:v>6.2588363409016228E-28</c:v>
                </c:pt>
                <c:pt idx="674">
                  <c:v>5.0839921890923035E-28</c:v>
                </c:pt>
                <c:pt idx="675">
                  <c:v>4.1295762417069544E-28</c:v>
                </c:pt>
                <c:pt idx="676">
                  <c:v>3.354251236556694E-28</c:v>
                </c:pt>
                <c:pt idx="677">
                  <c:v>2.7244279231942739E-28</c:v>
                </c:pt>
                <c:pt idx="678">
                  <c:v>2.2128136263321029E-28</c:v>
                </c:pt>
                <c:pt idx="679">
                  <c:v>1.7972325463374906E-28</c:v>
                </c:pt>
                <c:pt idx="680">
                  <c:v>1.4596669547108964E-28</c:v>
                </c:pt>
                <c:pt idx="681">
                  <c:v>1.1854779481135581E-28</c:v>
                </c:pt>
                <c:pt idx="682">
                  <c:v>9.6277215515781363E-29</c:v>
                </c:pt>
                <c:pt idx="683">
                  <c:v>7.8188707534497723E-29</c:v>
                </c:pt>
                <c:pt idx="684">
                  <c:v>6.3497284055621533E-29</c:v>
                </c:pt>
                <c:pt idx="685">
                  <c:v>5.1565234462315188E-29</c:v>
                </c:pt>
                <c:pt idx="686">
                  <c:v>4.1874506518314579E-29</c:v>
                </c:pt>
                <c:pt idx="687">
                  <c:v>3.4004264843243095E-29</c:v>
                </c:pt>
                <c:pt idx="688">
                  <c:v>2.7612656054926273E-29</c:v>
                </c:pt>
                <c:pt idx="689">
                  <c:v>2.2421992467074771E-29</c:v>
                </c:pt>
                <c:pt idx="690">
                  <c:v>1.8206713801672047E-29</c:v>
                </c:pt>
                <c:pt idx="691">
                  <c:v>1.4783606322331182E-29</c:v>
                </c:pt>
                <c:pt idx="692">
                  <c:v>1.2003856298966386E-29</c:v>
                </c:pt>
                <c:pt idx="693">
                  <c:v>9.7465939651980784E-30</c:v>
                </c:pt>
                <c:pt idx="694">
                  <c:v>7.9136485471751035E-30</c:v>
                </c:pt>
                <c:pt idx="695">
                  <c:v>6.4252872955526285E-30</c:v>
                </c:pt>
                <c:pt idx="696">
                  <c:v>5.2167540035991377E-30</c:v>
                </c:pt>
                <c:pt idx="697">
                  <c:v>4.2354570779504615E-30</c:v>
                </c:pt>
                <c:pt idx="698">
                  <c:v>3.438685329234563E-30</c:v>
                </c:pt>
                <c:pt idx="699">
                  <c:v>2.7917524924035997E-30</c:v>
                </c:pt>
                <c:pt idx="700">
                  <c:v>2.2664900444011098E-30</c:v>
                </c:pt>
                <c:pt idx="701">
                  <c:v>1.8400229687528754E-30</c:v>
                </c:pt>
                <c:pt idx="702">
                  <c:v>1.4937753739121436E-30</c:v>
                </c:pt>
                <c:pt idx="703">
                  <c:v>1.2126628275058706E-30</c:v>
                </c:pt>
                <c:pt idx="704">
                  <c:v>9.8443636340662562E-31</c:v>
                </c:pt>
                <c:pt idx="705">
                  <c:v>7.9914969000037916E-31</c:v>
                </c:pt>
                <c:pt idx="706">
                  <c:v>6.4872647198023837E-31</c:v>
                </c:pt>
                <c:pt idx="707">
                  <c:v>5.2660889659660963E-31</c:v>
                </c:pt>
                <c:pt idx="708">
                  <c:v>4.2747226177114199E-31</c:v>
                </c:pt>
                <c:pt idx="709">
                  <c:v>3.4699318795843263E-31</c:v>
                </c:pt>
                <c:pt idx="710">
                  <c:v>2.816613830493727E-31</c:v>
                </c:pt>
                <c:pt idx="711">
                  <c:v>2.2862677971477019E-31</c:v>
                </c:pt>
                <c:pt idx="712">
                  <c:v>1.8557540090269215E-31</c:v>
                </c:pt>
                <c:pt idx="713">
                  <c:v>1.5062855652186485E-31</c:v>
                </c:pt>
                <c:pt idx="714">
                  <c:v>1.2226098784688637E-31</c:v>
                </c:pt>
                <c:pt idx="715">
                  <c:v>9.9234399446869009E-32</c:v>
                </c:pt>
                <c:pt idx="716">
                  <c:v>8.0543487137019945E-32</c:v>
                </c:pt>
                <c:pt idx="717">
                  <c:v>6.5372113488686963E-32</c:v>
                </c:pt>
                <c:pt idx="718">
                  <c:v>5.3057723772517526E-32</c:v>
                </c:pt>
                <c:pt idx="719">
                  <c:v>4.3062453344439225E-32</c:v>
                </c:pt>
                <c:pt idx="720">
                  <c:v>3.4949668669474081E-32</c:v>
                </c:pt>
                <c:pt idx="721">
                  <c:v>2.8364920440807961E-32</c:v>
                </c:pt>
                <c:pt idx="722">
                  <c:v>2.3020479273149147E-32</c:v>
                </c:pt>
                <c:pt idx="723">
                  <c:v>1.8682780343793753E-32</c:v>
                </c:pt>
                <c:pt idx="724">
                  <c:v>1.516222996836737E-32</c:v>
                </c:pt>
                <c:pt idx="725">
                  <c:v>1.2304929923158982E-32</c:v>
                </c:pt>
                <c:pt idx="726">
                  <c:v>9.9859588379132627E-33</c:v>
                </c:pt>
                <c:pt idx="727">
                  <c:v>8.1039177897607432E-33</c:v>
                </c:pt>
                <c:pt idx="728">
                  <c:v>6.5765022936926934E-33</c:v>
                </c:pt>
                <c:pt idx="729">
                  <c:v>5.3369076054067196E-33</c:v>
                </c:pt>
                <c:pt idx="730">
                  <c:v>4.3309105656104305E-33</c:v>
                </c:pt>
                <c:pt idx="731">
                  <c:v>3.514500690846114E-33</c:v>
                </c:pt>
                <c:pt idx="732">
                  <c:v>2.8519571685941937E-33</c:v>
                </c:pt>
                <c:pt idx="733">
                  <c:v>2.3142878455831219E-33</c:v>
                </c:pt>
                <c:pt idx="734">
                  <c:v>1.8779620870963266E-33</c:v>
                </c:pt>
                <c:pt idx="735">
                  <c:v>1.5238821996548904E-33</c:v>
                </c:pt>
                <c:pt idx="736">
                  <c:v>1.2365485162471633E-33</c:v>
                </c:pt>
                <c:pt idx="737">
                  <c:v>1.0033816909428084E-33</c:v>
                </c:pt>
                <c:pt idx="738">
                  <c:v>8.141726091034234E-34</c:v>
                </c:pt>
                <c:pt idx="739">
                  <c:v>6.6063588968256183E-34</c:v>
                </c:pt>
                <c:pt idx="740">
                  <c:v>5.3604747625662851E-34</c:v>
                </c:pt>
                <c:pt idx="741">
                  <c:v>4.3495048462459428E-34</c:v>
                </c:pt>
                <c:pt idx="742">
                  <c:v>3.5291645477545451E-34</c:v>
                </c:pt>
                <c:pt idx="743">
                  <c:v>2.8635157459840741E-34</c:v>
                </c:pt>
                <c:pt idx="744">
                  <c:v>2.323394060886658E-34</c:v>
                </c:pt>
                <c:pt idx="745">
                  <c:v>1.8851324005011717E-34</c:v>
                </c:pt>
                <c:pt idx="746">
                  <c:v>1.5295249860211327E-34</c:v>
                </c:pt>
                <c:pt idx="747">
                  <c:v>1.2409865646999917E-34</c:v>
                </c:pt>
                <c:pt idx="748">
                  <c:v>1.0068700420755452E-34</c:v>
                </c:pt>
                <c:pt idx="749">
                  <c:v>8.1691269260752981E-35</c:v>
                </c:pt>
                <c:pt idx="750">
                  <c:v>6.6278672649854358E-35</c:v>
                </c:pt>
                <c:pt idx="751">
                  <c:v>5.3773455160826729E-35</c:v>
                </c:pt>
                <c:pt idx="752">
                  <c:v>4.3627277480345383E-35</c:v>
                </c:pt>
                <c:pt idx="753">
                  <c:v>3.5395198945823441E-35</c:v>
                </c:pt>
                <c:pt idx="754">
                  <c:v>2.8716183881096545E-35</c:v>
                </c:pt>
                <c:pt idx="755">
                  <c:v>2.3297282260327644E-35</c:v>
                </c:pt>
                <c:pt idx="756">
                  <c:v>1.8900792320289942E-35</c:v>
                </c:pt>
                <c:pt idx="757">
                  <c:v>1.5333843137822676E-35</c:v>
                </c:pt>
                <c:pt idx="758">
                  <c:v>1.243994108147728E-35</c:v>
                </c:pt>
                <c:pt idx="759">
                  <c:v>1.0092109991698776E-35</c:v>
                </c:pt>
                <c:pt idx="760">
                  <c:v>8.1873246957161025E-36</c:v>
                </c:pt>
                <c:pt idx="761">
                  <c:v>6.6419940543874343E-36</c:v>
                </c:pt>
                <c:pt idx="762">
                  <c:v>5.3882957121913497E-36</c:v>
                </c:pt>
                <c:pt idx="763">
                  <c:v>4.3712019726456963E-36</c:v>
                </c:pt>
                <c:pt idx="764">
                  <c:v>3.5460665195364102E-36</c:v>
                </c:pt>
                <c:pt idx="765">
                  <c:v>2.8766662330634717E-36</c:v>
                </c:pt>
                <c:pt idx="766">
                  <c:v>2.3336123009556396E-36</c:v>
                </c:pt>
                <c:pt idx="767">
                  <c:v>1.8930609930522417E-36</c:v>
                </c:pt>
                <c:pt idx="768">
                  <c:v>1.5356675893531493E-36</c:v>
                </c:pt>
                <c:pt idx="769">
                  <c:v>1.2457376157661721E-36</c:v>
                </c:pt>
                <c:pt idx="770">
                  <c:v>1.0105381745151169E-36</c:v>
                </c:pt>
                <c:pt idx="771">
                  <c:v>8.1973918036812824E-37</c:v>
                </c:pt>
                <c:pt idx="772">
                  <c:v>6.6496000057884745E-37</c:v>
                </c:pt>
                <c:pt idx="773">
                  <c:v>5.3940162026011974E-37</c:v>
                </c:pt>
                <c:pt idx="774">
                  <c:v>4.3754820168108678E-37</c:v>
                </c:pt>
                <c:pt idx="775">
                  <c:v>3.5492494774220445E-37</c:v>
                </c:pt>
                <c:pt idx="776">
                  <c:v>2.8790164937316093E-37</c:v>
                </c:pt>
                <c:pt idx="777">
                  <c:v>2.3353329955512328E-37</c:v>
                </c:pt>
                <c:pt idx="778">
                  <c:v>1.8943078049055393E-37</c:v>
                </c:pt>
                <c:pt idx="779">
                  <c:v>1.5365595142703804E-37</c:v>
                </c:pt>
                <c:pt idx="780">
                  <c:v>1.2463653338328905E-37</c:v>
                </c:pt>
                <c:pt idx="781">
                  <c:v>1.010970554520436E-37</c:v>
                </c:pt>
                <c:pt idx="782">
                  <c:v>8.2002832663004963E-38</c:v>
                </c:pt>
                <c:pt idx="783">
                  <c:v>6.6514516380338186E-38</c:v>
                </c:pt>
                <c:pt idx="784">
                  <c:v>5.3951222154673211E-38</c:v>
                </c:pt>
                <c:pt idx="785">
                  <c:v>4.3760616775959328E-38</c:v>
                </c:pt>
                <c:pt idx="786">
                  <c:v>3.5494650993442829E-38</c:v>
                </c:pt>
                <c:pt idx="787">
                  <c:v>2.8789872738581158E-38</c:v>
                </c:pt>
                <c:pt idx="788">
                  <c:v>2.3351456247663905E-38</c:v>
                </c:pt>
                <c:pt idx="789">
                  <c:v>1.894024587216554E-38</c:v>
                </c:pt>
                <c:pt idx="790">
                  <c:v>1.5362245606584446E-38</c:v>
                </c:pt>
                <c:pt idx="791">
                  <c:v>1.2460092697516257E-38</c:v>
                </c:pt>
                <c:pt idx="792">
                  <c:v>1.010614089456097E-38</c:v>
                </c:pt>
                <c:pt idx="793">
                  <c:v>8.1968494492798455E-39</c:v>
                </c:pt>
                <c:pt idx="794">
                  <c:v>6.6482314592060153E-39</c:v>
                </c:pt>
                <c:pt idx="795">
                  <c:v>5.3921615335051183E-39</c:v>
                </c:pt>
                <c:pt idx="796">
                  <c:v>4.3733806026917458E-39</c:v>
                </c:pt>
                <c:pt idx="797">
                  <c:v>3.5470662462282852E-39</c:v>
                </c:pt>
                <c:pt idx="798">
                  <c:v>2.8768617776020369E-39</c:v>
                </c:pt>
                <c:pt idx="799">
                  <c:v>2.3332774864549942E-39</c:v>
                </c:pt>
                <c:pt idx="800">
                  <c:v>1.8923937677066237E-39</c:v>
                </c:pt>
              </c:numCache>
            </c:numRef>
          </c:yVal>
          <c:smooth val="0"/>
          <c:extLst>
            <c:ext xmlns:c16="http://schemas.microsoft.com/office/drawing/2014/chart" uri="{C3380CC4-5D6E-409C-BE32-E72D297353CC}">
              <c16:uniqueId val="{00000002-1D62-4DE3-8E9D-34C68BC76380}"/>
            </c:ext>
          </c:extLst>
        </c:ser>
        <c:ser>
          <c:idx val="3"/>
          <c:order val="3"/>
          <c:tx>
            <c:strRef>
              <c:f>Calc!$G$6</c:f>
              <c:strCache>
                <c:ptCount val="1"/>
                <c:pt idx="0">
                  <c:v>4</c:v>
                </c:pt>
              </c:strCache>
            </c:strRef>
          </c:tx>
          <c:spPr>
            <a:ln w="28575">
              <a:noFill/>
            </a:ln>
          </c:spPr>
          <c:marker>
            <c:symbol val="x"/>
            <c:size val="3"/>
            <c:spPr>
              <a:noFill/>
              <a:ln>
                <a:solidFill>
                  <a:srgbClr val="00FF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G$7:$G$807</c:f>
              <c:numCache>
                <c:formatCode>000,000,000</c:formatCode>
                <c:ptCount val="801"/>
                <c:pt idx="0">
                  <c:v>3.9321768141485119E-15</c:v>
                </c:pt>
                <c:pt idx="1">
                  <c:v>4.2809183333143151E-15</c:v>
                </c:pt>
                <c:pt idx="2">
                  <c:v>4.6605627283152807E-15</c:v>
                </c:pt>
                <c:pt idx="3">
                  <c:v>5.0738456422468677E-15</c:v>
                </c:pt>
                <c:pt idx="4">
                  <c:v>5.5237446067317351E-15</c:v>
                </c:pt>
                <c:pt idx="5">
                  <c:v>6.0135004010434156E-15</c:v>
                </c:pt>
                <c:pt idx="6">
                  <c:v>6.546640294292642E-15</c:v>
                </c:pt>
                <c:pt idx="7">
                  <c:v>7.1270033363857109E-15</c:v>
                </c:pt>
                <c:pt idx="8">
                  <c:v>7.7587678780106972E-15</c:v>
                </c:pt>
                <c:pt idx="9">
                  <c:v>8.4464815157347684E-15</c:v>
                </c:pt>
                <c:pt idx="10">
                  <c:v>9.1950936755041628E-15</c:v>
                </c:pt>
                <c:pt idx="11">
                  <c:v>1.0009991066556264E-14</c:v>
                </c:pt>
                <c:pt idx="12">
                  <c:v>1.0897036258106839E-14</c:v>
                </c:pt>
                <c:pt idx="13">
                  <c:v>1.1862609653312154E-14</c:v>
                </c:pt>
                <c:pt idx="14">
                  <c:v>1.291365515907546E-14</c:v>
                </c:pt>
                <c:pt idx="15">
                  <c:v>1.4057729876448146E-14</c:v>
                </c:pt>
                <c:pt idx="16">
                  <c:v>1.5303058164833465E-14</c:v>
                </c:pt>
                <c:pt idx="17">
                  <c:v>1.6658590464163273E-14</c:v>
                </c:pt>
                <c:pt idx="18">
                  <c:v>1.8134067292867508E-14</c:v>
                </c:pt>
                <c:pt idx="19">
                  <c:v>1.9740088876056266E-14</c:v>
                </c:pt>
                <c:pt idx="20">
                  <c:v>2.1488190898129153E-14</c:v>
                </c:pt>
                <c:pt idx="21">
                  <c:v>2.3390926917291341E-14</c:v>
                </c:pt>
                <c:pt idx="22">
                  <c:v>2.5461958026498911E-14</c:v>
                </c:pt>
                <c:pt idx="23">
                  <c:v>2.7716150396503617E-14</c:v>
                </c:pt>
                <c:pt idx="24">
                  <c:v>3.0169681392276414E-14</c:v>
                </c:pt>
                <c:pt idx="25">
                  <c:v>3.2840155014545307E-14</c:v>
                </c:pt>
                <c:pt idx="26">
                  <c:v>3.5746727483906611E-14</c:v>
                </c:pt>
                <c:pt idx="27">
                  <c:v>3.8910243856430876E-14</c:v>
                </c:pt>
                <c:pt idx="28">
                  <c:v>4.2353386637351257E-14</c:v>
                </c:pt>
                <c:pt idx="29">
                  <c:v>4.610083744387411E-14</c:v>
                </c:pt>
                <c:pt idx="30">
                  <c:v>5.0179452859937946E-14</c:v>
                </c:pt>
                <c:pt idx="31">
                  <c:v>5.461845572553163E-14</c:v>
                </c:pt>
                <c:pt idx="32">
                  <c:v>5.9449643211638869E-14</c:v>
                </c:pt>
                <c:pt idx="33">
                  <c:v>6.4707613149773223E-14</c:v>
                </c:pt>
                <c:pt idx="34">
                  <c:v>7.043001021320191E-14</c:v>
                </c:pt>
                <c:pt idx="35">
                  <c:v>7.6657793686235464E-14</c:v>
                </c:pt>
                <c:pt idx="36">
                  <c:v>8.3435528709337017E-14</c:v>
                </c:pt>
                <c:pt idx="37">
                  <c:v>9.0811703052303519E-14</c:v>
                </c:pt>
                <c:pt idx="38">
                  <c:v>9.8839071646600098E-14</c:v>
                </c:pt>
                <c:pt idx="39">
                  <c:v>1.075750313021988E-13</c:v>
                </c:pt>
                <c:pt idx="40">
                  <c:v>1.1708202824546146E-13</c:v>
                </c:pt>
                <c:pt idx="41">
                  <c:v>1.2742800134407732E-13</c:v>
                </c:pt>
                <c:pt idx="42">
                  <c:v>1.3868686413438352E-13</c:v>
                </c:pt>
                <c:pt idx="43">
                  <c:v>1.5093902903739284E-13</c:v>
                </c:pt>
                <c:pt idx="44">
                  <c:v>1.6427197744424815E-13</c:v>
                </c:pt>
                <c:pt idx="45">
                  <c:v>1.7878087967169373E-13</c:v>
                </c:pt>
                <c:pt idx="46">
                  <c:v>1.9456926913577303E-13</c:v>
                </c:pt>
                <c:pt idx="47">
                  <c:v>2.1174977546953085E-13</c:v>
                </c:pt>
                <c:pt idx="48">
                  <c:v>2.3044492172079614E-13</c:v>
                </c:pt>
                <c:pt idx="49">
                  <c:v>2.5078799121181743E-13</c:v>
                </c:pt>
                <c:pt idx="50">
                  <c:v>2.7292397012670206E-13</c:v>
                </c:pt>
                <c:pt idx="51">
                  <c:v>2.9701057241861563E-13</c:v>
                </c:pt>
                <c:pt idx="52">
                  <c:v>3.2321935420003409E-13</c:v>
                </c:pt>
                <c:pt idx="53">
                  <c:v>3.5173692539998031E-13</c:v>
                </c:pt>
                <c:pt idx="54">
                  <c:v>3.8276626714631365E-13</c:v>
                </c:pt>
                <c:pt idx="55">
                  <c:v>4.1652816406323711E-13</c:v>
                </c:pt>
                <c:pt idx="56">
                  <c:v>4.5326276146951113E-13</c:v>
                </c:pt>
                <c:pt idx="57">
                  <c:v>4.932312583264234E-13</c:v>
                </c:pt>
                <c:pt idx="58">
                  <c:v>5.3671774772248518E-13</c:v>
                </c:pt>
                <c:pt idx="59">
                  <c:v>5.8403121770047894E-13</c:v>
                </c:pt>
                <c:pt idx="60">
                  <c:v>6.3550772633826058E-13</c:v>
                </c:pt>
                <c:pt idx="61">
                  <c:v>6.9151276619597468E-13</c:v>
                </c:pt>
                <c:pt idx="62">
                  <c:v>7.5244383454627744E-13</c:v>
                </c:pt>
                <c:pt idx="63">
                  <c:v>8.1873322721997155E-13</c:v>
                </c:pt>
                <c:pt idx="64">
                  <c:v>8.9085107543680761E-13</c:v>
                </c:pt>
                <c:pt idx="65">
                  <c:v>9.6930864666002287E-13</c:v>
                </c:pt>
                <c:pt idx="66">
                  <c:v>1.0546619323249493E-12</c:v>
                </c:pt>
                <c:pt idx="67">
                  <c:v>1.1475155472587727E-12</c:v>
                </c:pt>
                <c:pt idx="68">
                  <c:v>1.2485269677433804E-12</c:v>
                </c:pt>
                <c:pt idx="69">
                  <c:v>1.3584111374904966E-12</c:v>
                </c:pt>
                <c:pt idx="70">
                  <c:v>1.4779454733134488E-12</c:v>
                </c:pt>
                <c:pt idx="71">
                  <c:v>1.6079753050094554E-12</c:v>
                </c:pt>
                <c:pt idx="72">
                  <c:v>1.7494197869289969E-12</c:v>
                </c:pt>
                <c:pt idx="73">
                  <c:v>1.9032783219232373E-12</c:v>
                </c:pt>
                <c:pt idx="74">
                  <c:v>2.0706375418494848E-12</c:v>
                </c:pt>
                <c:pt idx="75">
                  <c:v>2.2526788925994419E-12</c:v>
                </c:pt>
                <c:pt idx="76">
                  <c:v>2.4506868757224208E-12</c:v>
                </c:pt>
                <c:pt idx="77">
                  <c:v>2.6660580031715576E-12</c:v>
                </c:pt>
                <c:pt idx="78">
                  <c:v>2.9003105265351132E-12</c:v>
                </c:pt>
                <c:pt idx="79">
                  <c:v>3.1550950073592055E-12</c:v>
                </c:pt>
                <c:pt idx="80">
                  <c:v>3.4322058008571497E-12</c:v>
                </c:pt>
                <c:pt idx="81">
                  <c:v>3.7335935314699326E-12</c:v>
                </c:pt>
                <c:pt idx="82">
                  <c:v>4.0613786454358769E-12</c:v>
                </c:pt>
                <c:pt idx="83">
                  <c:v>4.4178661327845857E-12</c:v>
                </c:pt>
                <c:pt idx="84">
                  <c:v>4.8055615190410418E-12</c:v>
                </c:pt>
                <c:pt idx="85">
                  <c:v>5.2271882354618498E-12</c:v>
                </c:pt>
                <c:pt idx="86">
                  <c:v>5.6857064858791238E-12</c:v>
                </c:pt>
                <c:pt idx="87">
                  <c:v>6.1843337382616794E-12</c:v>
                </c:pt>
                <c:pt idx="88">
                  <c:v>6.7265669799829137E-12</c:v>
                </c:pt>
                <c:pt idx="89">
                  <c:v>7.3162068875754627E-12</c:v>
                </c:pt>
                <c:pt idx="90">
                  <c:v>7.9573840745376663E-12</c:v>
                </c:pt>
                <c:pt idx="91">
                  <c:v>8.6545875946122116E-12</c:v>
                </c:pt>
                <c:pt idx="92">
                  <c:v>9.4126958929739668E-12</c:v>
                </c:pt>
                <c:pt idx="93">
                  <c:v>1.0237010414037783E-11</c:v>
                </c:pt>
                <c:pt idx="94">
                  <c:v>1.1133292092234666E-11</c:v>
                </c:pt>
                <c:pt idx="95">
                  <c:v>1.2107800971209477E-11</c:v>
                </c:pt>
                <c:pt idx="96">
                  <c:v>1.3167339217600565E-11</c:v>
                </c:pt>
                <c:pt idx="97">
                  <c:v>1.4319297817987961E-11</c:v>
                </c:pt>
                <c:pt idx="98">
                  <c:v>1.5571707271893699E-11</c:v>
                </c:pt>
                <c:pt idx="99">
                  <c:v>1.6933292620035136E-11</c:v>
                </c:pt>
                <c:pt idx="100">
                  <c:v>1.8413533175533576E-11</c:v>
                </c:pt>
                <c:pt idx="101">
                  <c:v>2.0022727356649196E-11</c:v>
                </c:pt>
                <c:pt idx="102">
                  <c:v>2.1772063053034984E-11</c:v>
                </c:pt>
                <c:pt idx="103">
                  <c:v>2.3673693993694261E-11</c:v>
                </c:pt>
                <c:pt idx="104">
                  <c:v>2.5740822624007324E-11</c:v>
                </c:pt>
                <c:pt idx="105">
                  <c:v>2.7987790041602444E-11</c:v>
                </c:pt>
                <c:pt idx="106">
                  <c:v>3.043017358676203E-11</c:v>
                </c:pt>
                <c:pt idx="107">
                  <c:v>3.3084892732733295E-11</c:v>
                </c:pt>
                <c:pt idx="108">
                  <c:v>3.5970323975091814E-11</c:v>
                </c:pt>
                <c:pt idx="109">
                  <c:v>3.910642547747877E-11</c:v>
                </c:pt>
                <c:pt idx="110">
                  <c:v>4.2514872293988615E-11</c:v>
                </c:pt>
                <c:pt idx="111">
                  <c:v>4.6219203056579466E-11</c:v>
                </c:pt>
                <c:pt idx="112">
                  <c:v>5.0244979089533433E-11</c:v>
                </c:pt>
                <c:pt idx="113">
                  <c:v>5.4619956992671938E-11</c:v>
                </c:pt>
                <c:pt idx="114">
                  <c:v>5.9374275821166341E-11</c:v>
                </c:pt>
                <c:pt idx="115">
                  <c:v>6.4540660082954309E-11</c:v>
                </c:pt>
                <c:pt idx="116">
                  <c:v>7.0154639875471282E-11</c:v>
                </c:pt>
                <c:pt idx="117">
                  <c:v>7.6254789592275045E-11</c:v>
                </c:pt>
                <c:pt idx="118">
                  <c:v>8.2882986747817034E-11</c:v>
                </c:pt>
                <c:pt idx="119">
                  <c:v>9.0084692595759396E-11</c:v>
                </c:pt>
                <c:pt idx="120">
                  <c:v>9.7909256353667389E-11</c:v>
                </c:pt>
                <c:pt idx="121">
                  <c:v>1.0641024499532119E-10</c:v>
                </c:pt>
                <c:pt idx="122">
                  <c:v>1.1564580073227357E-10</c:v>
                </c:pt>
                <c:pt idx="123">
                  <c:v>1.2567902847946773E-10</c:v>
                </c:pt>
                <c:pt idx="124">
                  <c:v>1.3657841578675317E-10</c:v>
                </c:pt>
                <c:pt idx="125">
                  <c:v>1.4841828792007495E-10</c:v>
                </c:pt>
                <c:pt idx="126">
                  <c:v>1.6127930099413719E-10</c:v>
                </c:pt>
                <c:pt idx="127">
                  <c:v>1.752489762936162E-10</c:v>
                </c:pt>
                <c:pt idx="128">
                  <c:v>1.9042227917395666E-10</c:v>
                </c:pt>
                <c:pt idx="129">
                  <c:v>2.0690224620675077E-10</c:v>
                </c:pt>
                <c:pt idx="130">
                  <c:v>2.2480066453034045E-10</c:v>
                </c:pt>
                <c:pt idx="131">
                  <c:v>2.4423880768502044E-10</c:v>
                </c:pt>
                <c:pt idx="132">
                  <c:v>2.6534823255611351E-10</c:v>
                </c:pt>
                <c:pt idx="133">
                  <c:v>2.882716424188389E-10</c:v>
                </c:pt>
                <c:pt idx="134">
                  <c:v>3.1316382147852769E-10</c:v>
                </c:pt>
                <c:pt idx="135">
                  <c:v>3.4019264673039658E-10</c:v>
                </c:pt>
                <c:pt idx="136">
                  <c:v>3.6954018342722913E-10</c:v>
                </c:pt>
                <c:pt idx="137">
                  <c:v>4.014038709432095E-10</c:v>
                </c:pt>
                <c:pt idx="138">
                  <c:v>4.3599780636071034E-10</c:v>
                </c:pt>
                <c:pt idx="139">
                  <c:v>4.7355413368670943E-10</c:v>
                </c:pt>
                <c:pt idx="140">
                  <c:v>5.1432454722983318E-10</c:v>
                </c:pt>
                <c:pt idx="141">
                  <c:v>5.5858191834096305E-10</c:v>
                </c:pt>
                <c:pt idx="142">
                  <c:v>6.0662205544351302E-10</c:v>
                </c:pt>
                <c:pt idx="143">
                  <c:v>6.5876560805740653E-10</c:v>
                </c:pt>
                <c:pt idx="144">
                  <c:v>7.1536012635747198E-10</c:v>
                </c:pt>
                <c:pt idx="145">
                  <c:v>7.7678228870678557E-10</c:v>
                </c:pt>
                <c:pt idx="146">
                  <c:v>8.4344031057260489E-10</c:v>
                </c:pt>
                <c:pt idx="147">
                  <c:v>9.1577654927203138E-10</c:v>
                </c:pt>
                <c:pt idx="148">
                  <c:v>9.9427032011132848E-10</c:v>
                </c:pt>
                <c:pt idx="149">
                  <c:v>1.0794409406823485E-9</c:v>
                </c:pt>
                <c:pt idx="150">
                  <c:v>1.17185102136756E-9</c:v>
                </c:pt>
                <c:pt idx="151">
                  <c:v>1.2721100214878278E-9</c:v>
                </c:pt>
                <c:pt idx="152">
                  <c:v>1.3808780920108464E-9</c:v>
                </c:pt>
                <c:pt idx="153">
                  <c:v>1.4988702273298016E-9</c:v>
                </c:pt>
                <c:pt idx="154">
                  <c:v>1.6268607503287943E-9</c:v>
                </c:pt>
                <c:pt idx="155">
                  <c:v>1.7656881567816729E-9</c:v>
                </c:pt>
                <c:pt idx="156">
                  <c:v>1.9162603470918582E-9</c:v>
                </c:pt>
                <c:pt idx="157">
                  <c:v>2.0795602754817255E-9</c:v>
                </c:pt>
                <c:pt idx="158">
                  <c:v>2.2566520489901174E-9</c:v>
                </c:pt>
                <c:pt idx="159">
                  <c:v>2.4486875110449053E-9</c:v>
                </c:pt>
                <c:pt idx="160">
                  <c:v>2.6569133469545145E-9</c:v>
                </c:pt>
                <c:pt idx="161">
                  <c:v>2.8826787514192432E-9</c:v>
                </c:pt>
                <c:pt idx="162">
                  <c:v>3.1274437011102911E-9</c:v>
                </c:pt>
                <c:pt idx="163">
                  <c:v>3.3927878785141101E-9</c:v>
                </c:pt>
                <c:pt idx="164">
                  <c:v>3.6804202966044431E-9</c:v>
                </c:pt>
                <c:pt idx="165">
                  <c:v>3.9921896774970638E-9</c:v>
                </c:pt>
                <c:pt idx="166">
                  <c:v>4.3300956420760428E-9</c:v>
                </c:pt>
                <c:pt idx="167">
                  <c:v>4.6963007716703001E-9</c:v>
                </c:pt>
                <c:pt idx="168">
                  <c:v>5.0931436072197018E-9</c:v>
                </c:pt>
                <c:pt idx="169">
                  <c:v>5.5231526560152019E-9</c:v>
                </c:pt>
                <c:pt idx="170">
                  <c:v>5.9890614810475605E-9</c:v>
                </c:pt>
                <c:pt idx="171">
                  <c:v>6.4938249532639155E-9</c:v>
                </c:pt>
                <c:pt idx="172">
                  <c:v>7.0406367526358962E-9</c:v>
                </c:pt>
                <c:pt idx="173">
                  <c:v>7.6329482098976028E-9</c:v>
                </c:pt>
                <c:pt idx="174">
                  <c:v>8.2744885871417475E-9</c:v>
                </c:pt>
                <c:pt idx="175">
                  <c:v>8.9692869021787768E-9</c:v>
                </c:pt>
                <c:pt idx="176">
                  <c:v>9.7216954086941147E-9</c:v>
                </c:pt>
                <c:pt idx="177">
                  <c:v>1.0536414851795781E-8</c:v>
                </c:pt>
                <c:pt idx="178">
                  <c:v>1.1418521626551972E-8</c:v>
                </c:pt>
                <c:pt idx="179">
                  <c:v>1.23734969755943E-8</c:v>
                </c:pt>
                <c:pt idx="180">
                  <c:v>1.3407258370830646E-8</c:v>
                </c:pt>
                <c:pt idx="181">
                  <c:v>1.4526193233784932E-8</c:v>
                </c:pt>
                <c:pt idx="182">
                  <c:v>1.5737195159089083E-8</c:v>
                </c:pt>
                <c:pt idx="183">
                  <c:v>1.7047702816208627E-8</c:v>
                </c:pt>
                <c:pt idx="184">
                  <c:v>1.846574171560691E-8</c:v>
                </c:pt>
                <c:pt idx="185">
                  <c:v>1.9999969037266628E-8</c:v>
                </c:pt>
                <c:pt idx="186">
                  <c:v>2.1659721731808373E-8</c:v>
                </c:pt>
                <c:pt idx="187">
                  <c:v>2.345506811738029E-8</c:v>
                </c:pt>
                <c:pt idx="188">
                  <c:v>2.5396863209080618E-8</c:v>
                </c:pt>
                <c:pt idx="189">
                  <c:v>2.7496808031895948E-8</c:v>
                </c:pt>
                <c:pt idx="190">
                  <c:v>2.9767513183034353E-8</c:v>
                </c:pt>
                <c:pt idx="191">
                  <c:v>3.2222566925094925E-8</c:v>
                </c:pt>
                <c:pt idx="192">
                  <c:v>3.4876608107753903E-8</c:v>
                </c:pt>
                <c:pt idx="193">
                  <c:v>3.7745404232566231E-8</c:v>
                </c:pt>
                <c:pt idx="194">
                  <c:v>4.0845934993081689E-8</c:v>
                </c:pt>
                <c:pt idx="195">
                  <c:v>4.4196481640734406E-8</c:v>
                </c:pt>
                <c:pt idx="196">
                  <c:v>4.7816722545905304E-8</c:v>
                </c:pt>
                <c:pt idx="197">
                  <c:v>5.1727835343110583E-8</c:v>
                </c:pt>
                <c:pt idx="198">
                  <c:v>5.5952606069470557E-8</c:v>
                </c:pt>
                <c:pt idx="199">
                  <c:v>6.0515545726376996E-8</c:v>
                </c:pt>
                <c:pt idx="200">
                  <c:v>6.5443014715602243E-8</c:v>
                </c:pt>
                <c:pt idx="201">
                  <c:v>7.0763355622895113E-8</c:v>
                </c:pt>
                <c:pt idx="202">
                  <c:v>7.6507034844374947E-8</c:v>
                </c:pt>
                <c:pt idx="203">
                  <c:v>8.270679357361462E-8</c:v>
                </c:pt>
                <c:pt idx="204">
                  <c:v>8.9397808690217446E-8</c:v>
                </c:pt>
                <c:pt idx="205">
                  <c:v>9.6617864113721884E-8</c:v>
                </c:pt>
                <c:pt idx="206">
                  <c:v>1.0440753320980954E-7</c:v>
                </c:pt>
                <c:pt idx="207">
                  <c:v>1.1281037285880942E-7</c:v>
                </c:pt>
                <c:pt idx="208">
                  <c:v>1.2187312981932087E-7</c:v>
                </c:pt>
                <c:pt idx="209">
                  <c:v>1.316459600421824E-7</c:v>
                </c:pt>
                <c:pt idx="210">
                  <c:v>1.4218266161181006E-7</c:v>
                </c:pt>
                <c:pt idx="211">
                  <c:v>1.5354092201295923E-7</c:v>
                </c:pt>
                <c:pt idx="212">
                  <c:v>1.6578258044082766E-7</c:v>
                </c:pt>
                <c:pt idx="213">
                  <c:v>1.789739058910591E-7</c:v>
                </c:pt>
                <c:pt idx="214">
                  <c:v>1.9318589178308643E-7</c:v>
                </c:pt>
                <c:pt idx="215">
                  <c:v>2.0849456788521148E-7</c:v>
                </c:pt>
                <c:pt idx="216">
                  <c:v>2.2498133032237656E-7</c:v>
                </c:pt>
                <c:pt idx="217">
                  <c:v>2.4273329045738008E-7</c:v>
                </c:pt>
                <c:pt idx="218">
                  <c:v>2.6184364344279214E-7</c:v>
                </c:pt>
                <c:pt idx="219">
                  <c:v>2.8241205724371387E-7</c:v>
                </c:pt>
                <c:pt idx="220">
                  <c:v>3.0454508292997591E-7</c:v>
                </c:pt>
                <c:pt idx="221">
                  <c:v>3.2835658703012877E-7</c:v>
                </c:pt>
                <c:pt idx="222">
                  <c:v>3.5396820672766185E-7</c:v>
                </c:pt>
                <c:pt idx="223">
                  <c:v>3.815098286619636E-7</c:v>
                </c:pt>
                <c:pt idx="224">
                  <c:v>4.1112009207149239E-7</c:v>
                </c:pt>
                <c:pt idx="225">
                  <c:v>4.4294691698398856E-7</c:v>
                </c:pt>
                <c:pt idx="226">
                  <c:v>4.771480581172553E-7</c:v>
                </c:pt>
                <c:pt idx="227">
                  <c:v>5.1389168510326113E-7</c:v>
                </c:pt>
                <c:pt idx="228">
                  <c:v>5.5335698958704551E-7</c:v>
                </c:pt>
                <c:pt idx="229">
                  <c:v>5.9573481967912535E-7</c:v>
                </c:pt>
                <c:pt idx="230">
                  <c:v>6.4122834215478511E-7</c:v>
                </c:pt>
                <c:pt idx="231">
                  <c:v>6.9005373269445643E-7</c:v>
                </c:pt>
                <c:pt idx="232">
                  <c:v>7.4244089434537671E-7</c:v>
                </c:pt>
                <c:pt idx="233">
                  <c:v>7.9863420425442154E-7</c:v>
                </c:pt>
                <c:pt idx="234">
                  <c:v>8.588932885742723E-7</c:v>
                </c:pt>
                <c:pt idx="235">
                  <c:v>9.2349382527838698E-7</c:v>
                </c:pt>
                <c:pt idx="236">
                  <c:v>9.9272837443334846E-7</c:v>
                </c:pt>
                <c:pt idx="237">
                  <c:v>1.0669072352686414E-6</c:v>
                </c:pt>
                <c:pt idx="238">
                  <c:v>1.1463593291521211E-6</c:v>
                </c:pt>
                <c:pt idx="239">
                  <c:v>1.2314331073231821E-6</c:v>
                </c:pt>
                <c:pt idx="240">
                  <c:v>1.3224974819533626E-6</c:v>
                </c:pt>
                <c:pt idx="241">
                  <c:v>1.4199427787940761E-6</c:v>
                </c:pt>
                <c:pt idx="242">
                  <c:v>1.5241817093327346E-6</c:v>
                </c:pt>
                <c:pt idx="243">
                  <c:v>1.6356503600091666E-6</c:v>
                </c:pt>
                <c:pt idx="244">
                  <c:v>1.7548091956439768E-6</c:v>
                </c:pt>
                <c:pt idx="245">
                  <c:v>1.8821440737968476E-6</c:v>
                </c:pt>
                <c:pt idx="246">
                  <c:v>2.0181672663058781E-6</c:v>
                </c:pt>
                <c:pt idx="247">
                  <c:v>2.1634184837568791E-6</c:v>
                </c:pt>
                <c:pt idx="248">
                  <c:v>2.3184658980941982E-6</c:v>
                </c:pt>
                <c:pt idx="249">
                  <c:v>2.483907158011263E-6</c:v>
                </c:pt>
                <c:pt idx="250">
                  <c:v>2.6603703911490658E-6</c:v>
                </c:pt>
                <c:pt idx="251">
                  <c:v>2.8485151864853666E-6</c:v>
                </c:pt>
                <c:pt idx="252">
                  <c:v>3.0490335496150124E-6</c:v>
                </c:pt>
                <c:pt idx="253">
                  <c:v>3.262650822905708E-6</c:v>
                </c:pt>
                <c:pt idx="254">
                  <c:v>3.4901265617628975E-6</c:v>
                </c:pt>
                <c:pt idx="255">
                  <c:v>3.7322553574549253E-6</c:v>
                </c:pt>
                <c:pt idx="256">
                  <c:v>3.9898675961380667E-6</c:v>
                </c:pt>
                <c:pt idx="257">
                  <c:v>4.2638301428821814E-6</c:v>
                </c:pt>
                <c:pt idx="258">
                  <c:v>4.5550469386364303E-6</c:v>
                </c:pt>
                <c:pt idx="259">
                  <c:v>4.864459497194669E-6</c:v>
                </c:pt>
                <c:pt idx="260">
                  <c:v>5.1930472883265809E-6</c:v>
                </c:pt>
                <c:pt idx="261">
                  <c:v>5.541827992340835E-6</c:v>
                </c:pt>
                <c:pt idx="262">
                  <c:v>5.9118576104458124E-6</c:v>
                </c:pt>
                <c:pt idx="263">
                  <c:v>6.3042304143820501E-6</c:v>
                </c:pt>
                <c:pt idx="264">
                  <c:v>6.7200787179246034E-6</c:v>
                </c:pt>
                <c:pt idx="265">
                  <c:v>7.160572452008113E-6</c:v>
                </c:pt>
                <c:pt idx="266">
                  <c:v>7.6269185244174446E-6</c:v>
                </c:pt>
                <c:pt idx="267">
                  <c:v>8.1203599442322774E-6</c:v>
                </c:pt>
                <c:pt idx="268">
                  <c:v>8.6421746905227552E-6</c:v>
                </c:pt>
                <c:pt idx="269">
                  <c:v>9.1936743041839583E-6</c:v>
                </c:pt>
                <c:pt idx="270">
                  <c:v>9.7762021812854051E-6</c:v>
                </c:pt>
                <c:pt idx="271">
                  <c:v>1.0391131545915019E-5</c:v>
                </c:pt>
                <c:pt idx="272">
                  <c:v>1.103986308023258E-5</c:v>
                </c:pt>
                <c:pt idx="273">
                  <c:v>1.1723822189342201E-5</c:v>
                </c:pt>
                <c:pt idx="274">
                  <c:v>1.2444455878655627E-5</c:v>
                </c:pt>
                <c:pt idx="275">
                  <c:v>1.3203229221684972E-5</c:v>
                </c:pt>
                <c:pt idx="276">
                  <c:v>1.4001621396685046E-5</c:v>
                </c:pt>
                <c:pt idx="277">
                  <c:v>1.484112127129321E-5</c:v>
                </c:pt>
                <c:pt idx="278">
                  <c:v>1.5723222515308725E-5</c:v>
                </c:pt>
                <c:pt idx="279">
                  <c:v>1.6649418223038953E-5</c:v>
                </c:pt>
                <c:pt idx="280">
                  <c:v>1.7621195028240769E-5</c:v>
                </c:pt>
                <c:pt idx="281">
                  <c:v>1.8640026696625082E-5</c:v>
                </c:pt>
                <c:pt idx="282">
                  <c:v>1.9707367183192237E-5</c:v>
                </c:pt>
                <c:pt idx="283">
                  <c:v>2.0824643144350401E-5</c:v>
                </c:pt>
                <c:pt idx="284">
                  <c:v>2.1993245897851856E-5</c:v>
                </c:pt>
                <c:pt idx="285">
                  <c:v>2.321452282708858E-5</c:v>
                </c:pt>
                <c:pt idx="286">
                  <c:v>2.4489768230224666E-5</c:v>
                </c:pt>
                <c:pt idx="287">
                  <c:v>2.5820213619025799E-5</c:v>
                </c:pt>
                <c:pt idx="288">
                  <c:v>2.7207017477080749E-5</c:v>
                </c:pt>
                <c:pt idx="289">
                  <c:v>2.8651254492397364E-5</c:v>
                </c:pt>
                <c:pt idx="290">
                  <c:v>3.0153904285096078E-5</c:v>
                </c:pt>
                <c:pt idx="291">
                  <c:v>3.1715839657100837E-5</c:v>
                </c:pt>
                <c:pt idx="292">
                  <c:v>3.3337814397342799E-5</c:v>
                </c:pt>
                <c:pt idx="293">
                  <c:v>3.5020450682994383E-5</c:v>
                </c:pt>
                <c:pt idx="294">
                  <c:v>3.6764226124638215E-5</c:v>
                </c:pt>
                <c:pt idx="295">
                  <c:v>3.8569460510991187E-5</c:v>
                </c:pt>
                <c:pt idx="296">
                  <c:v>4.0436302316798938E-5</c:v>
                </c:pt>
                <c:pt idx="297">
                  <c:v>4.2364715045740781E-5</c:v>
                </c:pt>
                <c:pt idx="298">
                  <c:v>4.4354463488564622E-5</c:v>
                </c:pt>
                <c:pt idx="299">
                  <c:v>4.6405099985128643E-5</c:v>
                </c:pt>
                <c:pt idx="300">
                  <c:v>4.851595078746517E-5</c:v>
                </c:pt>
                <c:pt idx="301">
                  <c:v>5.0686102629327931E-5</c:v>
                </c:pt>
                <c:pt idx="302">
                  <c:v>5.2914389615779914E-5</c:v>
                </c:pt>
                <c:pt idx="303">
                  <c:v>5.5199380554168139E-5</c:v>
                </c:pt>
                <c:pt idx="304">
                  <c:v>5.7539366855120737E-5</c:v>
                </c:pt>
                <c:pt idx="305">
                  <c:v>5.9932351138911338E-5</c:v>
                </c:pt>
                <c:pt idx="306">
                  <c:v>6.2376036688481206E-5</c:v>
                </c:pt>
                <c:pt idx="307">
                  <c:v>6.4867817895464356E-5</c:v>
                </c:pt>
                <c:pt idx="308">
                  <c:v>6.7404771849567964E-5</c:v>
                </c:pt>
                <c:pt idx="309">
                  <c:v>6.998365122445637E-5</c:v>
                </c:pt>
                <c:pt idx="310">
                  <c:v>7.2600878614736741E-5</c:v>
                </c:pt>
                <c:pt idx="311">
                  <c:v>7.5252542478569908E-5</c:v>
                </c:pt>
                <c:pt idx="312">
                  <c:v>7.7934394838716711E-5</c:v>
                </c:pt>
                <c:pt idx="313">
                  <c:v>8.0641850891307367E-5</c:v>
                </c:pt>
                <c:pt idx="314">
                  <c:v>8.3369990666211304E-5</c:v>
                </c:pt>
                <c:pt idx="315">
                  <c:v>8.6113562875398208E-5</c:v>
                </c:pt>
                <c:pt idx="316">
                  <c:v>8.8866991076143881E-5</c:v>
                </c:pt>
                <c:pt idx="317">
                  <c:v>9.1624382264138518E-5</c:v>
                </c:pt>
                <c:pt idx="318">
                  <c:v>9.4379537997583507E-5</c:v>
                </c:pt>
                <c:pt idx="319">
                  <c:v>9.7125968137107106E-5</c:v>
                </c:pt>
                <c:pt idx="320">
                  <c:v>9.9856907267854934E-5</c:v>
                </c:pt>
                <c:pt idx="321">
                  <c:v>1.0256533384945569E-4</c:v>
                </c:pt>
                <c:pt idx="322">
                  <c:v>1.0524399211680105E-4</c:v>
                </c:pt>
                <c:pt idx="323">
                  <c:v>1.0788541672984593E-4</c:v>
                </c:pt>
                <c:pt idx="324">
                  <c:v>1.1048196014412435E-4</c:v>
                </c:pt>
                <c:pt idx="325">
                  <c:v>1.1302582264551091E-4</c:v>
                </c:pt>
                <c:pt idx="326">
                  <c:v>1.1550908496330948E-4</c:v>
                </c:pt>
                <c:pt idx="327">
                  <c:v>1.1792374334518584E-4</c:v>
                </c:pt>
                <c:pt idx="328">
                  <c:v>1.2026174694618602E-4</c:v>
                </c:pt>
                <c:pt idx="329">
                  <c:v>1.2251503735244575E-4</c:v>
                </c:pt>
                <c:pt idx="330">
                  <c:v>1.2467559002855459E-4</c:v>
                </c:pt>
                <c:pt idx="331">
                  <c:v>1.2673545744637773E-4</c:v>
                </c:pt>
                <c:pt idx="332">
                  <c:v>1.2868681362288232E-4</c:v>
                </c:pt>
                <c:pt idx="333">
                  <c:v>1.3052199976559437E-4</c:v>
                </c:pt>
                <c:pt idx="334">
                  <c:v>1.3223357069728735E-4</c:v>
                </c:pt>
                <c:pt idx="335">
                  <c:v>1.3381434170677383E-4</c:v>
                </c:pt>
                <c:pt idx="336">
                  <c:v>1.3525743545077969E-4</c:v>
                </c:pt>
                <c:pt idx="337">
                  <c:v>1.3655632851322788E-4</c:v>
                </c:pt>
                <c:pt idx="338">
                  <c:v>1.3770489721336157E-4</c:v>
                </c:pt>
                <c:pt idx="339">
                  <c:v>1.3869746224331921E-4</c:v>
                </c:pt>
                <c:pt idx="340">
                  <c:v>1.39528831709492E-4</c:v>
                </c:pt>
                <c:pt idx="341">
                  <c:v>1.401943421504823E-4</c:v>
                </c:pt>
                <c:pt idx="342">
                  <c:v>1.4068989710806461E-4</c:v>
                </c:pt>
                <c:pt idx="343">
                  <c:v>1.4101200283639847E-4</c:v>
                </c:pt>
                <c:pt idx="344">
                  <c:v>1.4115780074894148E-4</c:v>
                </c:pt>
                <c:pt idx="345">
                  <c:v>1.4112509622217953E-4</c:v>
                </c:pt>
                <c:pt idx="346">
                  <c:v>1.4091238340028541E-4</c:v>
                </c:pt>
                <c:pt idx="347">
                  <c:v>1.4051886567511721E-4</c:v>
                </c:pt>
                <c:pt idx="348">
                  <c:v>1.399444715512148E-4</c:v>
                </c:pt>
                <c:pt idx="349">
                  <c:v>1.3918986564550622E-4</c:v>
                </c:pt>
                <c:pt idx="350">
                  <c:v>1.3825645461572388E-4</c:v>
                </c:pt>
                <c:pt idx="351">
                  <c:v>1.3714638785970363E-4</c:v>
                </c:pt>
                <c:pt idx="352">
                  <c:v>1.358625528791721E-4</c:v>
                </c:pt>
                <c:pt idx="353">
                  <c:v>1.3440856525569737E-4</c:v>
                </c:pt>
                <c:pt idx="354">
                  <c:v>1.3278875324251627E-4</c:v>
                </c:pt>
                <c:pt idx="355">
                  <c:v>1.310081370331716E-4</c:v>
                </c:pt>
                <c:pt idx="356">
                  <c:v>1.290724028255448E-4</c:v>
                </c:pt>
                <c:pt idx="357">
                  <c:v>1.2698787185714386E-4</c:v>
                </c:pt>
                <c:pt idx="358">
                  <c:v>1.2476146464351033E-4</c:v>
                </c:pt>
                <c:pt idx="359">
                  <c:v>1.2240066070564665E-4</c:v>
                </c:pt>
                <c:pt idx="360">
                  <c:v>1.199134541234733E-4</c:v>
                </c:pt>
                <c:pt idx="361">
                  <c:v>1.1730830529987137E-4</c:v>
                </c:pt>
                <c:pt idx="362">
                  <c:v>1.1459408936301361E-4</c:v>
                </c:pt>
                <c:pt idx="363">
                  <c:v>1.1178004167283038E-4</c:v>
                </c:pt>
                <c:pt idx="364">
                  <c:v>1.0887570092996497E-4</c:v>
                </c:pt>
                <c:pt idx="365">
                  <c:v>1.058908504119642E-4</c:v>
                </c:pt>
                <c:pt idx="366">
                  <c:v>1.0283545788125701E-4</c:v>
                </c:pt>
                <c:pt idx="367">
                  <c:v>9.9719614722459661E-5</c:v>
                </c:pt>
                <c:pt idx="368">
                  <c:v>9.6553474872421749E-5</c:v>
                </c:pt>
                <c:pt idx="369">
                  <c:v>9.3347194105183559E-5</c:v>
                </c:pt>
                <c:pt idx="370">
                  <c:v>9.0110870225622848E-5</c:v>
                </c:pt>
                <c:pt idx="371">
                  <c:v>8.6854484710201059E-5</c:v>
                </c:pt>
                <c:pt idx="372">
                  <c:v>8.3587846311135617E-5</c:v>
                </c:pt>
                <c:pt idx="373">
                  <c:v>8.0320537111875867E-5</c:v>
                </c:pt>
                <c:pt idx="374">
                  <c:v>7.7061861487436617E-5</c:v>
                </c:pt>
                <c:pt idx="375">
                  <c:v>7.3820798383486338E-5</c:v>
                </c:pt>
                <c:pt idx="376">
                  <c:v>7.0605957283771423E-5</c:v>
                </c:pt>
                <c:pt idx="377">
                  <c:v>6.7425538187157084E-5</c:v>
                </c:pt>
                <c:pt idx="378">
                  <c:v>6.4287295864087342E-5</c:v>
                </c:pt>
                <c:pt idx="379">
                  <c:v>6.1198508608410304E-5</c:v>
                </c:pt>
                <c:pt idx="380">
                  <c:v>5.8165951645094124E-5</c:v>
                </c:pt>
                <c:pt idx="381">
                  <c:v>5.5195875298264915E-5</c:v>
                </c:pt>
                <c:pt idx="382">
                  <c:v>5.2293987968027411E-5</c:v>
                </c:pt>
                <c:pt idx="383">
                  <c:v>4.9465443909532432E-5</c:v>
                </c:pt>
                <c:pt idx="384">
                  <c:v>4.6714835754496771E-5</c:v>
                </c:pt>
                <c:pt idx="385">
                  <c:v>4.4046191664607496E-5</c:v>
                </c:pt>
                <c:pt idx="386">
                  <c:v>4.1462976958621508E-5</c:v>
                </c:pt>
                <c:pt idx="387">
                  <c:v>3.8968100011098961E-5</c:v>
                </c:pt>
                <c:pt idx="388">
                  <c:v>3.6563922181116729E-5</c:v>
                </c:pt>
                <c:pt idx="389">
                  <c:v>3.4252271494406902E-5</c:v>
                </c:pt>
                <c:pt idx="390">
                  <c:v>3.2034459772516539E-5</c:v>
                </c:pt>
                <c:pt idx="391">
                  <c:v>2.9911302878001476E-5</c:v>
                </c:pt>
                <c:pt idx="392">
                  <c:v>2.7883143725517585E-5</c:v>
                </c:pt>
                <c:pt idx="393">
                  <c:v>2.5949877694980292E-5</c:v>
                </c:pt>
                <c:pt idx="394">
                  <c:v>2.4110980074700414E-5</c:v>
                </c:pt>
                <c:pt idx="395">
                  <c:v>2.2365535159416897E-5</c:v>
                </c:pt>
                <c:pt idx="396">
                  <c:v>2.0712266630232688E-5</c:v>
                </c:pt>
                <c:pt idx="397">
                  <c:v>1.9149568850312469E-5</c:v>
                </c:pt>
                <c:pt idx="398">
                  <c:v>1.7675538721469706E-5</c:v>
                </c:pt>
                <c:pt idx="399">
                  <c:v>1.6288007762043626E-5</c:v>
                </c:pt>
                <c:pt idx="400">
                  <c:v>1.4984574085273003E-5</c:v>
                </c:pt>
                <c:pt idx="401">
                  <c:v>1.376263397923984E-5</c:v>
                </c:pt>
                <c:pt idx="402">
                  <c:v>1.2619412813849638E-5</c:v>
                </c:pt>
                <c:pt idx="403">
                  <c:v>1.155199502671867E-5</c:v>
                </c:pt>
                <c:pt idx="404">
                  <c:v>1.0557352967723653E-5</c:v>
                </c:pt>
                <c:pt idx="405">
                  <c:v>9.6323744108133528E-6</c:v>
                </c:pt>
                <c:pt idx="406">
                  <c:v>8.7738885709869795E-6</c:v>
                </c:pt>
                <c:pt idx="407">
                  <c:v>7.9786904936361917E-6</c:v>
                </c:pt>
                <c:pt idx="408">
                  <c:v>7.2435637122846269E-6</c:v>
                </c:pt>
                <c:pt idx="409">
                  <c:v>6.5653010987394522E-6</c:v>
                </c:pt>
                <c:pt idx="410">
                  <c:v>5.9407238564404113E-6</c:v>
                </c:pt>
                <c:pt idx="411">
                  <c:v>5.3666986330385843E-6</c:v>
                </c:pt>
                <c:pt idx="412">
                  <c:v>4.8401527517084E-6</c:v>
                </c:pt>
                <c:pt idx="413">
                  <c:v>4.358087582176331E-6</c:v>
                </c:pt>
                <c:pt idx="414">
                  <c:v>3.9175900917900854E-6</c:v>
                </c:pt>
                <c:pt idx="415">
                  <c:v>3.5158426340400665E-6</c:v>
                </c:pt>
                <c:pt idx="416">
                  <c:v>3.15013104672405E-6</c:v>
                </c:pt>
                <c:pt idx="417">
                  <c:v>2.8178511444015779E-6</c:v>
                </c:pt>
                <c:pt idx="418">
                  <c:v>2.5165136999436351E-6</c:v>
                </c:pt>
                <c:pt idx="419">
                  <c:v>2.2437480179065847E-6</c:v>
                </c:pt>
                <c:pt idx="420">
                  <c:v>1.9973042082464819E-6</c:v>
                </c:pt>
                <c:pt idx="421">
                  <c:v>1.7750542726603048E-6</c:v>
                </c:pt>
                <c:pt idx="422">
                  <c:v>1.5749921177403759E-6</c:v>
                </c:pt>
                <c:pt idx="423">
                  <c:v>1.3952326093212826E-6</c:v>
                </c:pt>
                <c:pt idx="424">
                  <c:v>1.2340097810574462E-6</c:v>
                </c:pt>
                <c:pt idx="425">
                  <c:v>1.08967430757898E-6</c:v>
                </c:pt>
                <c:pt idx="426">
                  <c:v>9.6069034871926597E-7</c:v>
                </c:pt>
                <c:pt idx="427">
                  <c:v>8.4563186647589633E-7</c:v>
                </c:pt>
                <c:pt idx="428">
                  <c:v>7.4317851073960292E-7</c:v>
                </c:pt>
                <c:pt idx="429">
                  <c:v>6.5211116357879087E-7</c:v>
                </c:pt>
                <c:pt idx="430">
                  <c:v>5.7130722516614836E-7</c:v>
                </c:pt>
                <c:pt idx="431">
                  <c:v>4.99735717432658E-7</c:v>
                </c:pt>
                <c:pt idx="432">
                  <c:v>4.3645227437461399E-7</c:v>
                </c:pt>
                <c:pt idx="433">
                  <c:v>3.805940807474336E-7</c:v>
                </c:pt>
                <c:pt idx="434">
                  <c:v>3.3137481376854891E-7</c:v>
                </c:pt>
                <c:pt idx="435">
                  <c:v>2.8807963551679314E-7</c:v>
                </c:pt>
                <c:pt idx="436">
                  <c:v>2.5006027703930974E-7</c:v>
                </c:pt>
                <c:pt idx="437">
                  <c:v>2.1673024882575835E-7</c:v>
                </c:pt>
                <c:pt idx="438">
                  <c:v>1.8756020633613928E-7</c:v>
                </c:pt>
                <c:pt idx="439">
                  <c:v>1.6207349371224583E-7</c:v>
                </c:pt>
                <c:pt idx="440">
                  <c:v>1.3984188369073569E-7</c:v>
                </c:pt>
                <c:pt idx="441">
                  <c:v>1.2048152708392798E-7</c:v>
                </c:pt>
                <c:pt idx="442">
                  <c:v>1.03649121008807E-7</c:v>
                </c:pt>
                <c:pt idx="443">
                  <c:v>8.9038301322684387E-8</c:v>
                </c:pt>
                <c:pt idx="444">
                  <c:v>7.6376261455522013E-8</c:v>
                </c:pt>
                <c:pt idx="445">
                  <c:v>6.542059699791358E-8</c:v>
                </c:pt>
                <c:pt idx="446">
                  <c:v>5.5956372988888124E-8</c:v>
                </c:pt>
                <c:pt idx="447">
                  <c:v>4.7793408824202353E-8</c:v>
                </c:pt>
                <c:pt idx="448">
                  <c:v>4.076377404561076E-8</c:v>
                </c:pt>
                <c:pt idx="449">
                  <c:v>3.4719486945161798E-8</c:v>
                </c:pt>
                <c:pt idx="450">
                  <c:v>2.9530406894999646E-8</c:v>
                </c:pt>
                <c:pt idx="451">
                  <c:v>2.5082310561404086E-8</c:v>
                </c:pt>
                <c:pt idx="452">
                  <c:v>2.1275141651068274E-8</c:v>
                </c:pt>
                <c:pt idx="453">
                  <c:v>1.8021423537910562E-8</c:v>
                </c:pt>
                <c:pt idx="454">
                  <c:v>1.5244824001317873E-8</c:v>
                </c:pt>
                <c:pt idx="455">
                  <c:v>1.2878861344467782E-8</c:v>
                </c:pt>
                <c:pt idx="456">
                  <c:v>1.0865741328918277E-8</c:v>
                </c:pt>
                <c:pt idx="457">
                  <c:v>9.1553146356268602E-9</c:v>
                </c:pt>
                <c:pt idx="458">
                  <c:v>7.7041449216972888E-9</c:v>
                </c:pt>
                <c:pt idx="459">
                  <c:v>6.4746779672837296E-9</c:v>
                </c:pt>
                <c:pt idx="460">
                  <c:v>5.4345028811795962E-9</c:v>
                </c:pt>
                <c:pt idx="461">
                  <c:v>4.5556968417151423E-9</c:v>
                </c:pt>
                <c:pt idx="462">
                  <c:v>3.8142453786959326E-9</c:v>
                </c:pt>
                <c:pt idx="463">
                  <c:v>3.1895307411341712E-9</c:v>
                </c:pt>
                <c:pt idx="464">
                  <c:v>2.6638814351046367E-9</c:v>
                </c:pt>
                <c:pt idx="465">
                  <c:v>2.2221765484589592E-9</c:v>
                </c:pt>
                <c:pt idx="466">
                  <c:v>1.8514989980896313E-9</c:v>
                </c:pt>
                <c:pt idx="467">
                  <c:v>1.5408323359973642E-9</c:v>
                </c:pt>
                <c:pt idx="468">
                  <c:v>1.2807962288054266E-9</c:v>
                </c:pt>
                <c:pt idx="469">
                  <c:v>1.0634161788312298E-9</c:v>
                </c:pt>
                <c:pt idx="470">
                  <c:v>8.8192348150614895E-10</c:v>
                </c:pt>
                <c:pt idx="471">
                  <c:v>7.3058181272918562E-10</c:v>
                </c:pt>
                <c:pt idx="472">
                  <c:v>6.0453721018237124E-10</c:v>
                </c:pt>
                <c:pt idx="473">
                  <c:v>4.9968855479392411E-10</c:v>
                </c:pt>
                <c:pt idx="474">
                  <c:v>4.1257597290014183E-10</c:v>
                </c:pt>
                <c:pt idx="475">
                  <c:v>3.4028486706448714E-10</c:v>
                </c:pt>
                <c:pt idx="476">
                  <c:v>2.803635450547461E-10</c:v>
                </c:pt>
                <c:pt idx="477">
                  <c:v>2.3075265344398529E-10</c:v>
                </c:pt>
                <c:pt idx="478">
                  <c:v>1.8972483610760709E-10</c:v>
                </c:pt>
                <c:pt idx="479">
                  <c:v>1.5583323003987435E-10</c:v>
                </c:pt>
                <c:pt idx="480">
                  <c:v>1.2786758295354934E-10</c:v>
                </c:pt>
                <c:pt idx="481">
                  <c:v>1.0481693060657377E-10</c:v>
                </c:pt>
                <c:pt idx="482">
                  <c:v>8.5837908250970506E-11</c:v>
                </c:pt>
                <c:pt idx="483">
                  <c:v>7.0227891509088428E-11</c:v>
                </c:pt>
                <c:pt idx="484">
                  <c:v>5.740226878007788E-11</c:v>
                </c:pt>
                <c:pt idx="485">
                  <c:v>4.6875241322427251E-11</c:v>
                </c:pt>
                <c:pt idx="486">
                  <c:v>3.8243629724466613E-11</c:v>
                </c:pt>
                <c:pt idx="487">
                  <c:v>3.1173237756734126E-11</c:v>
                </c:pt>
                <c:pt idx="488">
                  <c:v>2.5387387703397095E-11</c:v>
                </c:pt>
                <c:pt idx="489">
                  <c:v>2.0657296211944604E-11</c:v>
                </c:pt>
                <c:pt idx="490">
                  <c:v>1.6794007411797193E-11</c:v>
                </c:pt>
                <c:pt idx="491">
                  <c:v>1.3641641379946867E-11</c:v>
                </c:pt>
                <c:pt idx="492">
                  <c:v>1.1071751741288977E-11</c:v>
                </c:pt>
                <c:pt idx="493">
                  <c:v>8.9786169727229057E-12</c:v>
                </c:pt>
                <c:pt idx="494">
                  <c:v>7.2753164516618007E-12</c:v>
                </c:pt>
                <c:pt idx="495">
                  <c:v>5.8904650030679592E-12</c:v>
                </c:pt>
                <c:pt idx="496">
                  <c:v>4.7654991449362884E-12</c:v>
                </c:pt>
                <c:pt idx="497">
                  <c:v>3.8524248445088268E-12</c:v>
                </c:pt>
                <c:pt idx="498">
                  <c:v>3.1119507594246519E-12</c:v>
                </c:pt>
                <c:pt idx="499">
                  <c:v>2.5119429861915489E-12</c:v>
                </c:pt>
                <c:pt idx="500">
                  <c:v>2.0261475677675253E-12</c:v>
                </c:pt>
                <c:pt idx="501">
                  <c:v>1.6331356802487655E-12</c:v>
                </c:pt>
                <c:pt idx="502">
                  <c:v>1.3154337499215967E-12</c:v>
                </c:pt>
                <c:pt idx="503">
                  <c:v>1.058806940889706E-12</c:v>
                </c:pt>
                <c:pt idx="504">
                  <c:v>8.5166966861025621E-13</c:v>
                </c:pt>
                <c:pt idx="505">
                  <c:v>6.8460118136625453E-13</c:v>
                </c:pt>
                <c:pt idx="506">
                  <c:v>5.4994793515084565E-13</c:v>
                </c:pt>
                <c:pt idx="507">
                  <c:v>4.4149757511943384E-13</c:v>
                </c:pt>
                <c:pt idx="508">
                  <c:v>3.5421192073704349E-13</c:v>
                </c:pt>
                <c:pt idx="509">
                  <c:v>2.8400851066933381E-13</c:v>
                </c:pt>
                <c:pt idx="510">
                  <c:v>2.2758206438834545E-13</c:v>
                </c:pt>
                <c:pt idx="511">
                  <c:v>1.8225871741927358E-13</c:v>
                </c:pt>
                <c:pt idx="512">
                  <c:v>1.4587713454123634E-13</c:v>
                </c:pt>
                <c:pt idx="513">
                  <c:v>1.1669164106066715E-13</c:v>
                </c:pt>
                <c:pt idx="514">
                  <c:v>9.3293371139544576E-14</c:v>
                </c:pt>
                <c:pt idx="515">
                  <c:v>7.4546143296731003E-14</c:v>
                </c:pt>
                <c:pt idx="516">
                  <c:v>5.9534361200555507E-14</c:v>
                </c:pt>
                <c:pt idx="517">
                  <c:v>4.7520723396158631E-14</c:v>
                </c:pt>
                <c:pt idx="518">
                  <c:v>3.7911925987806343E-14</c:v>
                </c:pt>
                <c:pt idx="519">
                  <c:v>3.0230872028658612E-14</c:v>
                </c:pt>
                <c:pt idx="520">
                  <c:v>2.4094172578344466E-14</c:v>
                </c:pt>
                <c:pt idx="521">
                  <c:v>1.9193947182493505E-14</c:v>
                </c:pt>
                <c:pt idx="522">
                  <c:v>1.5283114328573545E-14</c:v>
                </c:pt>
                <c:pt idx="523">
                  <c:v>1.2163512240056343E-14</c:v>
                </c:pt>
                <c:pt idx="524">
                  <c:v>9.6763129982996804E-15</c:v>
                </c:pt>
                <c:pt idx="525">
                  <c:v>7.6942932461082668E-15</c:v>
                </c:pt>
                <c:pt idx="526">
                  <c:v>6.1156066160070273E-15</c:v>
                </c:pt>
                <c:pt idx="527">
                  <c:v>4.8587698349749969E-15</c:v>
                </c:pt>
                <c:pt idx="528">
                  <c:v>3.8586289051572282E-15</c:v>
                </c:pt>
                <c:pt idx="529">
                  <c:v>3.0631160879530301E-15</c:v>
                </c:pt>
                <c:pt idx="530">
                  <c:v>2.4306444712708466E-15</c:v>
                </c:pt>
                <c:pt idx="531">
                  <c:v>1.9280161925996118E-15</c:v>
                </c:pt>
                <c:pt idx="532">
                  <c:v>1.528744168202164E-15</c:v>
                </c:pt>
                <c:pt idx="533">
                  <c:v>1.2117064613834802E-15</c:v>
                </c:pt>
                <c:pt idx="534">
                  <c:v>9.600680457312918E-16</c:v>
                </c:pt>
                <c:pt idx="535">
                  <c:v>7.6041736565365736E-16</c:v>
                </c:pt>
                <c:pt idx="536">
                  <c:v>6.0207532452389835E-16</c:v>
                </c:pt>
                <c:pt idx="537">
                  <c:v>4.7654259566490667E-16</c:v>
                </c:pt>
                <c:pt idx="538">
                  <c:v>3.7705782442086319E-16</c:v>
                </c:pt>
                <c:pt idx="539">
                  <c:v>2.9824467287549452E-16</c:v>
                </c:pt>
                <c:pt idx="540">
                  <c:v>2.358299981590306E-16</c:v>
                </c:pt>
                <c:pt idx="541">
                  <c:v>1.8641895044595505E-16</c:v>
                </c:pt>
                <c:pt idx="542">
                  <c:v>1.4731558977061061E-16</c:v>
                </c:pt>
                <c:pt idx="543">
                  <c:v>1.163798831185942E-16</c:v>
                </c:pt>
                <c:pt idx="544">
                  <c:v>9.1913761368697348E-17</c:v>
                </c:pt>
                <c:pt idx="545">
                  <c:v>7.2570375746516881E-17</c:v>
                </c:pt>
                <c:pt idx="546">
                  <c:v>5.7281865196294638E-17</c:v>
                </c:pt>
                <c:pt idx="547">
                  <c:v>4.5201885786332476E-17</c:v>
                </c:pt>
                <c:pt idx="548">
                  <c:v>3.5659906386139576E-17</c:v>
                </c:pt>
                <c:pt idx="549">
                  <c:v>2.8124878047608867E-17</c:v>
                </c:pt>
                <c:pt idx="550">
                  <c:v>2.2176367330872522E-17</c:v>
                </c:pt>
                <c:pt idx="551">
                  <c:v>1.7481630025992137E-17</c:v>
                </c:pt>
                <c:pt idx="552">
                  <c:v>1.3777410475914026E-17</c:v>
                </c:pt>
                <c:pt idx="553">
                  <c:v>1.085549839308979E-17</c:v>
                </c:pt>
                <c:pt idx="554">
                  <c:v>8.5512720461388965E-18</c:v>
                </c:pt>
                <c:pt idx="555">
                  <c:v>6.7346139002244772E-18</c:v>
                </c:pt>
                <c:pt idx="556">
                  <c:v>5.3027101889461883E-18</c:v>
                </c:pt>
                <c:pt idx="557">
                  <c:v>4.1743458611523557E-18</c:v>
                </c:pt>
                <c:pt idx="558">
                  <c:v>3.2853859983000153E-18</c:v>
                </c:pt>
                <c:pt idx="559">
                  <c:v>2.5851982324252938E-18</c:v>
                </c:pt>
                <c:pt idx="560">
                  <c:v>2.0338211884540932E-18</c:v>
                </c:pt>
                <c:pt idx="561">
                  <c:v>1.5997241480397538E-18</c:v>
                </c:pt>
                <c:pt idx="562">
                  <c:v>1.258035079559453E-18</c:v>
                </c:pt>
                <c:pt idx="563">
                  <c:v>9.8913957306391953E-19</c:v>
                </c:pt>
                <c:pt idx="564">
                  <c:v>7.7757339500553635E-19</c:v>
                </c:pt>
                <c:pt idx="565">
                  <c:v>6.1114740072277836E-19</c:v>
                </c:pt>
                <c:pt idx="566">
                  <c:v>4.8025626227252802E-19</c:v>
                </c:pt>
                <c:pt idx="567">
                  <c:v>3.7733256216616291E-19</c:v>
                </c:pt>
                <c:pt idx="568">
                  <c:v>2.9641580903353723E-19</c:v>
                </c:pt>
                <c:pt idx="569">
                  <c:v>2.3281227843355939E-19</c:v>
                </c:pt>
                <c:pt idx="570">
                  <c:v>1.828266125020159E-19</c:v>
                </c:pt>
                <c:pt idx="571">
                  <c:v>1.4355009751642041E-19</c:v>
                </c:pt>
                <c:pt idx="572">
                  <c:v>1.1269369471868851E-19</c:v>
                </c:pt>
                <c:pt idx="573">
                  <c:v>8.8456398456884586E-20</c:v>
                </c:pt>
                <c:pt idx="574">
                  <c:v>6.9421473179168508E-20</c:v>
                </c:pt>
                <c:pt idx="575">
                  <c:v>5.4474685232923367E-20</c:v>
                </c:pt>
                <c:pt idx="576">
                  <c:v>4.2739882652691361E-20</c:v>
                </c:pt>
                <c:pt idx="577">
                  <c:v>3.3528254272971551E-20</c:v>
                </c:pt>
                <c:pt idx="578">
                  <c:v>2.6298372578726588E-20</c:v>
                </c:pt>
                <c:pt idx="579">
                  <c:v>2.0624735514079408E-20</c:v>
                </c:pt>
                <c:pt idx="580">
                  <c:v>1.617300492071025E-20</c:v>
                </c:pt>
                <c:pt idx="581">
                  <c:v>1.2680520232443323E-20</c:v>
                </c:pt>
                <c:pt idx="582">
                  <c:v>9.9409667761204047E-21</c:v>
                </c:pt>
                <c:pt idx="583">
                  <c:v>7.792315351485514E-21</c:v>
                </c:pt>
                <c:pt idx="584">
                  <c:v>6.1073369991486594E-21</c:v>
                </c:pt>
                <c:pt idx="585">
                  <c:v>4.7861445465635466E-21</c:v>
                </c:pt>
                <c:pt idx="586">
                  <c:v>3.7503289731609747E-21</c:v>
                </c:pt>
                <c:pt idx="587">
                  <c:v>2.9383504377578063E-21</c:v>
                </c:pt>
                <c:pt idx="588">
                  <c:v>2.3019161633717186E-21</c:v>
                </c:pt>
                <c:pt idx="589">
                  <c:v>1.8031343835696563E-21</c:v>
                </c:pt>
                <c:pt idx="590">
                  <c:v>1.4122784633020411E-21</c:v>
                </c:pt>
                <c:pt idx="591">
                  <c:v>1.1060306758159397E-21</c:v>
                </c:pt>
                <c:pt idx="592">
                  <c:v>8.6610296602610189E-22</c:v>
                </c:pt>
                <c:pt idx="593">
                  <c:v>6.7815395356986694E-22</c:v>
                </c:pt>
                <c:pt idx="594">
                  <c:v>5.3093868290600914E-22</c:v>
                </c:pt>
                <c:pt idx="595">
                  <c:v>4.1564120459746641E-22</c:v>
                </c:pt>
                <c:pt idx="596">
                  <c:v>3.2535075288201125E-22</c:v>
                </c:pt>
                <c:pt idx="597">
                  <c:v>2.5465068572613878E-22</c:v>
                </c:pt>
                <c:pt idx="598">
                  <c:v>1.9929596010422176E-22</c:v>
                </c:pt>
                <c:pt idx="599">
                  <c:v>1.5596010957845509E-22</c:v>
                </c:pt>
                <c:pt idx="600">
                  <c:v>1.220367744701324E-22</c:v>
                </c:pt>
                <c:pt idx="601">
                  <c:v>9.5484044096817933E-23</c:v>
                </c:pt>
                <c:pt idx="602">
                  <c:v>7.4702392335734534E-23</c:v>
                </c:pt>
                <c:pt idx="603">
                  <c:v>5.8438969051708409E-23</c:v>
                </c:pt>
                <c:pt idx="604">
                  <c:v>4.5712566277456486E-23</c:v>
                </c:pt>
                <c:pt idx="605">
                  <c:v>3.5754800384777573E-23</c:v>
                </c:pt>
                <c:pt idx="606">
                  <c:v>2.7964011355563386E-23</c:v>
                </c:pt>
                <c:pt idx="607">
                  <c:v>2.186913389437851E-23</c:v>
                </c:pt>
                <c:pt idx="608">
                  <c:v>1.7101386737054941E-23</c:v>
                </c:pt>
                <c:pt idx="609">
                  <c:v>1.3372090864180579E-23</c:v>
                </c:pt>
                <c:pt idx="610">
                  <c:v>1.0455291742025532E-23</c:v>
                </c:pt>
                <c:pt idx="611">
                  <c:v>8.1741466548947748E-24</c:v>
                </c:pt>
                <c:pt idx="612">
                  <c:v>6.3902625271981503E-24</c:v>
                </c:pt>
                <c:pt idx="613">
                  <c:v>4.9953456097942762E-24</c:v>
                </c:pt>
                <c:pt idx="614">
                  <c:v>3.904662428169549E-24</c:v>
                </c:pt>
                <c:pt idx="615">
                  <c:v>3.0519196309161671E-24</c:v>
                </c:pt>
                <c:pt idx="616">
                  <c:v>2.3852552506160125E-24</c:v>
                </c:pt>
                <c:pt idx="617">
                  <c:v>1.8641004317592095E-24</c:v>
                </c:pt>
                <c:pt idx="618">
                  <c:v>1.456722844200804E-24</c:v>
                </c:pt>
                <c:pt idx="619">
                  <c:v>1.1383038878442921E-24</c:v>
                </c:pt>
                <c:pt idx="620">
                  <c:v>8.8943383865811637E-25</c:v>
                </c:pt>
                <c:pt idx="621">
                  <c:v>6.9493419717097423E-25</c:v>
                </c:pt>
                <c:pt idx="622">
                  <c:v>5.4293617623009538E-25</c:v>
                </c:pt>
                <c:pt idx="623">
                  <c:v>4.2415967973196359E-25</c:v>
                </c:pt>
                <c:pt idx="624">
                  <c:v>3.3134919959276256E-25</c:v>
                </c:pt>
                <c:pt idx="625">
                  <c:v>2.5883251680238229E-25</c:v>
                </c:pt>
                <c:pt idx="626">
                  <c:v>2.0217550033172947E-25</c:v>
                </c:pt>
                <c:pt idx="627">
                  <c:v>1.5791209894967638E-25</c:v>
                </c:pt>
                <c:pt idx="628">
                  <c:v>1.233331636202325E-25</c:v>
                </c:pt>
                <c:pt idx="629">
                  <c:v>9.6321294830542438E-26</c:v>
                </c:pt>
                <c:pt idx="630">
                  <c:v>7.5221693661864571E-26</c:v>
                </c:pt>
                <c:pt idx="631">
                  <c:v>5.8741175109515968E-26</c:v>
                </c:pt>
                <c:pt idx="632">
                  <c:v>4.5869208278249138E-26</c:v>
                </c:pt>
                <c:pt idx="633">
                  <c:v>3.5816183391072874E-26</c:v>
                </c:pt>
                <c:pt idx="634">
                  <c:v>2.7965150553728299E-26</c:v>
                </c:pt>
                <c:pt idx="635">
                  <c:v>2.1834092953936568E-26</c:v>
                </c:pt>
                <c:pt idx="636">
                  <c:v>1.7046437015362378E-26</c:v>
                </c:pt>
                <c:pt idx="637">
                  <c:v>1.3308002630154199E-26</c:v>
                </c:pt>
                <c:pt idx="638">
                  <c:v>1.0388988226117281E-26</c:v>
                </c:pt>
                <c:pt idx="639">
                  <c:v>8.1098917831342429E-27</c:v>
                </c:pt>
                <c:pt idx="640">
                  <c:v>6.3305085445554405E-27</c:v>
                </c:pt>
                <c:pt idx="641">
                  <c:v>4.941333593679464E-27</c:v>
                </c:pt>
                <c:pt idx="642">
                  <c:v>3.8568440448415403E-27</c:v>
                </c:pt>
                <c:pt idx="643">
                  <c:v>3.010250225688267E-27</c:v>
                </c:pt>
                <c:pt idx="644">
                  <c:v>2.3493948610879056E-27</c:v>
                </c:pt>
                <c:pt idx="645">
                  <c:v>1.8335493533108818E-27</c:v>
                </c:pt>
                <c:pt idx="646">
                  <c:v>1.43091104854884E-27</c:v>
                </c:pt>
                <c:pt idx="647">
                  <c:v>1.1166482179149845E-27</c:v>
                </c:pt>
                <c:pt idx="648">
                  <c:v>8.7137296950761624E-28</c:v>
                </c:pt>
                <c:pt idx="649">
                  <c:v>6.7994848518328986E-28</c:v>
                </c:pt>
                <c:pt idx="650">
                  <c:v>5.3055743672523288E-28</c:v>
                </c:pt>
                <c:pt idx="651">
                  <c:v>4.1397442796618924E-28</c:v>
                </c:pt>
                <c:pt idx="652">
                  <c:v>3.2299780758370826E-28</c:v>
                </c:pt>
                <c:pt idx="653">
                  <c:v>2.5200596442033362E-28</c:v>
                </c:pt>
                <c:pt idx="654">
                  <c:v>1.9661084953390714E-28</c:v>
                </c:pt>
                <c:pt idx="655">
                  <c:v>1.5338743302487515E-28</c:v>
                </c:pt>
                <c:pt idx="656">
                  <c:v>1.1966246348030519E-28</c:v>
                </c:pt>
                <c:pt idx="657">
                  <c:v>9.3349538567356211E-29</c:v>
                </c:pt>
                <c:pt idx="658">
                  <c:v>7.2820339592305004E-29</c:v>
                </c:pt>
                <c:pt idx="659">
                  <c:v>5.6804104834101312E-29</c:v>
                </c:pt>
                <c:pt idx="660">
                  <c:v>4.4309152198314665E-29</c:v>
                </c:pt>
                <c:pt idx="661">
                  <c:v>3.4561617562156832E-29</c:v>
                </c:pt>
                <c:pt idx="662">
                  <c:v>2.6957634196490995E-29</c:v>
                </c:pt>
                <c:pt idx="663">
                  <c:v>2.1026005780493817E-29</c:v>
                </c:pt>
                <c:pt idx="664">
                  <c:v>1.6399071518145492E-29</c:v>
                </c:pt>
                <c:pt idx="665">
                  <c:v>1.278996635904395E-29</c:v>
                </c:pt>
                <c:pt idx="666">
                  <c:v>9.9748732996702815E-30</c:v>
                </c:pt>
                <c:pt idx="667">
                  <c:v>7.7791723880822996E-30</c:v>
                </c:pt>
                <c:pt idx="668">
                  <c:v>6.066631280300542E-30</c:v>
                </c:pt>
                <c:pt idx="669">
                  <c:v>4.7309697692895433E-30</c:v>
                </c:pt>
                <c:pt idx="670">
                  <c:v>3.6892771570804448E-30</c:v>
                </c:pt>
                <c:pt idx="671">
                  <c:v>2.8768756823644471E-30</c:v>
                </c:pt>
                <c:pt idx="672">
                  <c:v>2.2433124809605297E-30</c:v>
                </c:pt>
                <c:pt idx="673">
                  <c:v>1.7492322448830663E-30</c:v>
                </c:pt>
                <c:pt idx="674">
                  <c:v>1.3639371460527742E-30</c:v>
                </c:pt>
                <c:pt idx="675">
                  <c:v>1.0634830565206881E-30</c:v>
                </c:pt>
                <c:pt idx="676">
                  <c:v>8.2919424422516749E-31</c:v>
                </c:pt>
                <c:pt idx="677">
                  <c:v>6.465045963672411E-31</c:v>
                </c:pt>
                <c:pt idx="678">
                  <c:v>5.0405361640436996E-31</c:v>
                </c:pt>
                <c:pt idx="679">
                  <c:v>3.9298120171938272E-31</c:v>
                </c:pt>
                <c:pt idx="680">
                  <c:v>3.0637750958891804E-31</c:v>
                </c:pt>
                <c:pt idx="681">
                  <c:v>2.3885381873326317E-31</c:v>
                </c:pt>
                <c:pt idx="682">
                  <c:v>1.8620778514690181E-31</c:v>
                </c:pt>
                <c:pt idx="683">
                  <c:v>1.4516233692313099E-31</c:v>
                </c:pt>
                <c:pt idx="684">
                  <c:v>1.1316201459069206E-31</c:v>
                </c:pt>
                <c:pt idx="685">
                  <c:v>8.8214123088681525E-32</c:v>
                </c:pt>
                <c:pt idx="686">
                  <c:v>6.8764838968621626E-32</c:v>
                </c:pt>
                <c:pt idx="687">
                  <c:v>5.3602583514309813E-32</c:v>
                </c:pt>
                <c:pt idx="688">
                  <c:v>4.1782663302065057E-32</c:v>
                </c:pt>
                <c:pt idx="689">
                  <c:v>3.2568498890823768E-32</c:v>
                </c:pt>
                <c:pt idx="690">
                  <c:v>2.5385791510145566E-32</c:v>
                </c:pt>
                <c:pt idx="691">
                  <c:v>1.9786780514371354E-32</c:v>
                </c:pt>
                <c:pt idx="692">
                  <c:v>1.5422370736246988E-32</c:v>
                </c:pt>
                <c:pt idx="693">
                  <c:v>1.2020397486921858E-32</c:v>
                </c:pt>
                <c:pt idx="694">
                  <c:v>9.36867810937613E-33</c:v>
                </c:pt>
                <c:pt idx="695">
                  <c:v>7.3017963087798021E-33</c:v>
                </c:pt>
                <c:pt idx="696">
                  <c:v>5.6907973990841726E-33</c:v>
                </c:pt>
                <c:pt idx="697">
                  <c:v>4.4351534980054694E-33</c:v>
                </c:pt>
                <c:pt idx="698">
                  <c:v>3.45649879413835E-33</c:v>
                </c:pt>
                <c:pt idx="699">
                  <c:v>2.6937450551374055E-33</c:v>
                </c:pt>
                <c:pt idx="700">
                  <c:v>2.0992733731770242E-33</c:v>
                </c:pt>
                <c:pt idx="701">
                  <c:v>1.635965081115414E-33</c:v>
                </c:pt>
                <c:pt idx="702">
                  <c:v>1.2748869764054215E-33</c:v>
                </c:pt>
                <c:pt idx="703">
                  <c:v>9.9348670122117308E-34</c:v>
                </c:pt>
                <c:pt idx="704">
                  <c:v>7.7418587645882783E-34</c:v>
                </c:pt>
                <c:pt idx="705">
                  <c:v>6.0328334510866179E-34</c:v>
                </c:pt>
                <c:pt idx="706">
                  <c:v>4.7010018760361631E-34</c:v>
                </c:pt>
                <c:pt idx="707">
                  <c:v>3.6631322647524869E-34</c:v>
                </c:pt>
                <c:pt idx="708">
                  <c:v>2.8543547705895125E-34</c:v>
                </c:pt>
                <c:pt idx="709">
                  <c:v>2.2241115464374801E-34</c:v>
                </c:pt>
                <c:pt idx="710">
                  <c:v>1.7329998577184785E-34</c:v>
                </c:pt>
                <c:pt idx="711">
                  <c:v>1.3503113638609558E-34</c:v>
                </c:pt>
                <c:pt idx="712">
                  <c:v>1.0521140848496725E-34</c:v>
                </c:pt>
                <c:pt idx="713">
                  <c:v>8.1975739901764157E-35</c:v>
                </c:pt>
                <c:pt idx="714">
                  <c:v>6.3870679318957134E-35</c:v>
                </c:pt>
                <c:pt idx="715">
                  <c:v>4.9763564910935396E-35</c:v>
                </c:pt>
                <c:pt idx="716">
                  <c:v>3.8771738138623028E-35</c:v>
                </c:pt>
                <c:pt idx="717">
                  <c:v>3.0207373968000661E-35</c:v>
                </c:pt>
                <c:pt idx="718">
                  <c:v>2.3534483114912093E-35</c:v>
                </c:pt>
                <c:pt idx="719">
                  <c:v>1.8335401421535456E-35</c:v>
                </c:pt>
                <c:pt idx="720">
                  <c:v>1.4284673572010824E-35</c:v>
                </c:pt>
                <c:pt idx="721">
                  <c:v>1.1128699898136256E-35</c:v>
                </c:pt>
                <c:pt idx="722">
                  <c:v>8.6698748079437127E-36</c:v>
                </c:pt>
                <c:pt idx="723">
                  <c:v>6.7542258213762211E-36</c:v>
                </c:pt>
                <c:pt idx="724">
                  <c:v>5.2617808037161983E-36</c:v>
                </c:pt>
                <c:pt idx="725">
                  <c:v>4.0990613780324835E-36</c:v>
                </c:pt>
                <c:pt idx="726">
                  <c:v>3.1932333176944469E-36</c:v>
                </c:pt>
                <c:pt idx="727">
                  <c:v>2.4875482360363538E-36</c:v>
                </c:pt>
                <c:pt idx="728">
                  <c:v>1.9377915775233696E-36</c:v>
                </c:pt>
                <c:pt idx="729">
                  <c:v>1.5095148021523093E-36</c:v>
                </c:pt>
                <c:pt idx="730">
                  <c:v>1.175878666383169E-36</c:v>
                </c:pt>
                <c:pt idx="731">
                  <c:v>9.1597270521557443E-37</c:v>
                </c:pt>
                <c:pt idx="732">
                  <c:v>7.1350579068693442E-37</c:v>
                </c:pt>
                <c:pt idx="733">
                  <c:v>5.5578584468282079E-37</c:v>
                </c:pt>
                <c:pt idx="734">
                  <c:v>4.3292486599549846E-37</c:v>
                </c:pt>
                <c:pt idx="735">
                  <c:v>3.3721952379890347E-37</c:v>
                </c:pt>
                <c:pt idx="736">
                  <c:v>2.6266855148225653E-37</c:v>
                </c:pt>
                <c:pt idx="737">
                  <c:v>2.0459673284897619E-37</c:v>
                </c:pt>
                <c:pt idx="738">
                  <c:v>1.5936194202654555E-37</c:v>
                </c:pt>
                <c:pt idx="739">
                  <c:v>1.241268954434748E-37</c:v>
                </c:pt>
                <c:pt idx="740">
                  <c:v>9.6681324028418546E-38</c:v>
                </c:pt>
                <c:pt idx="741">
                  <c:v>7.5303429686559865E-38</c:v>
                </c:pt>
                <c:pt idx="742">
                  <c:v>5.8651949119750701E-38</c:v>
                </c:pt>
                <c:pt idx="743">
                  <c:v>4.5682064286509776E-38</c:v>
                </c:pt>
                <c:pt idx="744">
                  <c:v>3.5579891857954703E-38</c:v>
                </c:pt>
                <c:pt idx="745">
                  <c:v>2.7711447431383756E-38</c:v>
                </c:pt>
                <c:pt idx="746">
                  <c:v>2.1582886775439103E-38</c:v>
                </c:pt>
                <c:pt idx="747">
                  <c:v>1.6809532687002433E-38</c:v>
                </c:pt>
                <c:pt idx="748">
                  <c:v>1.3091746379979444E-38</c:v>
                </c:pt>
                <c:pt idx="749">
                  <c:v>1.019613112008024E-38</c:v>
                </c:pt>
                <c:pt idx="750">
                  <c:v>7.9408898888403003E-39</c:v>
                </c:pt>
                <c:pt idx="751">
                  <c:v>6.1844191751187206E-39</c:v>
                </c:pt>
                <c:pt idx="752">
                  <c:v>4.8164237736515222E-39</c:v>
                </c:pt>
                <c:pt idx="753">
                  <c:v>3.7509954800144872E-39</c:v>
                </c:pt>
                <c:pt idx="754">
                  <c:v>2.9212216626451906E-39</c:v>
                </c:pt>
                <c:pt idx="755">
                  <c:v>2.2749856005596106E-39</c:v>
                </c:pt>
                <c:pt idx="756">
                  <c:v>1.7716951841682083E-39</c:v>
                </c:pt>
                <c:pt idx="757">
                  <c:v>1.3797347879767526E-39</c:v>
                </c:pt>
                <c:pt idx="758">
                  <c:v>1.0744804687462735E-39</c:v>
                </c:pt>
                <c:pt idx="759">
                  <c:v>8.3675396910457032E-40</c:v>
                </c:pt>
                <c:pt idx="760">
                  <c:v>6.5161852709915327E-40</c:v>
                </c:pt>
                <c:pt idx="761">
                  <c:v>5.0744093199804666E-40</c:v>
                </c:pt>
                <c:pt idx="762">
                  <c:v>3.9516096681287953E-40</c:v>
                </c:pt>
                <c:pt idx="763">
                  <c:v>3.0772238855177707E-40</c:v>
                </c:pt>
                <c:pt idx="764">
                  <c:v>2.3962973257090758E-40</c:v>
                </c:pt>
                <c:pt idx="765">
                  <c:v>1.8660312146012261E-40</c:v>
                </c:pt>
                <c:pt idx="766">
                  <c:v>1.4530940950715657E-40</c:v>
                </c:pt>
                <c:pt idx="767">
                  <c:v>1.1315278385304038E-40</c:v>
                </c:pt>
                <c:pt idx="768">
                  <c:v>8.8111675283939634E-41</c:v>
                </c:pt>
                <c:pt idx="769">
                  <c:v>6.8611738283379524E-41</c:v>
                </c:pt>
                <c:pt idx="770">
                  <c:v>5.3426924142835252E-41</c:v>
                </c:pt>
                <c:pt idx="771">
                  <c:v>4.1602434425927321E-41</c:v>
                </c:pt>
                <c:pt idx="772">
                  <c:v>3.2394716027287143E-41</c:v>
                </c:pt>
                <c:pt idx="773">
                  <c:v>2.522472880869233E-41</c:v>
                </c:pt>
                <c:pt idx="774">
                  <c:v>1.9641550422935192E-41</c:v>
                </c:pt>
                <c:pt idx="775">
                  <c:v>1.5294031974674255E-41</c:v>
                </c:pt>
                <c:pt idx="776">
                  <c:v>1.19087238215288E-41</c:v>
                </c:pt>
                <c:pt idx="777">
                  <c:v>9.2726846394109034E-42</c:v>
                </c:pt>
                <c:pt idx="778">
                  <c:v>7.2200935847876183E-42</c:v>
                </c:pt>
                <c:pt idx="779">
                  <c:v>5.6218242960671984E-42</c:v>
                </c:pt>
                <c:pt idx="780">
                  <c:v>4.3773255479036878E-42</c:v>
                </c:pt>
                <c:pt idx="781">
                  <c:v>3.4082982857019628E-42</c:v>
                </c:pt>
                <c:pt idx="782">
                  <c:v>2.6537716367806503E-42</c:v>
                </c:pt>
                <c:pt idx="783">
                  <c:v>2.0662684045039059E-42</c:v>
                </c:pt>
                <c:pt idx="784">
                  <c:v>1.6088190059426008E-42</c:v>
                </c:pt>
                <c:pt idx="785">
                  <c:v>1.2526361450772503E-42</c:v>
                </c:pt>
                <c:pt idx="786">
                  <c:v>9.7530403020525375E-43</c:v>
                </c:pt>
                <c:pt idx="787">
                  <c:v>7.5936828966004944E-43</c:v>
                </c:pt>
                <c:pt idx="788">
                  <c:v>5.9123792689635739E-43</c:v>
                </c:pt>
                <c:pt idx="789">
                  <c:v>4.6033026867886213E-43</c:v>
                </c:pt>
                <c:pt idx="790">
                  <c:v>3.584051388326662E-43</c:v>
                </c:pt>
                <c:pt idx="791">
                  <c:v>2.7904638514420252E-43</c:v>
                </c:pt>
                <c:pt idx="792">
                  <c:v>2.1725815147059293E-43</c:v>
                </c:pt>
                <c:pt idx="793">
                  <c:v>1.691505030724282E-43</c:v>
                </c:pt>
                <c:pt idx="794">
                  <c:v>1.3169463109971358E-43</c:v>
                </c:pt>
                <c:pt idx="795">
                  <c:v>1.0253223794988684E-43</c:v>
                </c:pt>
                <c:pt idx="796">
                  <c:v>7.9827112635360343E-44</c:v>
                </c:pt>
                <c:pt idx="797">
                  <c:v>6.2149558817084548E-44</c:v>
                </c:pt>
                <c:pt idx="798">
                  <c:v>4.8386404359965704E-44</c:v>
                </c:pt>
                <c:pt idx="799">
                  <c:v>3.7670930585739553E-44</c:v>
                </c:pt>
                <c:pt idx="800">
                  <c:v>2.9328312213408649E-44</c:v>
                </c:pt>
              </c:numCache>
            </c:numRef>
          </c:yVal>
          <c:smooth val="0"/>
          <c:extLst>
            <c:ext xmlns:c16="http://schemas.microsoft.com/office/drawing/2014/chart" uri="{C3380CC4-5D6E-409C-BE32-E72D297353CC}">
              <c16:uniqueId val="{00000003-1D62-4DE3-8E9D-34C68BC76380}"/>
            </c:ext>
          </c:extLst>
        </c:ser>
        <c:ser>
          <c:idx val="4"/>
          <c:order val="4"/>
          <c:tx>
            <c:strRef>
              <c:f>Calc!$H$6</c:f>
              <c:strCache>
                <c:ptCount val="1"/>
                <c:pt idx="0">
                  <c:v>5</c:v>
                </c:pt>
              </c:strCache>
            </c:strRef>
          </c:tx>
          <c:spPr>
            <a:ln w="28575">
              <a:noFill/>
            </a:ln>
          </c:spPr>
          <c:marker>
            <c:symbol val="star"/>
            <c:size val="3"/>
            <c:spPr>
              <a:noFill/>
              <a:ln>
                <a:solidFill>
                  <a:srgbClr val="800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H$7:$H$807</c:f>
              <c:numCache>
                <c:formatCode>000,000,000</c:formatCode>
                <c:ptCount val="801"/>
                <c:pt idx="0">
                  <c:v>2.2170578755789744E-23</c:v>
                </c:pt>
                <c:pt idx="1">
                  <c:v>2.5295367957794444E-23</c:v>
                </c:pt>
                <c:pt idx="2">
                  <c:v>2.886040903559218E-23</c:v>
                </c:pt>
                <c:pt idx="3">
                  <c:v>3.2927703404944015E-23</c:v>
                </c:pt>
                <c:pt idx="4">
                  <c:v>3.7567980246488306E-23</c:v>
                </c:pt>
                <c:pt idx="5">
                  <c:v>4.2861924466285329E-23</c:v>
                </c:pt>
                <c:pt idx="6">
                  <c:v>4.8901577328422415E-23</c:v>
                </c:pt>
                <c:pt idx="7">
                  <c:v>5.5791934025200019E-23</c:v>
                </c:pt>
                <c:pt idx="8">
                  <c:v>6.3652765858065086E-23</c:v>
                </c:pt>
                <c:pt idx="9">
                  <c:v>7.2620698588334705E-23</c:v>
                </c:pt>
                <c:pt idx="10">
                  <c:v>8.2851582947752769E-23</c:v>
                </c:pt>
                <c:pt idx="11">
                  <c:v>9.4523198351720356E-23</c:v>
                </c:pt>
                <c:pt idx="12">
                  <c:v>1.0783833661948409E-22</c:v>
                </c:pt>
                <c:pt idx="13">
                  <c:v>1.2302831907524405E-22</c:v>
                </c:pt>
                <c:pt idx="14">
                  <c:v>1.4035700789516107E-22</c:v>
                </c:pt>
                <c:pt idx="15">
                  <c:v>1.6012538110673899E-22</c:v>
                </c:pt>
                <c:pt idx="16">
                  <c:v>1.8267675038625731E-22</c:v>
                </c:pt>
                <c:pt idx="17">
                  <c:v>2.0840271190449595E-22</c:v>
                </c:pt>
                <c:pt idx="18">
                  <c:v>2.3774993313231085E-22</c:v>
                </c:pt>
                <c:pt idx="19">
                  <c:v>2.7122789295357428E-22</c:v>
                </c:pt>
                <c:pt idx="20">
                  <c:v>3.0941770889219583E-22</c:v>
                </c:pt>
                <c:pt idx="21">
                  <c:v>3.5298220402554579E-22</c:v>
                </c:pt>
                <c:pt idx="22">
                  <c:v>4.0267738755165969E-22</c:v>
                </c:pt>
                <c:pt idx="23">
                  <c:v>4.5936554736986529E-22</c:v>
                </c:pt>
                <c:pt idx="24">
                  <c:v>5.2403018084384746E-22</c:v>
                </c:pt>
                <c:pt idx="25">
                  <c:v>5.9779302162029943E-22</c:v>
                </c:pt>
                <c:pt idx="26">
                  <c:v>6.8193345652044919E-22</c:v>
                </c:pt>
                <c:pt idx="27">
                  <c:v>7.7791066772707939E-22</c:v>
                </c:pt>
                <c:pt idx="28">
                  <c:v>8.873888824635708E-22</c:v>
                </c:pt>
                <c:pt idx="29">
                  <c:v>1.0122661659115342E-21</c:v>
                </c:pt>
                <c:pt idx="30">
                  <c:v>1.1547072541582697E-21</c:v>
                </c:pt>
                <c:pt idx="31">
                  <c:v>1.3171809935533798E-21</c:v>
                </c:pt>
                <c:pt idx="32">
                  <c:v>1.5025030321786315E-21</c:v>
                </c:pt>
                <c:pt idx="33">
                  <c:v>1.7138844995584917E-21</c:v>
                </c:pt>
                <c:pt idx="34">
                  <c:v>1.9549875138097985E-21</c:v>
                </c:pt>
                <c:pt idx="35">
                  <c:v>2.2299884729174562E-21</c:v>
                </c:pt>
                <c:pt idx="36">
                  <c:v>2.5436502207393135E-21</c:v>
                </c:pt>
                <c:pt idx="37">
                  <c:v>2.9014043309857849E-21</c:v>
                </c:pt>
                <c:pt idx="38">
                  <c:v>3.3094449263993534E-21</c:v>
                </c:pt>
                <c:pt idx="39">
                  <c:v>3.7748356486579329E-21</c:v>
                </c:pt>
                <c:pt idx="40">
                  <c:v>4.3056316205379773E-21</c:v>
                </c:pt>
                <c:pt idx="41">
                  <c:v>4.9110184994633691E-21</c:v>
                </c:pt>
                <c:pt idx="42">
                  <c:v>5.6014710151462364E-21</c:v>
                </c:pt>
                <c:pt idx="43">
                  <c:v>6.388933718611932E-21</c:v>
                </c:pt>
                <c:pt idx="44">
                  <c:v>7.2870270512136128E-21</c:v>
                </c:pt>
                <c:pt idx="45">
                  <c:v>8.3112822768020565E-21</c:v>
                </c:pt>
                <c:pt idx="46">
                  <c:v>9.4794093154401922E-21</c:v>
                </c:pt>
                <c:pt idx="47">
                  <c:v>1.08116020814073E-20</c:v>
                </c:pt>
                <c:pt idx="48">
                  <c:v>1.2330886571343813E-20</c:v>
                </c:pt>
                <c:pt idx="49">
                  <c:v>1.4063517681240695E-20</c:v>
                </c:pt>
                <c:pt idx="50">
                  <c:v>1.6039431566050906E-20</c:v>
                </c:pt>
                <c:pt idx="51">
                  <c:v>1.8292761307267057E-20</c:v>
                </c:pt>
                <c:pt idx="52">
                  <c:v>2.0862424738052653E-20</c:v>
                </c:pt>
                <c:pt idx="53">
                  <c:v>2.3792794510949061E-20</c:v>
                </c:pt>
                <c:pt idx="54">
                  <c:v>2.7134461900805237E-20</c:v>
                </c:pt>
                <c:pt idx="55">
                  <c:v>3.0945107439402221E-20</c:v>
                </c:pt>
                <c:pt idx="56">
                  <c:v>3.5290493305522224E-20</c:v>
                </c:pt>
                <c:pt idx="57">
                  <c:v>4.0245594476057837E-20</c:v>
                </c:pt>
                <c:pt idx="58">
                  <c:v>4.5895888015557148E-20</c:v>
                </c:pt>
                <c:pt idx="59">
                  <c:v>5.23388225836645E-20</c:v>
                </c:pt>
                <c:pt idx="60">
                  <c:v>5.9685493318163914E-20</c:v>
                </c:pt>
                <c:pt idx="61">
                  <c:v>6.8062550758010937E-20</c:v>
                </c:pt>
                <c:pt idx="62">
                  <c:v>7.7614376465423905E-20</c:v>
                </c:pt>
                <c:pt idx="63">
                  <c:v>8.8505562556485232E-20</c:v>
                </c:pt>
                <c:pt idx="64">
                  <c:v>1.0092373753303435E-19</c:v>
                </c:pt>
                <c:pt idx="65">
                  <c:v>1.150827867127497E-19</c:v>
                </c:pt>
                <c:pt idx="66">
                  <c:v>1.3122652227913498E-19</c:v>
                </c:pt>
                <c:pt idx="67">
                  <c:v>1.4963286563278473E-19</c:v>
                </c:pt>
                <c:pt idx="68">
                  <c:v>1.7061861344910435E-19</c:v>
                </c:pt>
                <c:pt idx="69">
                  <c:v>1.9454486878346272E-19</c:v>
                </c:pt>
                <c:pt idx="70">
                  <c:v>2.2182322988045001E-19</c:v>
                </c:pt>
                <c:pt idx="71">
                  <c:v>2.5292284223064503E-19</c:v>
                </c:pt>
                <c:pt idx="72">
                  <c:v>2.883784340938803E-19</c:v>
                </c:pt>
                <c:pt idx="73">
                  <c:v>3.2879947242006275E-19</c:v>
                </c:pt>
                <c:pt idx="74">
                  <c:v>3.7488059512915854E-19</c:v>
                </c:pt>
                <c:pt idx="75">
                  <c:v>4.2741349738186338E-19</c:v>
                </c:pt>
                <c:pt idx="76">
                  <c:v>4.8730047414696984E-19</c:v>
                </c:pt>
                <c:pt idx="77">
                  <c:v>5.5556984946611558E-19</c:v>
                </c:pt>
                <c:pt idx="78">
                  <c:v>6.3339355480432849E-19</c:v>
                </c:pt>
                <c:pt idx="79">
                  <c:v>7.2210715529383252E-19</c:v>
                </c:pt>
                <c:pt idx="80">
                  <c:v>8.2323266414083646E-19</c:v>
                </c:pt>
                <c:pt idx="81">
                  <c:v>9.3850453266797421E-19</c:v>
                </c:pt>
                <c:pt idx="82">
                  <c:v>1.0698992572003065E-18</c:v>
                </c:pt>
                <c:pt idx="83">
                  <c:v>1.219669105173045E-18</c:v>
                </c:pt>
                <c:pt idx="84">
                  <c:v>1.3903805324692399E-18</c:v>
                </c:pt>
                <c:pt idx="85">
                  <c:v>1.5849579432536145E-18</c:v>
                </c:pt>
                <c:pt idx="86">
                  <c:v>1.8067335337812403E-18</c:v>
                </c:pt>
                <c:pt idx="87">
                  <c:v>2.0595040643361413E-18</c:v>
                </c:pt>
                <c:pt idx="88">
                  <c:v>2.3475955203142376E-18</c:v>
                </c:pt>
                <c:pt idx="89">
                  <c:v>2.6759367564580798E-18</c:v>
                </c:pt>
                <c:pt idx="90">
                  <c:v>3.050143369599668E-18</c:v>
                </c:pt>
                <c:pt idx="91">
                  <c:v>3.4766132175001006E-18</c:v>
                </c:pt>
                <c:pt idx="92">
                  <c:v>3.9626351973570378E-18</c:v>
                </c:pt>
                <c:pt idx="93">
                  <c:v>4.5165131205570804E-18</c:v>
                </c:pt>
                <c:pt idx="94">
                  <c:v>5.1477067739856372E-18</c:v>
                </c:pt>
                <c:pt idx="95">
                  <c:v>5.8669925468973212E-18</c:v>
                </c:pt>
                <c:pt idx="96">
                  <c:v>6.6866463307946883E-18</c:v>
                </c:pt>
                <c:pt idx="97">
                  <c:v>7.6206517734126828E-18</c:v>
                </c:pt>
                <c:pt idx="98">
                  <c:v>8.6849373929722413E-18</c:v>
                </c:pt>
                <c:pt idx="99">
                  <c:v>9.8976465423831453E-18</c:v>
                </c:pt>
                <c:pt idx="100">
                  <c:v>1.1279444763067582E-17</c:v>
                </c:pt>
                <c:pt idx="101">
                  <c:v>1.2853869693640704E-17</c:v>
                </c:pt>
                <c:pt idx="102">
                  <c:v>1.4647729410165139E-17</c:v>
                </c:pt>
                <c:pt idx="103">
                  <c:v>1.669155588385609E-17</c:v>
                </c:pt>
                <c:pt idx="104">
                  <c:v>1.902012116230876E-17</c:v>
                </c:pt>
                <c:pt idx="105">
                  <c:v>2.1673024926717408E-17</c:v>
                </c:pt>
                <c:pt idx="106">
                  <c:v>2.4695363267415422E-17</c:v>
                </c:pt>
                <c:pt idx="107">
                  <c:v>2.8138489872954506E-17</c:v>
                </c:pt>
                <c:pt idx="108">
                  <c:v>3.2060882366118026E-17</c:v>
                </c:pt>
                <c:pt idx="109">
                  <c:v>3.6529128268991436E-17</c:v>
                </c:pt>
                <c:pt idx="110">
                  <c:v>4.1619047067200177E-17</c:v>
                </c:pt>
                <c:pt idx="111">
                  <c:v>4.7416967103239085E-17</c:v>
                </c:pt>
                <c:pt idx="112">
                  <c:v>5.402117859748266E-17</c:v>
                </c:pt>
                <c:pt idx="113">
                  <c:v>6.1543587015008345E-17</c:v>
                </c:pt>
                <c:pt idx="114">
                  <c:v>7.0111594314449653E-17</c:v>
                </c:pt>
                <c:pt idx="115">
                  <c:v>7.9870239385917956E-17</c:v>
                </c:pt>
                <c:pt idx="116">
                  <c:v>9.0984633270045074E-17</c:v>
                </c:pt>
                <c:pt idx="117">
                  <c:v>1.0364272961917727E-16</c:v>
                </c:pt>
                <c:pt idx="118">
                  <c:v>1.1805847639385635E-16</c:v>
                </c:pt>
                <c:pt idx="119">
                  <c:v>1.3447540107287569E-16</c:v>
                </c:pt>
                <c:pt idx="120">
                  <c:v>1.5317068879528097E-16</c:v>
                </c:pt>
                <c:pt idx="121">
                  <c:v>1.7445982096342504E-16</c:v>
                </c:pt>
                <c:pt idx="122">
                  <c:v>1.9870185104886092E-16</c:v>
                </c:pt>
                <c:pt idx="123">
                  <c:v>2.2630540480620652E-16</c:v>
                </c:pt>
                <c:pt idx="124">
                  <c:v>2.5773550398319142E-16</c:v>
                </c:pt>
                <c:pt idx="125">
                  <c:v>2.935213261091895E-16</c:v>
                </c:pt>
                <c:pt idx="126">
                  <c:v>3.3426502826693709E-16</c:v>
                </c:pt>
                <c:pt idx="127">
                  <c:v>3.8065178014910502E-16</c:v>
                </c:pt>
                <c:pt idx="128">
                  <c:v>4.3346117145182802E-16</c:v>
                </c:pt>
                <c:pt idx="129">
                  <c:v>4.9358018107809685E-16</c:v>
                </c:pt>
                <c:pt idx="130">
                  <c:v>5.6201792107309852E-16</c:v>
                </c:pt>
                <c:pt idx="131">
                  <c:v>6.3992239709852513E-16</c:v>
                </c:pt>
                <c:pt idx="132">
                  <c:v>7.2859956003320722E-16</c:v>
                </c:pt>
                <c:pt idx="133">
                  <c:v>8.2953496048602459E-16</c:v>
                </c:pt>
                <c:pt idx="134">
                  <c:v>9.4441836021438574E-16</c:v>
                </c:pt>
                <c:pt idx="135">
                  <c:v>1.0751717023281306E-15</c:v>
                </c:pt>
                <c:pt idx="136">
                  <c:v>1.2239808964823695E-15</c:v>
                </c:pt>
                <c:pt idx="137">
                  <c:v>1.3933319368831691E-15</c:v>
                </c:pt>
                <c:pt idx="138">
                  <c:v>1.5860519408196922E-15</c:v>
                </c:pt>
                <c:pt idx="139">
                  <c:v>1.8053557746960978E-15</c:v>
                </c:pt>
                <c:pt idx="140">
                  <c:v>2.0548990244132359E-15</c:v>
                </c:pt>
                <c:pt idx="141">
                  <c:v>2.338838168855072E-15</c:v>
                </c:pt>
                <c:pt idx="142">
                  <c:v>2.6618989307626482E-15</c:v>
                </c:pt>
                <c:pt idx="143">
                  <c:v>3.0294539102378909E-15</c:v>
                </c:pt>
                <c:pt idx="144">
                  <c:v>3.447610754552121E-15</c:v>
                </c:pt>
                <c:pt idx="145">
                  <c:v>3.9233122861516224E-15</c:v>
                </c:pt>
                <c:pt idx="146">
                  <c:v>4.4644502013694374E-15</c:v>
                </c:pt>
                <c:pt idx="147">
                  <c:v>5.07999416832266E-15</c:v>
                </c:pt>
                <c:pt idx="148">
                  <c:v>5.780138397140475E-15</c:v>
                </c:pt>
                <c:pt idx="149">
                  <c:v>6.5764680328051725E-15</c:v>
                </c:pt>
                <c:pt idx="150">
                  <c:v>7.4821480347639924E-15</c:v>
                </c:pt>
                <c:pt idx="151">
                  <c:v>8.5121375629081499E-15</c:v>
                </c:pt>
                <c:pt idx="152">
                  <c:v>9.6834332919604375E-15</c:v>
                </c:pt>
                <c:pt idx="153">
                  <c:v>1.1015345531919207E-14</c:v>
                </c:pt>
                <c:pt idx="154">
                  <c:v>1.252981154792301E-14</c:v>
                </c:pt>
                <c:pt idx="155">
                  <c:v>1.4251751056567249E-14</c:v>
                </c:pt>
                <c:pt idx="156">
                  <c:v>1.620946953618047E-14</c:v>
                </c:pt>
                <c:pt idx="157">
                  <c:v>1.8435115735838459E-14</c:v>
                </c:pt>
                <c:pt idx="158">
                  <c:v>2.0965200613244991E-14</c:v>
                </c:pt>
                <c:pt idx="159">
                  <c:v>2.3841185887743311E-14</c:v>
                </c:pt>
                <c:pt idx="160">
                  <c:v>2.7110151475993958E-14</c:v>
                </c:pt>
                <c:pt idx="161">
                  <c:v>3.0825552300432538E-14</c:v>
                </c:pt>
                <c:pt idx="162">
                  <c:v>3.5048076342737248E-14</c:v>
                </c:pt>
                <c:pt idx="163">
                  <c:v>3.9846617376726406E-14</c:v>
                </c:pt>
                <c:pt idx="164">
                  <c:v>4.5299377580541116E-14</c:v>
                </c:pt>
                <c:pt idx="165">
                  <c:v>5.1495117222696485E-14</c:v>
                </c:pt>
                <c:pt idx="166">
                  <c:v>5.8534570869987375E-14</c:v>
                </c:pt>
                <c:pt idx="167">
                  <c:v>6.6532052110383859E-14</c:v>
                </c:pt>
                <c:pt idx="168">
                  <c:v>7.5617271658107743E-14</c:v>
                </c:pt>
                <c:pt idx="169">
                  <c:v>8.5937396952989513E-14</c:v>
                </c:pt>
                <c:pt idx="170">
                  <c:v>9.7659385028989112E-14</c:v>
                </c:pt>
                <c:pt idx="171">
                  <c:v>1.1097262456043428E-13</c:v>
                </c:pt>
                <c:pt idx="172">
                  <c:v>1.2609192765862503E-13</c:v>
                </c:pt>
                <c:pt idx="173">
                  <c:v>1.4326091725287103E-13</c:v>
                </c:pt>
                <c:pt idx="174">
                  <c:v>1.6275586182401145E-13</c:v>
                </c:pt>
                <c:pt idx="175">
                  <c:v>1.84890015949362E-13</c:v>
                </c:pt>
                <c:pt idx="176">
                  <c:v>2.1001853266082066E-13</c:v>
                </c:pt>
                <c:pt idx="177">
                  <c:v>2.3854402211877525E-13</c:v>
                </c:pt>
                <c:pt idx="178">
                  <c:v>2.7092284068308474E-13</c:v>
                </c:pt>
                <c:pt idx="179">
                  <c:v>3.0767220525253196E-13</c:v>
                </c:pt>
                <c:pt idx="180">
                  <c:v>3.4937823989611046E-13</c:v>
                </c:pt>
                <c:pt idx="181">
                  <c:v>3.9670507548139121E-13</c:v>
                </c:pt>
                <c:pt idx="182">
                  <c:v>4.5040513840581514E-13</c:v>
                </c:pt>
                <c:pt idx="183">
                  <c:v>5.1133078186712929E-13</c:v>
                </c:pt>
                <c:pt idx="184">
                  <c:v>5.8044743260563649E-13</c:v>
                </c:pt>
                <c:pt idx="185">
                  <c:v>6.5884844797824333E-13</c:v>
                </c:pt>
                <c:pt idx="186">
                  <c:v>7.4777190287810097E-13</c:v>
                </c:pt>
                <c:pt idx="187">
                  <c:v>8.4861955372470485E-13</c:v>
                </c:pt>
                <c:pt idx="188">
                  <c:v>9.6297825788768716E-13</c:v>
                </c:pt>
                <c:pt idx="189">
                  <c:v>1.0926441618855299E-12</c:v>
                </c:pt>
                <c:pt idx="190">
                  <c:v>1.2396500109792966E-12</c:v>
                </c:pt>
                <c:pt idx="191">
                  <c:v>1.4062959768759278E-12</c:v>
                </c:pt>
                <c:pt idx="192">
                  <c:v>1.5951844497384649E-12</c:v>
                </c:pt>
                <c:pt idx="193">
                  <c:v>1.8092592962125749E-12</c:v>
                </c:pt>
                <c:pt idx="194">
                  <c:v>2.0518501474306462E-12</c:v>
                </c:pt>
                <c:pt idx="195">
                  <c:v>2.3267223507423907E-12</c:v>
                </c:pt>
                <c:pt idx="196">
                  <c:v>2.6381332971240025E-12</c:v>
                </c:pt>
                <c:pt idx="197">
                  <c:v>2.9908959238217072E-12</c:v>
                </c:pt>
                <c:pt idx="198">
                  <c:v>3.3904502898794752E-12</c:v>
                </c:pt>
                <c:pt idx="199">
                  <c:v>3.8429442319965156E-12</c:v>
                </c:pt>
                <c:pt idx="200">
                  <c:v>4.3553242310079175E-12</c:v>
                </c:pt>
                <c:pt idx="201">
                  <c:v>4.9354377566673748E-12</c:v>
                </c:pt>
                <c:pt idx="202">
                  <c:v>5.5921485119988191E-12</c:v>
                </c:pt>
                <c:pt idx="203">
                  <c:v>6.3354661700976084E-12</c:v>
                </c:pt>
                <c:pt idx="204">
                  <c:v>7.1766923879408424E-12</c:v>
                </c:pt>
                <c:pt idx="205">
                  <c:v>8.1285850957476561E-12</c:v>
                </c:pt>
                <c:pt idx="206">
                  <c:v>9.2055432992016583E-12</c:v>
                </c:pt>
                <c:pt idx="207">
                  <c:v>1.0423814898143868E-11</c:v>
                </c:pt>
                <c:pt idx="208">
                  <c:v>1.1801730322194595E-11</c:v>
                </c:pt>
                <c:pt idx="209">
                  <c:v>1.3359965114493268E-11</c:v>
                </c:pt>
                <c:pt idx="210">
                  <c:v>1.5121834963035213E-11</c:v>
                </c:pt>
                <c:pt idx="211">
                  <c:v>1.7113627088964396E-11</c:v>
                </c:pt>
                <c:pt idx="212">
                  <c:v>1.9364972357098332E-11</c:v>
                </c:pt>
                <c:pt idx="213">
                  <c:v>2.1909262980788148E-11</c:v>
                </c:pt>
                <c:pt idx="214">
                  <c:v>2.4784121256298906E-11</c:v>
                </c:pt>
                <c:pt idx="215">
                  <c:v>2.8031925387100198E-11</c:v>
                </c:pt>
                <c:pt idx="216">
                  <c:v>3.1700399152182429E-11</c:v>
                </c:pt>
                <c:pt idx="217">
                  <c:v>3.5843272941792572E-11</c:v>
                </c:pt>
                <c:pt idx="218">
                  <c:v>4.0521024536434068E-11</c:v>
                </c:pt>
                <c:pt idx="219">
                  <c:v>4.5801708948972053E-11</c:v>
                </c:pt>
                <c:pt idx="220">
                  <c:v>5.1761887694282662E-11</c:v>
                </c:pt>
                <c:pt idx="221">
                  <c:v>5.8487669005964206E-11</c:v>
                </c:pt>
                <c:pt idx="222">
                  <c:v>6.6075871795902064E-11</c:v>
                </c:pt>
                <c:pt idx="223">
                  <c:v>7.4635327561539453E-11</c:v>
                </c:pt>
                <c:pt idx="224">
                  <c:v>8.4288336000116034E-11</c:v>
                </c:pt>
                <c:pt idx="225">
                  <c:v>9.5172291802454856E-11</c:v>
                </c:pt>
                <c:pt idx="226">
                  <c:v>1.0744150198566709E-10</c:v>
                </c:pt>
                <c:pt idx="227">
                  <c:v>1.2126921520016724E-10</c:v>
                </c:pt>
                <c:pt idx="228">
                  <c:v>1.3684988672839276E-10</c:v>
                </c:pt>
                <c:pt idx="229">
                  <c:v>1.5440170539875487E-10</c:v>
                </c:pt>
                <c:pt idx="230">
                  <c:v>1.7416941138771755E-10</c:v>
                </c:pt>
                <c:pt idx="231">
                  <c:v>1.964274368960897E-10</c:v>
                </c:pt>
                <c:pt idx="232">
                  <c:v>2.2148340498430581E-10</c:v>
                </c:pt>
                <c:pt idx="233">
                  <c:v>2.4968202545872251E-10</c:v>
                </c:pt>
                <c:pt idx="234">
                  <c:v>2.8140943064093703E-10</c:v>
                </c:pt>
                <c:pt idx="235">
                  <c:v>3.1709799815035648E-10</c:v>
                </c:pt>
                <c:pt idx="236">
                  <c:v>3.5723171251336217E-10</c:v>
                </c:pt>
                <c:pt idx="237">
                  <c:v>4.0235212250807577E-10</c:v>
                </c:pt>
                <c:pt idx="238">
                  <c:v>4.5306495669056695E-10</c:v>
                </c:pt>
                <c:pt idx="239">
                  <c:v>5.1004746555605944E-10</c:v>
                </c:pt>
                <c:pt idx="240">
                  <c:v>5.7405656529721435E-10</c:v>
                </c:pt>
                <c:pt idx="241">
                  <c:v>6.4593786516142269E-10</c:v>
                </c:pt>
                <c:pt idx="242">
                  <c:v>7.2663566801130171E-10</c:v>
                </c:pt>
                <c:pt idx="243">
                  <c:v>8.1720404188702732E-10</c:v>
                </c:pt>
                <c:pt idx="244">
                  <c:v>9.1881906918622088E-10</c:v>
                </c:pt>
                <c:pt idx="245">
                  <c:v>1.0327923895451596E-9</c:v>
                </c:pt>
                <c:pt idx="246">
                  <c:v>1.1605861626509131E-9</c:v>
                </c:pt>
                <c:pt idx="247">
                  <c:v>1.3038295880628909E-9</c:v>
                </c:pt>
                <c:pt idx="248">
                  <c:v>1.4643371306948087E-9</c:v>
                </c:pt>
                <c:pt idx="249">
                  <c:v>1.6441286129222779E-9</c:v>
                </c:pt>
                <c:pt idx="250">
                  <c:v>1.8454513473494537E-9</c:v>
                </c:pt>
                <c:pt idx="251">
                  <c:v>2.070804498096095E-9</c:v>
                </c:pt>
                <c:pt idx="252">
                  <c:v>2.3229658730536852E-9</c:v>
                </c:pt>
                <c:pt idx="253">
                  <c:v>2.6050213648947838E-9</c:v>
                </c:pt>
                <c:pt idx="254">
                  <c:v>2.9203972746833635E-9</c:v>
                </c:pt>
                <c:pt idx="255">
                  <c:v>3.2728957686930605E-9</c:v>
                </c:pt>
                <c:pt idx="256">
                  <c:v>3.6667337364462095E-9</c:v>
                </c:pt>
                <c:pt idx="257">
                  <c:v>4.1065853359773912E-9</c:v>
                </c:pt>
                <c:pt idx="258">
                  <c:v>4.5976285308181166E-9</c:v>
                </c:pt>
                <c:pt idx="259">
                  <c:v>5.1455959420887251E-9</c:v>
                </c:pt>
                <c:pt idx="260">
                  <c:v>5.7568303582464187E-9</c:v>
                </c:pt>
                <c:pt idx="261">
                  <c:v>6.438345264313173E-9</c:v>
                </c:pt>
                <c:pt idx="262">
                  <c:v>7.1978907716177367E-9</c:v>
                </c:pt>
                <c:pt idx="263">
                  <c:v>8.0440253480071463E-9</c:v>
                </c:pt>
                <c:pt idx="264">
                  <c:v>8.9861937668636235E-9</c:v>
                </c:pt>
                <c:pt idx="265">
                  <c:v>1.0034811710810944E-8</c:v>
                </c:pt>
                <c:pt idx="266">
                  <c:v>1.1201357482363965E-8</c:v>
                </c:pt>
                <c:pt idx="267">
                  <c:v>1.2498471288591558E-8</c:v>
                </c:pt>
                <c:pt idx="268">
                  <c:v>1.3940062579678129E-8</c:v>
                </c:pt>
                <c:pt idx="269">
                  <c:v>1.5541425931601759E-8</c:v>
                </c:pt>
                <c:pt idx="270">
                  <c:v>1.7319365970444557E-8</c:v>
                </c:pt>
                <c:pt idx="271">
                  <c:v>1.9292331839501793E-8</c:v>
                </c:pt>
                <c:pt idx="272">
                  <c:v>2.1480561709692968E-8</c:v>
                </c:pt>
                <c:pt idx="273">
                  <c:v>2.3906237828060443E-8</c:v>
                </c:pt>
                <c:pt idx="274">
                  <c:v>2.6593652587561253E-8</c:v>
                </c:pt>
                <c:pt idx="275">
                  <c:v>2.9569386083046266E-8</c:v>
                </c:pt>
                <c:pt idx="276">
                  <c:v>3.2862495592337256E-8</c:v>
                </c:pt>
                <c:pt idx="277">
                  <c:v>3.6504717386644594E-8</c:v>
                </c:pt>
                <c:pt idx="278">
                  <c:v>4.0530681230154795E-8</c:v>
                </c:pt>
                <c:pt idx="279">
                  <c:v>4.4978137873322992E-8</c:v>
                </c:pt>
                <c:pt idx="280">
                  <c:v>4.9888199777042215E-8</c:v>
                </c:pt>
                <c:pt idx="281">
                  <c:v>5.5305595224231358E-8</c:v>
                </c:pt>
                <c:pt idx="282">
                  <c:v>6.1278935880170522E-8</c:v>
                </c:pt>
                <c:pt idx="283">
                  <c:v>6.7860997751908027E-8</c:v>
                </c:pt>
                <c:pt idx="284">
                  <c:v>7.5109015368909414E-8</c:v>
                </c:pt>
                <c:pt idx="285">
                  <c:v>8.3084988860598539E-8</c:v>
                </c:pt>
                <c:pt idx="286">
                  <c:v>9.1856003440266997E-8</c:v>
                </c:pt>
                <c:pt idx="287">
                  <c:v>1.0149456061789141E-7</c:v>
                </c:pt>
                <c:pt idx="288">
                  <c:v>1.120789202555381E-7</c:v>
                </c:pt>
                <c:pt idx="289">
                  <c:v>1.2369345234734306E-7</c:v>
                </c:pt>
                <c:pt idx="290">
                  <c:v>1.3642899715074465E-7</c:v>
                </c:pt>
                <c:pt idx="291">
                  <c:v>1.5038323201606371E-7</c:v>
                </c:pt>
                <c:pt idx="292">
                  <c:v>1.6566104295737509E-7</c:v>
                </c:pt>
                <c:pt idx="293">
                  <c:v>1.8237489867883377E-7</c:v>
                </c:pt>
                <c:pt idx="294">
                  <c:v>2.0064522441748091E-7</c:v>
                </c:pt>
                <c:pt idx="295">
                  <c:v>2.2060077258676426E-7</c:v>
                </c:pt>
                <c:pt idx="296">
                  <c:v>2.4237898680572162E-7</c:v>
                </c:pt>
                <c:pt idx="297">
                  <c:v>2.661263554786782E-7</c:v>
                </c:pt>
                <c:pt idx="298">
                  <c:v>2.9199875065155419E-7</c:v>
                </c:pt>
                <c:pt idx="299">
                  <c:v>3.2016174741647251E-7</c:v>
                </c:pt>
                <c:pt idx="300">
                  <c:v>3.5079091866975385E-7</c:v>
                </c:pt>
                <c:pt idx="301">
                  <c:v>3.8407209955387825E-7</c:v>
                </c:pt>
                <c:pt idx="302">
                  <c:v>4.202016154368078E-7</c:v>
                </c:pt>
                <c:pt idx="303">
                  <c:v>4.593864668078792E-7</c:v>
                </c:pt>
                <c:pt idx="304">
                  <c:v>5.0184446400536356E-7</c:v>
                </c:pt>
                <c:pt idx="305">
                  <c:v>5.478043042441074E-7</c:v>
                </c:pt>
                <c:pt idx="306">
                  <c:v>5.9750558299124361E-7</c:v>
                </c:pt>
                <c:pt idx="307">
                  <c:v>6.5119873135303831E-7</c:v>
                </c:pt>
                <c:pt idx="308">
                  <c:v>7.0914487079686556E-7</c:v>
                </c:pt>
                <c:pt idx="309">
                  <c:v>7.7161557625030746E-7</c:v>
                </c:pt>
                <c:pt idx="310">
                  <c:v>8.3889253840601366E-7</c:v>
                </c:pt>
                <c:pt idx="311">
                  <c:v>9.1126711592906809E-7</c:v>
                </c:pt>
                <c:pt idx="312">
                  <c:v>9.8903976822592764E-7</c:v>
                </c:pt>
                <c:pt idx="313">
                  <c:v>1.0725193595039917E-6</c:v>
                </c:pt>
                <c:pt idx="314">
                  <c:v>1.1620223250422799E-6</c:v>
                </c:pt>
                <c:pt idx="315">
                  <c:v>1.257871690919545E-6</c:v>
                </c:pt>
                <c:pt idx="316">
                  <c:v>1.3603959389206336E-6</c:v>
                </c:pt>
                <c:pt idx="317">
                  <c:v>1.4699277089764895E-6</c:v>
                </c:pt>
                <c:pt idx="318">
                  <c:v>1.5868023323012013E-6</c:v>
                </c:pt>
                <c:pt idx="319">
                  <c:v>1.7113561893801042E-6</c:v>
                </c:pt>
                <c:pt idx="320">
                  <c:v>1.8439248881468278E-6</c:v>
                </c:pt>
                <c:pt idx="321">
                  <c:v>1.9848412590702206E-6</c:v>
                </c:pt>
                <c:pt idx="322">
                  <c:v>2.1344331654602292E-6</c:v>
                </c:pt>
                <c:pt idx="323">
                  <c:v>2.2930211290968538E-6</c:v>
                </c:pt>
                <c:pt idx="324">
                  <c:v>2.4609157732873737E-6</c:v>
                </c:pt>
                <c:pt idx="325">
                  <c:v>2.638415087660359E-6</c:v>
                </c:pt>
                <c:pt idx="326">
                  <c:v>2.8258015214015457E-6</c:v>
                </c:pt>
                <c:pt idx="327">
                  <c:v>3.0233389142153444E-6</c:v>
                </c:pt>
                <c:pt idx="328">
                  <c:v>3.2312692770384719E-6</c:v>
                </c:pt>
                <c:pt idx="329">
                  <c:v>3.449809437419251E-6</c:v>
                </c:pt>
                <c:pt idx="330">
                  <c:v>3.6791475674791283E-6</c:v>
                </c:pt>
                <c:pt idx="331">
                  <c:v>3.9194396154627438E-6</c:v>
                </c:pt>
                <c:pt idx="332">
                  <c:v>4.1708056650224037E-6</c:v>
                </c:pt>
                <c:pt idx="333">
                  <c:v>4.433326249530098E-6</c:v>
                </c:pt>
                <c:pt idx="334">
                  <c:v>4.7070386518221841E-6</c:v>
                </c:pt>
                <c:pt idx="335">
                  <c:v>4.9919332228058138E-6</c:v>
                </c:pt>
                <c:pt idx="336">
                  <c:v>5.287949755240637E-6</c:v>
                </c:pt>
                <c:pt idx="337">
                  <c:v>5.5949739516955172E-6</c:v>
                </c:pt>
                <c:pt idx="338">
                  <c:v>5.9128340281109534E-6</c:v>
                </c:pt>
                <c:pt idx="339">
                  <c:v>6.2412974965087857E-6</c:v>
                </c:pt>
                <c:pt idx="340">
                  <c:v>6.5800681721244944E-6</c:v>
                </c:pt>
                <c:pt idx="341">
                  <c:v>6.9287834515287068E-6</c:v>
                </c:pt>
                <c:pt idx="342">
                  <c:v>7.2870119090956459E-6</c:v>
                </c:pt>
                <c:pt idx="343">
                  <c:v>7.6542512594105789E-6</c:v>
                </c:pt>
                <c:pt idx="344">
                  <c:v>8.0299267328325758E-6</c:v>
                </c:pt>
                <c:pt idx="345">
                  <c:v>8.4133899103971863E-6</c:v>
                </c:pt>
                <c:pt idx="346">
                  <c:v>8.8039180625143228E-6</c:v>
                </c:pt>
                <c:pt idx="347">
                  <c:v>9.2007140334627631E-6</c:v>
                </c:pt>
                <c:pt idx="348">
                  <c:v>9.6029067104766932E-6</c:v>
                </c:pt>
                <c:pt idx="349">
                  <c:v>1.0009552112256763E-5</c:v>
                </c:pt>
                <c:pt idx="350">
                  <c:v>1.0419635127017581E-5</c:v>
                </c:pt>
                <c:pt idx="351">
                  <c:v>1.0832071924719187E-5</c:v>
                </c:pt>
                <c:pt idx="352">
                  <c:v>1.1245713061953891E-5</c:v>
                </c:pt>
                <c:pt idx="353">
                  <c:v>1.165934729111268E-5</c:v>
                </c:pt>
                <c:pt idx="354">
                  <c:v>1.2071706077995464E-5</c:v>
                </c:pt>
                <c:pt idx="355">
                  <c:v>1.2481468824032387E-5</c:v>
                </c:pt>
                <c:pt idx="356">
                  <c:v>1.2887268780830367E-5</c:v>
                </c:pt>
                <c:pt idx="357">
                  <c:v>1.3287699635961573E-5</c:v>
                </c:pt>
                <c:pt idx="358">
                  <c:v>1.368132273986645E-5</c:v>
                </c:pt>
                <c:pt idx="359">
                  <c:v>1.4066674934598123E-5</c:v>
                </c:pt>
                <c:pt idx="360">
                  <c:v>1.4442276936003821E-5</c:v>
                </c:pt>
                <c:pt idx="361">
                  <c:v>1.4806642211978223E-5</c:v>
                </c:pt>
                <c:pt idx="362">
                  <c:v>1.5158286290775998E-5</c:v>
                </c:pt>
                <c:pt idx="363">
                  <c:v>1.5495736425188093E-5</c:v>
                </c:pt>
                <c:pt idx="364">
                  <c:v>1.5817541530820929E-5</c:v>
                </c:pt>
                <c:pt idx="365">
                  <c:v>1.6122282309919185E-5</c:v>
                </c:pt>
                <c:pt idx="366">
                  <c:v>1.6408581466282346E-5</c:v>
                </c:pt>
                <c:pt idx="367">
                  <c:v>1.6675113911978668E-5</c:v>
                </c:pt>
                <c:pt idx="368">
                  <c:v>1.692061686288035E-5</c:v>
                </c:pt>
                <c:pt idx="369">
                  <c:v>1.7143899717635228E-5</c:v>
                </c:pt>
                <c:pt idx="370">
                  <c:v>1.734385361364916E-5</c:v>
                </c:pt>
                <c:pt idx="371">
                  <c:v>1.7519460554040735E-5</c:v>
                </c:pt>
                <c:pt idx="372">
                  <c:v>1.7669802001402124E-5</c:v>
                </c:pt>
                <c:pt idx="373">
                  <c:v>1.7794066837570847E-5</c:v>
                </c:pt>
                <c:pt idx="374">
                  <c:v>1.7891558593494768E-5</c:v>
                </c:pt>
                <c:pt idx="375">
                  <c:v>1.7961701859612715E-5</c:v>
                </c:pt>
                <c:pt idx="376">
                  <c:v>1.8004047794936631E-5</c:v>
                </c:pt>
                <c:pt idx="377">
                  <c:v>1.8018278662105953E-5</c:v>
                </c:pt>
                <c:pt idx="378">
                  <c:v>1.8004211325998593E-5</c:v>
                </c:pt>
                <c:pt idx="379">
                  <c:v>1.7961799664875895E-5</c:v>
                </c:pt>
                <c:pt idx="380">
                  <c:v>1.7891135855367546E-5</c:v>
                </c:pt>
                <c:pt idx="381">
                  <c:v>1.7792450505676666E-5</c:v>
                </c:pt>
                <c:pt idx="382">
                  <c:v>1.7666111625019615E-5</c:v>
                </c:pt>
                <c:pt idx="383">
                  <c:v>1.7512622431297741E-5</c:v>
                </c:pt>
                <c:pt idx="384">
                  <c:v>1.733261801310733E-5</c:v>
                </c:pt>
                <c:pt idx="385">
                  <c:v>1.7126860876212844E-5</c:v>
                </c:pt>
                <c:pt idx="386">
                  <c:v>1.6896235418303177E-5</c:v>
                </c:pt>
                <c:pt idx="387">
                  <c:v>1.6641741389005562E-5</c:v>
                </c:pt>
                <c:pt idx="388">
                  <c:v>1.6364486404527842E-5</c:v>
                </c:pt>
                <c:pt idx="389">
                  <c:v>1.6065677597736716E-5</c:v>
                </c:pt>
                <c:pt idx="390">
                  <c:v>1.5746612494769101E-5</c:v>
                </c:pt>
                <c:pt idx="391">
                  <c:v>1.5408669218251926E-5</c:v>
                </c:pt>
                <c:pt idx="392">
                  <c:v>1.5053296124727263E-5</c:v>
                </c:pt>
                <c:pt idx="393">
                  <c:v>1.4682000989830706E-5</c:v>
                </c:pt>
                <c:pt idx="394">
                  <c:v>1.4296339859060062E-5</c:v>
                </c:pt>
                <c:pt idx="395">
                  <c:v>1.3897905684551093E-5</c:v>
                </c:pt>
                <c:pt idx="396">
                  <c:v>1.3488316869106483E-5</c:v>
                </c:pt>
                <c:pt idx="397">
                  <c:v>1.3069205837829821E-5</c:v>
                </c:pt>
                <c:pt idx="398">
                  <c:v>1.2642207755117953E-5</c:v>
                </c:pt>
                <c:pt idx="399">
                  <c:v>1.2208949500545375E-5</c:v>
                </c:pt>
                <c:pt idx="400">
                  <c:v>1.1771039011424526E-5</c:v>
                </c:pt>
                <c:pt idx="401">
                  <c:v>1.1330055092667467E-5</c:v>
                </c:pt>
                <c:pt idx="402">
                  <c:v>1.0887537786165463E-5</c:v>
                </c:pt>
                <c:pt idx="403">
                  <c:v>1.0444979382394769E-5</c:v>
                </c:pt>
                <c:pt idx="404">
                  <c:v>1.0003816146548605E-5</c:v>
                </c:pt>
                <c:pt idx="405">
                  <c:v>9.5654208203690748E-6</c:v>
                </c:pt>
                <c:pt idx="406">
                  <c:v>9.1310959492195875E-6</c:v>
                </c:pt>
                <c:pt idx="407">
                  <c:v>8.7020680720018528E-6</c:v>
                </c:pt>
                <c:pt idx="408">
                  <c:v>8.2794827994806752E-6</c:v>
                </c:pt>
                <c:pt idx="409">
                  <c:v>7.8644007946474853E-6</c:v>
                </c:pt>
                <c:pt idx="410">
                  <c:v>7.4577946571050062E-6</c:v>
                </c:pt>
                <c:pt idx="411">
                  <c:v>7.0605467022782171E-6</c:v>
                </c:pt>
                <c:pt idx="412">
                  <c:v>6.6734476157113052E-6</c:v>
                </c:pt>
                <c:pt idx="413">
                  <c:v>6.2971959529348645E-6</c:v>
                </c:pt>
                <c:pt idx="414">
                  <c:v>5.9323984465112409E-6</c:v>
                </c:pt>
                <c:pt idx="415">
                  <c:v>5.5795710739838613E-6</c:v>
                </c:pt>
                <c:pt idx="416">
                  <c:v>5.2391408336486499E-6</c:v>
                </c:pt>
                <c:pt idx="417">
                  <c:v>4.9114481693838209E-6</c:v>
                </c:pt>
                <c:pt idx="418">
                  <c:v>4.5967499812488933E-6</c:v>
                </c:pt>
                <c:pt idx="419">
                  <c:v>4.2952231552016593E-6</c:v>
                </c:pt>
                <c:pt idx="420">
                  <c:v>4.0069685430682978E-6</c:v>
                </c:pt>
                <c:pt idx="421">
                  <c:v>3.7320153228009839E-6</c:v>
                </c:pt>
                <c:pt idx="422">
                  <c:v>3.4703256690180226E-6</c:v>
                </c:pt>
                <c:pt idx="423">
                  <c:v>3.22179966477274E-6</c:v>
                </c:pt>
                <c:pt idx="424">
                  <c:v>2.9862803873578035E-6</c:v>
                </c:pt>
                <c:pt idx="425">
                  <c:v>2.7635591036276646E-6</c:v>
                </c:pt>
                <c:pt idx="426">
                  <c:v>2.553380513711608E-6</c:v>
                </c:pt>
                <c:pt idx="427">
                  <c:v>2.3554479859866581E-6</c:v>
                </c:pt>
                <c:pt idx="428">
                  <c:v>2.1694287306729695E-6</c:v>
                </c:pt>
                <c:pt idx="429">
                  <c:v>1.9949588642936509E-6</c:v>
                </c:pt>
                <c:pt idx="430">
                  <c:v>1.8316483223978892E-6</c:v>
                </c:pt>
                <c:pt idx="431">
                  <c:v>1.6790855832748877E-6</c:v>
                </c:pt>
                <c:pt idx="432">
                  <c:v>1.5368421707881319E-6</c:v>
                </c:pt>
                <c:pt idx="433">
                  <c:v>1.4044769098416482E-6</c:v>
                </c:pt>
                <c:pt idx="434">
                  <c:v>1.281539913269388E-6</c:v>
                </c:pt>
                <c:pt idx="435">
                  <c:v>1.1675762840401229E-6</c:v>
                </c:pt>
                <c:pt idx="436">
                  <c:v>1.0621295215295419E-6</c:v>
                </c:pt>
                <c:pt idx="437">
                  <c:v>9.6474462517428702E-7</c:v>
                </c:pt>
                <c:pt idx="438">
                  <c:v>8.7497089304487175E-7</c:v>
                </c:pt>
                <c:pt idx="439">
                  <c:v>7.9236441672362439E-7</c:v>
                </c:pt>
                <c:pt idx="440">
                  <c:v>7.1649027732516539E-7</c:v>
                </c:pt>
                <c:pt idx="441">
                  <c:v>6.4692445053728832E-7</c:v>
                </c:pt>
                <c:pt idx="442">
                  <c:v>5.8325543118302793E-7</c:v>
                </c:pt>
                <c:pt idx="443">
                  <c:v>5.2508559001384803E-7</c:v>
                </c:pt>
                <c:pt idx="444">
                  <c:v>4.7203227724729818E-7</c:v>
                </c:pt>
                <c:pt idx="445">
                  <c:v>4.2372868877700842E-7</c:v>
                </c:pt>
                <c:pt idx="446">
                  <c:v>3.7982451202821221E-7</c:v>
                </c:pt>
                <c:pt idx="447">
                  <c:v>3.3998636913336229E-7</c:v>
                </c:pt>
                <c:pt idx="448">
                  <c:v>3.0389807548743286E-7</c:v>
                </c:pt>
                <c:pt idx="449">
                  <c:v>2.7126073184173366E-7</c:v>
                </c:pt>
                <c:pt idx="450">
                  <c:v>2.4179266793963846E-7</c:v>
                </c:pt>
                <c:pt idx="451">
                  <c:v>2.1522925532017694E-7</c:v>
                </c:pt>
                <c:pt idx="452">
                  <c:v>1.913226063479326E-7</c:v>
                </c:pt>
                <c:pt idx="453">
                  <c:v>1.6984117580173134E-7</c:v>
                </c:pt>
                <c:pt idx="454">
                  <c:v>1.5056928050048026E-7</c:v>
                </c:pt>
                <c:pt idx="455">
                  <c:v>1.3330655149102164E-7</c:v>
                </c:pt>
                <c:pt idx="456">
                  <c:v>1.1786733229671663E-7</c:v>
                </c:pt>
                <c:pt idx="457">
                  <c:v>1.0408003565133281E-7</c:v>
                </c:pt>
                <c:pt idx="458">
                  <c:v>9.1786470042777609E-8</c:v>
                </c:pt>
                <c:pt idx="459">
                  <c:v>8.0841146285181993E-8</c:v>
                </c:pt>
                <c:pt idx="460">
                  <c:v>7.1110573242829212E-8</c:v>
                </c:pt>
                <c:pt idx="461">
                  <c:v>6.2472550760348828E-8</c:v>
                </c:pt>
                <c:pt idx="462">
                  <c:v>5.4815466822597987E-8</c:v>
                </c:pt>
                <c:pt idx="463">
                  <c:v>4.8037604984854104E-8</c:v>
                </c:pt>
                <c:pt idx="464">
                  <c:v>4.2046467187008203E-8</c:v>
                </c:pt>
                <c:pt idx="465">
                  <c:v>3.675811620030665E-8</c:v>
                </c:pt>
                <c:pt idx="466">
                  <c:v>3.20965411556879E-8</c:v>
                </c:pt>
                <c:pt idx="467">
                  <c:v>2.7993048871294095E-8</c:v>
                </c:pt>
                <c:pt idx="468">
                  <c:v>2.4385683034157016E-8</c:v>
                </c:pt>
                <c:pt idx="469">
                  <c:v>2.121867269699021E-8</c:v>
                </c:pt>
                <c:pt idx="470">
                  <c:v>1.8441911024055413E-8</c:v>
                </c:pt>
                <c:pt idx="471">
                  <c:v>1.6010464757914799E-8</c:v>
                </c:pt>
                <c:pt idx="472">
                  <c:v>1.3884114478523535E-8</c:v>
                </c:pt>
                <c:pt idx="473">
                  <c:v>1.2026925384050266E-8</c:v>
                </c:pt>
                <c:pt idx="474">
                  <c:v>1.040684803509192E-8</c:v>
                </c:pt>
                <c:pt idx="475">
                  <c:v>8.9953482663955583E-9</c:v>
                </c:pt>
                <c:pt idx="476">
                  <c:v>7.7670652784770106E-9</c:v>
                </c:pt>
                <c:pt idx="477">
                  <c:v>6.6994967712491182E-9</c:v>
                </c:pt>
                <c:pt idx="478">
                  <c:v>5.7727098685946223E-9</c:v>
                </c:pt>
                <c:pt idx="479">
                  <c:v>4.9690765025042315E-9</c:v>
                </c:pt>
                <c:pt idx="480">
                  <c:v>4.2730318738619528E-9</c:v>
                </c:pt>
                <c:pt idx="481">
                  <c:v>3.670854580342316E-9</c:v>
                </c:pt>
                <c:pt idx="482">
                  <c:v>3.1504669965464817E-9</c:v>
                </c:pt>
                <c:pt idx="483">
                  <c:v>2.7012545040863762E-9</c:v>
                </c:pt>
                <c:pt idx="484">
                  <c:v>2.3139021967392692E-9</c:v>
                </c:pt>
                <c:pt idx="485">
                  <c:v>1.9802477252348053E-9</c:v>
                </c:pt>
                <c:pt idx="486">
                  <c:v>1.6931489951788409E-9</c:v>
                </c:pt>
                <c:pt idx="487">
                  <c:v>1.4463654878269814E-9</c:v>
                </c:pt>
                <c:pt idx="488">
                  <c:v>1.2344520349141232E-9</c:v>
                </c:pt>
                <c:pt idx="489">
                  <c:v>1.0526639438142263E-9</c:v>
                </c:pt>
                <c:pt idx="490">
                  <c:v>8.9687243646334963E-10</c:v>
                </c:pt>
                <c:pt idx="491">
                  <c:v>7.6348943347888194E-10</c:v>
                </c:pt>
                <c:pt idx="492">
                  <c:v>6.4940078269679327E-10</c:v>
                </c:pt>
                <c:pt idx="493">
                  <c:v>5.5190709806521071E-10</c:v>
                </c:pt>
                <c:pt idx="494">
                  <c:v>4.6867143978107124E-10</c:v>
                </c:pt>
                <c:pt idx="495">
                  <c:v>3.9767312918992462E-10</c:v>
                </c:pt>
                <c:pt idx="496">
                  <c:v>3.3716705187281567E-10</c:v>
                </c:pt>
                <c:pt idx="497">
                  <c:v>2.8564785921767328E-10</c:v>
                </c:pt>
                <c:pt idx="498">
                  <c:v>2.4181853241266981E-10</c:v>
                </c:pt>
                <c:pt idx="499">
                  <c:v>2.0456282308836925E-10</c:v>
                </c:pt>
                <c:pt idx="500">
                  <c:v>1.729211317243442E-10</c:v>
                </c:pt>
                <c:pt idx="501">
                  <c:v>1.4606942843527086E-10</c:v>
                </c:pt>
                <c:pt idx="502">
                  <c:v>1.2330086091757727E-10</c:v>
                </c:pt>
                <c:pt idx="503">
                  <c:v>1.040097312648625E-10</c:v>
                </c:pt>
                <c:pt idx="504">
                  <c:v>8.7677557172015846E-11</c:v>
                </c:pt>
                <c:pt idx="505">
                  <c:v>7.3860963888486313E-11</c:v>
                </c:pt>
                <c:pt idx="506">
                  <c:v>6.2181181310671786E-11</c:v>
                </c:pt>
                <c:pt idx="507">
                  <c:v>5.2314945991064378E-11</c:v>
                </c:pt>
                <c:pt idx="508">
                  <c:v>4.3986630762580264E-11</c:v>
                </c:pt>
                <c:pt idx="509">
                  <c:v>3.6961445306344021E-11</c:v>
                </c:pt>
                <c:pt idx="510">
                  <c:v>3.1039569504920649E-11</c:v>
                </c:pt>
                <c:pt idx="511">
                  <c:v>2.6051097990986979E-11</c:v>
                </c:pt>
                <c:pt idx="512">
                  <c:v>2.1851689088708901E-11</c:v>
                </c:pt>
                <c:pt idx="513">
                  <c:v>1.8318824509090403E-11</c:v>
                </c:pt>
                <c:pt idx="514">
                  <c:v>1.5348597850694105E-11</c:v>
                </c:pt>
                <c:pt idx="515">
                  <c:v>1.2852960313842235E-11</c:v>
                </c:pt>
                <c:pt idx="516">
                  <c:v>1.0757361190944664E-11</c:v>
                </c:pt>
                <c:pt idx="517">
                  <c:v>8.9987287697385449E-12</c:v>
                </c:pt>
                <c:pt idx="518">
                  <c:v>7.5237443924650471E-12</c:v>
                </c:pt>
                <c:pt idx="519">
                  <c:v>6.2873686555868866E-12</c:v>
                </c:pt>
                <c:pt idx="520">
                  <c:v>5.2515842060186878E-12</c:v>
                </c:pt>
                <c:pt idx="521">
                  <c:v>4.3843243768875774E-12</c:v>
                </c:pt>
                <c:pt idx="522">
                  <c:v>3.6585610864640027E-12</c:v>
                </c:pt>
                <c:pt idx="523">
                  <c:v>3.0515290684112446E-12</c:v>
                </c:pt>
                <c:pt idx="524">
                  <c:v>2.5440666731795586E-12</c:v>
                </c:pt>
                <c:pt idx="525">
                  <c:v>2.1200562359327476E-12</c:v>
                </c:pt>
                <c:pt idx="526">
                  <c:v>1.7659493965833741E-12</c:v>
                </c:pt>
                <c:pt idx="527">
                  <c:v>1.4703648274934551E-12</c:v>
                </c:pt>
                <c:pt idx="528">
                  <c:v>1.2237476143630248E-12</c:v>
                </c:pt>
                <c:pt idx="529">
                  <c:v>1.0180810813552156E-12</c:v>
                </c:pt>
                <c:pt idx="530">
                  <c:v>8.4664318406908336E-13</c:v>
                </c:pt>
                <c:pt idx="531">
                  <c:v>7.0380074131649079E-13</c:v>
                </c:pt>
                <c:pt idx="532">
                  <c:v>5.848357631920586E-13</c:v>
                </c:pt>
                <c:pt idx="533">
                  <c:v>4.8579898007538124E-13</c:v>
                </c:pt>
                <c:pt idx="534">
                  <c:v>4.0338640373609387E-13</c:v>
                </c:pt>
                <c:pt idx="535">
                  <c:v>3.3483537402578699E-13</c:v>
                </c:pt>
                <c:pt idx="536">
                  <c:v>2.7783707704553605E-13</c:v>
                </c:pt>
                <c:pt idx="537">
                  <c:v>2.3046297562968545E-13</c:v>
                </c:pt>
                <c:pt idx="538">
                  <c:v>1.9110298130944244E-13</c:v>
                </c:pt>
                <c:pt idx="539">
                  <c:v>1.5841352800782391E-13</c:v>
                </c:pt>
                <c:pt idx="540">
                  <c:v>1.3127398969898692E-13</c:v>
                </c:pt>
                <c:pt idx="541">
                  <c:v>1.0875012417548204E-13</c:v>
                </c:pt>
                <c:pt idx="542">
                  <c:v>9.0063428972933859E-14</c:v>
                </c:pt>
                <c:pt idx="543">
                  <c:v>7.4565468636376755E-14</c:v>
                </c:pt>
                <c:pt idx="544">
                  <c:v>6.1716379377189099E-14</c:v>
                </c:pt>
                <c:pt idx="545">
                  <c:v>5.1066881633809351E-14</c:v>
                </c:pt>
                <c:pt idx="546">
                  <c:v>4.2243236433386994E-14</c:v>
                </c:pt>
                <c:pt idx="547">
                  <c:v>3.4934670601137791E-14</c:v>
                </c:pt>
                <c:pt idx="548">
                  <c:v>2.8882871215024884E-14</c:v>
                </c:pt>
                <c:pt idx="549">
                  <c:v>2.3873213337773307E-14</c:v>
                </c:pt>
                <c:pt idx="550">
                  <c:v>1.9727438754112058E-14</c:v>
                </c:pt>
                <c:pt idx="551">
                  <c:v>1.6297548714317053E-14</c:v>
                </c:pt>
                <c:pt idx="552">
                  <c:v>1.3460711827485357E-14</c:v>
                </c:pt>
                <c:pt idx="553">
                  <c:v>1.1115020358261199E-14</c:v>
                </c:pt>
                <c:pt idx="554">
                  <c:v>9.17595519294456E-15</c:v>
                </c:pt>
                <c:pt idx="555">
                  <c:v>7.5734424483827261E-15</c:v>
                </c:pt>
                <c:pt idx="556">
                  <c:v>6.2494037723182992E-15</c:v>
                </c:pt>
                <c:pt idx="557">
                  <c:v>5.155718397150873E-15</c:v>
                </c:pt>
                <c:pt idx="558">
                  <c:v>4.2525284429627935E-15</c:v>
                </c:pt>
                <c:pt idx="559">
                  <c:v>3.5068302283998337E-15</c:v>
                </c:pt>
                <c:pt idx="560">
                  <c:v>2.8913037845640802E-15</c:v>
                </c:pt>
                <c:pt idx="561">
                  <c:v>2.383340668749549E-15</c:v>
                </c:pt>
                <c:pt idx="562">
                  <c:v>1.9642367873308323E-15</c:v>
                </c:pt>
                <c:pt idx="563">
                  <c:v>1.6185224675808228E-15</c:v>
                </c:pt>
                <c:pt idx="564">
                  <c:v>1.3334066410287893E-15</c:v>
                </c:pt>
                <c:pt idx="565">
                  <c:v>1.0983158630666767E-15</c:v>
                </c:pt>
                <c:pt idx="566">
                  <c:v>9.0451211828347613E-16</c:v>
                </c:pt>
                <c:pt idx="567">
                  <c:v>7.447760522553385E-16</c:v>
                </c:pt>
                <c:pt idx="568">
                  <c:v>6.1314451535031313E-16</c:v>
                </c:pt>
                <c:pt idx="569">
                  <c:v>5.0469317565780315E-16</c:v>
                </c:pt>
                <c:pt idx="570">
                  <c:v>4.1535651773676323E-16</c:v>
                </c:pt>
                <c:pt idx="571">
                  <c:v>3.4177884288211605E-16</c:v>
                </c:pt>
                <c:pt idx="572">
                  <c:v>2.8119096808756965E-16</c:v>
                </c:pt>
                <c:pt idx="573">
                  <c:v>2.3130822084880026E-16</c:v>
                </c:pt>
                <c:pt idx="574">
                  <c:v>1.9024607555030592E-16</c:v>
                </c:pt>
                <c:pt idx="575">
                  <c:v>1.5645039960571471E-16</c:v>
                </c:pt>
                <c:pt idx="576">
                  <c:v>1.2863979482322758E-16</c:v>
                </c:pt>
                <c:pt idx="577">
                  <c:v>1.0575794923361182E-16</c:v>
                </c:pt>
                <c:pt idx="578">
                  <c:v>8.6934271514126171E-17</c:v>
                </c:pt>
                <c:pt idx="579">
                  <c:v>7.1451376414385171E-17</c:v>
                </c:pt>
                <c:pt idx="580">
                  <c:v>5.8718235443752051E-17</c:v>
                </c:pt>
                <c:pt idx="581">
                  <c:v>4.8248011020593636E-17</c:v>
                </c:pt>
                <c:pt idx="582">
                  <c:v>3.9639761397320367E-17</c:v>
                </c:pt>
                <c:pt idx="583">
                  <c:v>3.2563343860424535E-17</c:v>
                </c:pt>
                <c:pt idx="584">
                  <c:v>2.674695987122971E-17</c:v>
                </c:pt>
                <c:pt idx="585">
                  <c:v>2.1966882043933722E-17</c:v>
                </c:pt>
                <c:pt idx="586">
                  <c:v>1.8038982549194578E-17</c:v>
                </c:pt>
                <c:pt idx="587">
                  <c:v>1.4811748505481463E-17</c:v>
                </c:pt>
                <c:pt idx="588">
                  <c:v>1.2160524521338432E-17</c:v>
                </c:pt>
                <c:pt idx="589">
                  <c:v>9.9827677270309363E-18</c:v>
                </c:pt>
                <c:pt idx="590">
                  <c:v>8.1941379998368276E-18</c:v>
                </c:pt>
                <c:pt idx="591">
                  <c:v>6.7252769848315695E-18</c:v>
                </c:pt>
                <c:pt idx="592">
                  <c:v>5.5191550551338033E-18</c:v>
                </c:pt>
                <c:pt idx="593">
                  <c:v>4.5288864647291317E-18</c:v>
                </c:pt>
                <c:pt idx="594">
                  <c:v>3.7159303880050453E-18</c:v>
                </c:pt>
                <c:pt idx="595">
                  <c:v>3.0486099466950676E-18</c:v>
                </c:pt>
                <c:pt idx="596">
                  <c:v>2.5008932220564931E-18</c:v>
                </c:pt>
                <c:pt idx="597">
                  <c:v>2.0513900725114638E-18</c:v>
                </c:pt>
                <c:pt idx="598">
                  <c:v>1.6825266844883995E-18</c:v>
                </c:pt>
                <c:pt idx="599">
                  <c:v>1.3798664747359274E-18</c:v>
                </c:pt>
                <c:pt idx="600">
                  <c:v>1.1315514822912352E-18</c:v>
                </c:pt>
                <c:pt idx="601">
                  <c:v>9.2784294140503801E-19</c:v>
                </c:pt>
                <c:pt idx="602">
                  <c:v>7.6074348156125964E-19</c:v>
                </c:pt>
                <c:pt idx="603">
                  <c:v>6.2368649660533859E-19</c:v>
                </c:pt>
                <c:pt idx="604">
                  <c:v>5.1128077701317168E-19</c:v>
                </c:pt>
                <c:pt idx="605">
                  <c:v>4.1910060262738673E-19</c:v>
                </c:pt>
                <c:pt idx="606">
                  <c:v>3.4351322629772671E-19</c:v>
                </c:pt>
                <c:pt idx="607">
                  <c:v>2.8153710669477234E-19</c:v>
                </c:pt>
                <c:pt idx="608">
                  <c:v>2.3072542464287631E-19</c:v>
                </c:pt>
                <c:pt idx="609">
                  <c:v>1.8907038587970798E-19</c:v>
                </c:pt>
                <c:pt idx="610">
                  <c:v>1.5492461064665595E-19</c:v>
                </c:pt>
                <c:pt idx="611">
                  <c:v>1.2693656706241392E-19</c:v>
                </c:pt>
                <c:pt idx="612">
                  <c:v>1.039975456368138E-19</c:v>
                </c:pt>
                <c:pt idx="613">
                  <c:v>8.5198117024843364E-20</c:v>
                </c:pt>
                <c:pt idx="614">
                  <c:v>6.9792381069195164E-20</c:v>
                </c:pt>
                <c:pt idx="615">
                  <c:v>5.7168616251344461E-20</c:v>
                </c:pt>
                <c:pt idx="616">
                  <c:v>4.6825186323648864E-20</c:v>
                </c:pt>
                <c:pt idx="617">
                  <c:v>3.835076458084158E-20</c:v>
                </c:pt>
                <c:pt idx="618">
                  <c:v>3.1408103724487543E-20</c:v>
                </c:pt>
                <c:pt idx="619">
                  <c:v>2.5720716992209064E-20</c:v>
                </c:pt>
                <c:pt idx="620">
                  <c:v>2.1061949440726513E-20</c:v>
                </c:pt>
                <c:pt idx="621">
                  <c:v>1.7246011334046271E-20</c:v>
                </c:pt>
                <c:pt idx="622">
                  <c:v>1.4120622073819163E-20</c:v>
                </c:pt>
                <c:pt idx="623">
                  <c:v>1.1560975961545673E-20</c:v>
                </c:pt>
                <c:pt idx="624">
                  <c:v>9.4647927254245709E-21</c:v>
                </c:pt>
                <c:pt idx="625">
                  <c:v>7.7482581724906894E-21</c:v>
                </c:pt>
                <c:pt idx="626">
                  <c:v>6.3426951784007279E-21</c:v>
                </c:pt>
                <c:pt idx="627">
                  <c:v>5.1918338531067661E-21</c:v>
                </c:pt>
                <c:pt idx="628">
                  <c:v>4.2495732293911456E-21</c:v>
                </c:pt>
                <c:pt idx="629">
                  <c:v>3.4781461256514214E-21</c:v>
                </c:pt>
                <c:pt idx="630">
                  <c:v>2.8466146844405225E-21</c:v>
                </c:pt>
                <c:pt idx="631">
                  <c:v>2.3296371006531583E-21</c:v>
                </c:pt>
                <c:pt idx="632">
                  <c:v>1.9064567349946383E-21</c:v>
                </c:pt>
                <c:pt idx="633">
                  <c:v>1.5600735757249019E-21</c:v>
                </c:pt>
                <c:pt idx="634">
                  <c:v>1.2765652071676529E-21</c:v>
                </c:pt>
                <c:pt idx="635">
                  <c:v>1.0445303482708003E-21</c:v>
                </c:pt>
                <c:pt idx="636">
                  <c:v>8.5463286956720739E-22</c:v>
                </c:pt>
                <c:pt idx="637">
                  <c:v>6.9922817214138494E-22</c:v>
                </c:pt>
                <c:pt idx="638">
                  <c:v>5.7205707334039641E-22</c:v>
                </c:pt>
                <c:pt idx="639">
                  <c:v>4.6799501917539025E-22</c:v>
                </c:pt>
                <c:pt idx="640">
                  <c:v>3.8284663756366372E-22</c:v>
                </c:pt>
                <c:pt idx="641">
                  <c:v>3.131774461907135E-22</c:v>
                </c:pt>
                <c:pt idx="642">
                  <c:v>2.561760045990287E-22</c:v>
                </c:pt>
                <c:pt idx="643">
                  <c:v>2.0954101028750823E-22</c:v>
                </c:pt>
                <c:pt idx="644">
                  <c:v>1.7138883091153194E-22</c:v>
                </c:pt>
                <c:pt idx="645">
                  <c:v>1.4017777819368543E-22</c:v>
                </c:pt>
                <c:pt idx="646">
                  <c:v>1.1464609612512101E-22</c:v>
                </c:pt>
                <c:pt idx="647">
                  <c:v>9.3761182740476374E-23</c:v>
                </c:pt>
                <c:pt idx="648">
                  <c:v>7.6678012898148571E-23</c:v>
                </c:pt>
                <c:pt idx="649">
                  <c:v>6.2705096783121699E-23</c:v>
                </c:pt>
                <c:pt idx="650">
                  <c:v>5.1276609869692794E-23</c:v>
                </c:pt>
                <c:pt idx="651">
                  <c:v>4.1929576761990646E-23</c:v>
                </c:pt>
                <c:pt idx="652">
                  <c:v>3.4285193463042968E-23</c:v>
                </c:pt>
                <c:pt idx="653">
                  <c:v>2.803353824978226E-23</c:v>
                </c:pt>
                <c:pt idx="654">
                  <c:v>2.2921057028702577E-23</c:v>
                </c:pt>
                <c:pt idx="655">
                  <c:v>1.8740320218382619E-23</c:v>
                </c:pt>
                <c:pt idx="656">
                  <c:v>1.5321639276888686E-23</c:v>
                </c:pt>
                <c:pt idx="657">
                  <c:v>1.252620559380983E-23</c:v>
                </c:pt>
                <c:pt idx="658">
                  <c:v>1.0240475571530047E-23</c:v>
                </c:pt>
                <c:pt idx="659">
                  <c:v>8.3715757688820771E-24</c:v>
                </c:pt>
                <c:pt idx="660">
                  <c:v>6.8435429690426393E-24</c:v>
                </c:pt>
                <c:pt idx="661">
                  <c:v>5.5942476006944567E-24</c:v>
                </c:pt>
                <c:pt idx="662">
                  <c:v>4.5728764299639552E-24</c:v>
                </c:pt>
                <c:pt idx="663">
                  <c:v>3.7378729488143849E-24</c:v>
                </c:pt>
                <c:pt idx="664">
                  <c:v>3.0552523156607526E-24</c:v>
                </c:pt>
                <c:pt idx="665">
                  <c:v>2.4972227930355227E-24</c:v>
                </c:pt>
                <c:pt idx="666">
                  <c:v>2.0410579812085317E-24</c:v>
                </c:pt>
                <c:pt idx="667">
                  <c:v>1.6681742600208059E-24</c:v>
                </c:pt>
                <c:pt idx="668">
                  <c:v>1.3633761301461976E-24</c:v>
                </c:pt>
                <c:pt idx="669">
                  <c:v>1.1142389222572053E-24</c:v>
                </c:pt>
                <c:pt idx="670">
                  <c:v>9.1060388940103618E-25</c:v>
                </c:pt>
                <c:pt idx="671">
                  <c:v>7.4416523850047866E-25</c:v>
                </c:pt>
                <c:pt idx="672">
                  <c:v>6.0813237257487582E-25</c:v>
                </c:pt>
                <c:pt idx="673">
                  <c:v>4.9695365665517907E-25</c:v>
                </c:pt>
                <c:pt idx="674">
                  <c:v>4.0609050901204361E-25</c:v>
                </c:pt>
                <c:pt idx="675">
                  <c:v>3.3183265605377247E-25</c:v>
                </c:pt>
                <c:pt idx="676">
                  <c:v>2.7114705572892986E-25</c:v>
                </c:pt>
                <c:pt idx="677">
                  <c:v>2.2155435798283194E-25</c:v>
                </c:pt>
                <c:pt idx="678">
                  <c:v>1.8102788654841498E-25</c:v>
                </c:pt>
                <c:pt idx="679">
                  <c:v>1.4791103926509825E-25</c:v>
                </c:pt>
                <c:pt idx="680">
                  <c:v>1.2084975097973908E-25</c:v>
                </c:pt>
                <c:pt idx="681">
                  <c:v>9.8737274111141019E-26</c:v>
                </c:pt>
                <c:pt idx="682">
                  <c:v>8.0669031819375419E-26</c:v>
                </c:pt>
                <c:pt idx="683">
                  <c:v>6.5905707624198879E-26</c:v>
                </c:pt>
                <c:pt idx="684">
                  <c:v>5.3843069798214684E-26</c:v>
                </c:pt>
                <c:pt idx="685">
                  <c:v>4.3987302462015974E-26</c:v>
                </c:pt>
                <c:pt idx="686">
                  <c:v>3.5934839094563947E-26</c:v>
                </c:pt>
                <c:pt idx="687">
                  <c:v>2.9355877205290076E-26</c:v>
                </c:pt>
                <c:pt idx="688">
                  <c:v>2.3980902618321391E-26</c:v>
                </c:pt>
                <c:pt idx="689">
                  <c:v>1.9589674249310241E-26</c:v>
                </c:pt>
                <c:pt idx="690">
                  <c:v>1.6002220382364548E-26</c:v>
                </c:pt>
                <c:pt idx="691">
                  <c:v>1.3071479335149585E-26</c:v>
                </c:pt>
                <c:pt idx="692">
                  <c:v>1.0677284361115937E-26</c:v>
                </c:pt>
                <c:pt idx="693">
                  <c:v>8.7214473894259392E-27</c:v>
                </c:pt>
                <c:pt idx="694">
                  <c:v>7.123740977945464E-27</c:v>
                </c:pt>
                <c:pt idx="695">
                  <c:v>5.8186144614893666E-27</c:v>
                </c:pt>
                <c:pt idx="696">
                  <c:v>4.7525102114484044E-27</c:v>
                </c:pt>
                <c:pt idx="697">
                  <c:v>3.8816703963546505E-27</c:v>
                </c:pt>
                <c:pt idx="698">
                  <c:v>3.1703446417407339E-27</c:v>
                </c:pt>
                <c:pt idx="699">
                  <c:v>2.5893253467761208E-27</c:v>
                </c:pt>
                <c:pt idx="700">
                  <c:v>2.114750788979429E-27</c:v>
                </c:pt>
                <c:pt idx="701">
                  <c:v>1.7271270815077652E-27</c:v>
                </c:pt>
                <c:pt idx="702">
                  <c:v>1.4105289852791381E-27</c:v>
                </c:pt>
                <c:pt idx="703">
                  <c:v>1.1519468842506737E-27</c:v>
                </c:pt>
                <c:pt idx="704">
                  <c:v>9.4075320503538855E-28</c:v>
                </c:pt>
                <c:pt idx="705">
                  <c:v>7.6826644330856715E-28</c:v>
                </c:pt>
                <c:pt idx="706">
                  <c:v>6.2739495036162817E-28</c:v>
                </c:pt>
                <c:pt idx="707">
                  <c:v>5.1234589445002372E-28</c:v>
                </c:pt>
                <c:pt idx="708">
                  <c:v>4.1838747751079838E-28</c:v>
                </c:pt>
                <c:pt idx="709">
                  <c:v>3.416546667056354E-28</c:v>
                </c:pt>
                <c:pt idx="710">
                  <c:v>2.7899048091718052E-28</c:v>
                </c:pt>
                <c:pt idx="711">
                  <c:v>2.2781632775307558E-28</c:v>
                </c:pt>
                <c:pt idx="712">
                  <c:v>1.8602607593928188E-28</c:v>
                </c:pt>
                <c:pt idx="713">
                  <c:v>1.5189952007665475E-28</c:v>
                </c:pt>
                <c:pt idx="714">
                  <c:v>1.24031689006416E-28</c:v>
                </c:pt>
                <c:pt idx="715">
                  <c:v>1.0127509816997193E-28</c:v>
                </c:pt>
                <c:pt idx="716">
                  <c:v>8.2692576821066166E-29</c:v>
                </c:pt>
                <c:pt idx="717">
                  <c:v>6.7518734339008589E-29</c:v>
                </c:pt>
                <c:pt idx="718">
                  <c:v>5.512848414020954E-29</c:v>
                </c:pt>
                <c:pt idx="719">
                  <c:v>4.5011333040767029E-29</c:v>
                </c:pt>
                <c:pt idx="720">
                  <c:v>3.6750380421199631E-29</c:v>
                </c:pt>
                <c:pt idx="721">
                  <c:v>3.000516475190763E-29</c:v>
                </c:pt>
                <c:pt idx="722">
                  <c:v>2.4497652897363418E-29</c:v>
                </c:pt>
                <c:pt idx="723">
                  <c:v>2.0000796603641762E-29</c:v>
                </c:pt>
                <c:pt idx="724">
                  <c:v>1.6329185955554774E-29</c:v>
                </c:pt>
                <c:pt idx="725">
                  <c:v>1.3331415673504472E-29</c:v>
                </c:pt>
                <c:pt idx="726">
                  <c:v>1.0883850471761567E-29</c:v>
                </c:pt>
                <c:pt idx="727">
                  <c:v>8.8855331506035521E-30</c:v>
                </c:pt>
                <c:pt idx="728">
                  <c:v>7.2540260451167229E-30</c:v>
                </c:pt>
                <c:pt idx="729">
                  <c:v>5.9220148030661703E-30</c:v>
                </c:pt>
                <c:pt idx="730">
                  <c:v>4.8345347896202017E-30</c:v>
                </c:pt>
                <c:pt idx="731">
                  <c:v>3.946706010650887E-30</c:v>
                </c:pt>
                <c:pt idx="732">
                  <c:v>3.2218833519389602E-30</c:v>
                </c:pt>
                <c:pt idx="733">
                  <c:v>2.630146007504698E-30</c:v>
                </c:pt>
                <c:pt idx="734">
                  <c:v>2.1470639194701613E-30</c:v>
                </c:pt>
                <c:pt idx="735">
                  <c:v>1.7526904465374654E-30</c:v>
                </c:pt>
                <c:pt idx="736">
                  <c:v>1.4307397847594082E-30</c:v>
                </c:pt>
                <c:pt idx="737">
                  <c:v>1.16791526540933E-30</c:v>
                </c:pt>
                <c:pt idx="738">
                  <c:v>9.5336086468232119E-31</c:v>
                </c:pt>
                <c:pt idx="739">
                  <c:v>7.782133308473418E-31</c:v>
                </c:pt>
                <c:pt idx="740">
                  <c:v>6.3523647634306809E-31</c:v>
                </c:pt>
                <c:pt idx="741">
                  <c:v>5.1852256566878389E-31</c:v>
                </c:pt>
                <c:pt idx="742">
                  <c:v>4.2324849244424986E-31</c:v>
                </c:pt>
                <c:pt idx="743">
                  <c:v>3.4547669587587289E-31</c:v>
                </c:pt>
                <c:pt idx="744">
                  <c:v>2.8199260955020174E-31</c:v>
                </c:pt>
                <c:pt idx="745">
                  <c:v>2.301719406029535E-31</c:v>
                </c:pt>
                <c:pt idx="746">
                  <c:v>1.8787230648322041E-31</c:v>
                </c:pt>
                <c:pt idx="747">
                  <c:v>1.5334476023029551E-31</c:v>
                </c:pt>
                <c:pt idx="748">
                  <c:v>1.2516155499110309E-31</c:v>
                </c:pt>
                <c:pt idx="749">
                  <c:v>1.0215716791682674E-31</c:v>
                </c:pt>
                <c:pt idx="750">
                  <c:v>8.3380150134915715E-32</c:v>
                </c:pt>
                <c:pt idx="751">
                  <c:v>6.8053816050784732E-32</c:v>
                </c:pt>
                <c:pt idx="752">
                  <c:v>5.5544149631318128E-32</c:v>
                </c:pt>
                <c:pt idx="753">
                  <c:v>4.5333603061866941E-32</c:v>
                </c:pt>
                <c:pt idx="754">
                  <c:v>3.6999706187796015E-32</c:v>
                </c:pt>
                <c:pt idx="755">
                  <c:v>3.0197603676690437E-32</c:v>
                </c:pt>
                <c:pt idx="756">
                  <c:v>2.4645798845307752E-32</c:v>
                </c:pt>
                <c:pt idx="757">
                  <c:v>2.0114515464856052E-32</c:v>
                </c:pt>
                <c:pt idx="758">
                  <c:v>1.6416196897293901E-32</c:v>
                </c:pt>
                <c:pt idx="759">
                  <c:v>1.3397750132920852E-32</c:v>
                </c:pt>
                <c:pt idx="760">
                  <c:v>1.0934214334156684E-32</c:v>
                </c:pt>
                <c:pt idx="761">
                  <c:v>8.9235923177726083E-33</c:v>
                </c:pt>
                <c:pt idx="762">
                  <c:v>7.2826314152337539E-33</c:v>
                </c:pt>
                <c:pt idx="763">
                  <c:v>5.943379359616942E-33</c:v>
                </c:pt>
                <c:pt idx="764">
                  <c:v>4.8503728693213112E-33</c:v>
                </c:pt>
                <c:pt idx="765">
                  <c:v>3.9583427176773089E-33</c:v>
                </c:pt>
                <c:pt idx="766">
                  <c:v>3.2303404294876236E-33</c:v>
                </c:pt>
                <c:pt idx="767">
                  <c:v>2.6362091564191421E-33</c:v>
                </c:pt>
                <c:pt idx="768">
                  <c:v>2.1513355092320699E-33</c:v>
                </c:pt>
                <c:pt idx="769">
                  <c:v>1.7556307353393985E-33</c:v>
                </c:pt>
                <c:pt idx="770">
                  <c:v>1.432699109590429E-33</c:v>
                </c:pt>
                <c:pt idx="771">
                  <c:v>1.1691591415427987E-33</c:v>
                </c:pt>
                <c:pt idx="772">
                  <c:v>9.5408952614391358E-34</c:v>
                </c:pt>
                <c:pt idx="773">
                  <c:v>7.7857691535653468E-34</c:v>
                </c:pt>
                <c:pt idx="774">
                  <c:v>6.3534680342402296E-34</c:v>
                </c:pt>
                <c:pt idx="775">
                  <c:v>5.184622530816373E-34</c:v>
                </c:pt>
                <c:pt idx="776">
                  <c:v>4.2307799600055435E-34</c:v>
                </c:pt>
                <c:pt idx="777">
                  <c:v>3.4523973205327877E-34</c:v>
                </c:pt>
                <c:pt idx="778">
                  <c:v>2.817203205332909E-34</c:v>
                </c:pt>
                <c:pt idx="779">
                  <c:v>2.2988608336263543E-34</c:v>
                </c:pt>
                <c:pt idx="780">
                  <c:v>1.8758768591699831E-34</c:v>
                </c:pt>
                <c:pt idx="781">
                  <c:v>1.5307107816526416E-34</c:v>
                </c:pt>
                <c:pt idx="782">
                  <c:v>1.249048088715021E-34</c:v>
                </c:pt>
                <c:pt idx="783">
                  <c:v>1.0192070333877164E-34</c:v>
                </c:pt>
                <c:pt idx="784">
                  <c:v>8.3165447991027473E-35</c:v>
                </c:pt>
                <c:pt idx="785">
                  <c:v>6.7861077063575038E-35</c:v>
                </c:pt>
                <c:pt idx="786">
                  <c:v>5.537272467214546E-35</c:v>
                </c:pt>
                <c:pt idx="787">
                  <c:v>4.5182306638915752E-35</c:v>
                </c:pt>
                <c:pt idx="788">
                  <c:v>3.6867041910936022E-35</c:v>
                </c:pt>
                <c:pt idx="789">
                  <c:v>3.0081923721627822E-35</c:v>
                </c:pt>
                <c:pt idx="790">
                  <c:v>2.4545414311629334E-35</c:v>
                </c:pt>
                <c:pt idx="791">
                  <c:v>2.0027770496298843E-35</c:v>
                </c:pt>
                <c:pt idx="792">
                  <c:v>1.6341516290002276E-35</c:v>
                </c:pt>
                <c:pt idx="793">
                  <c:v>1.3333667805902545E-35</c:v>
                </c:pt>
                <c:pt idx="794">
                  <c:v>1.0879388192077911E-35</c:v>
                </c:pt>
                <c:pt idx="795">
                  <c:v>8.8768096242356243E-36</c:v>
                </c:pt>
                <c:pt idx="796">
                  <c:v>7.2428077265862685E-36</c:v>
                </c:pt>
                <c:pt idx="797">
                  <c:v>5.9095532622661629E-36</c:v>
                </c:pt>
                <c:pt idx="798">
                  <c:v>4.8216981353740042E-36</c:v>
                </c:pt>
                <c:pt idx="799">
                  <c:v>3.9340790473740688E-36</c:v>
                </c:pt>
                <c:pt idx="800">
                  <c:v>3.2098435871798852E-36</c:v>
                </c:pt>
              </c:numCache>
            </c:numRef>
          </c:yVal>
          <c:smooth val="0"/>
          <c:extLst>
            <c:ext xmlns:c16="http://schemas.microsoft.com/office/drawing/2014/chart" uri="{C3380CC4-5D6E-409C-BE32-E72D297353CC}">
              <c16:uniqueId val="{00000004-1D62-4DE3-8E9D-34C68BC76380}"/>
            </c:ext>
          </c:extLst>
        </c:ser>
        <c:ser>
          <c:idx val="5"/>
          <c:order val="5"/>
          <c:tx>
            <c:strRef>
              <c:f>Calc!$I$6</c:f>
              <c:strCache>
                <c:ptCount val="1"/>
                <c:pt idx="0">
                  <c:v>6</c:v>
                </c:pt>
              </c:strCache>
            </c:strRef>
          </c:tx>
          <c:spPr>
            <a:ln w="28575">
              <a:noFill/>
            </a:ln>
          </c:spPr>
          <c:marker>
            <c:symbol val="circle"/>
            <c:size val="5"/>
            <c:spPr>
              <a:solidFill>
                <a:srgbClr val="800000"/>
              </a:solidFill>
              <a:ln>
                <a:solidFill>
                  <a:srgbClr val="8000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I$7:$I$807</c:f>
              <c:numCache>
                <c:formatCode>000,000,000</c:formatCode>
                <c:ptCount val="801"/>
                <c:pt idx="0">
                  <c:v>3.1537207221770187E-40</c:v>
                </c:pt>
                <c:pt idx="1">
                  <c:v>3.9622791884317892E-40</c:v>
                </c:pt>
                <c:pt idx="2">
                  <c:v>4.9781092666918516E-40</c:v>
                </c:pt>
                <c:pt idx="3">
                  <c:v>6.2543366601239486E-40</c:v>
                </c:pt>
                <c:pt idx="4">
                  <c:v>7.8577015826573148E-40</c:v>
                </c:pt>
                <c:pt idx="5">
                  <c:v>9.8720471696132485E-40</c:v>
                </c:pt>
                <c:pt idx="6">
                  <c:v>1.2402701557559518E-39</c:v>
                </c:pt>
                <c:pt idx="7">
                  <c:v>1.5581982532843773E-39</c:v>
                </c:pt>
                <c:pt idx="8">
                  <c:v>1.9576112265601231E-39</c:v>
                </c:pt>
                <c:pt idx="9">
                  <c:v>2.4593903271130334E-39</c:v>
                </c:pt>
                <c:pt idx="10">
                  <c:v>3.089766921492278E-39</c:v>
                </c:pt>
                <c:pt idx="11">
                  <c:v>3.8816930325947286E-39</c:v>
                </c:pt>
                <c:pt idx="12">
                  <c:v>4.8765629064313274E-39</c:v>
                </c:pt>
                <c:pt idx="13">
                  <c:v>6.126375491379702E-39</c:v>
                </c:pt>
                <c:pt idx="14">
                  <c:v>7.6964507293770598E-39</c:v>
                </c:pt>
                <c:pt idx="15">
                  <c:v>9.6688414610718566E-39</c:v>
                </c:pt>
                <c:pt idx="16">
                  <c:v>1.2146619046927357E-38</c:v>
                </c:pt>
                <c:pt idx="17">
                  <c:v>1.525925639649403E-38</c:v>
                </c:pt>
                <c:pt idx="18">
                  <c:v>1.9169389355623004E-38</c:v>
                </c:pt>
                <c:pt idx="19">
                  <c:v>2.4081309311333789E-38</c:v>
                </c:pt>
                <c:pt idx="20">
                  <c:v>3.0251630185064303E-38</c:v>
                </c:pt>
                <c:pt idx="21">
                  <c:v>3.8002686404505483E-38</c:v>
                </c:pt>
                <c:pt idx="22">
                  <c:v>4.7739360883457472E-38</c:v>
                </c:pt>
                <c:pt idx="23">
                  <c:v>5.9970220921334073E-38</c:v>
                </c:pt>
                <c:pt idx="24">
                  <c:v>7.5334064580235086E-38</c:v>
                </c:pt>
                <c:pt idx="25">
                  <c:v>9.4633262212856586E-38</c:v>
                </c:pt>
                <c:pt idx="26">
                  <c:v>1.1887563209636438E-37</c:v>
                </c:pt>
                <c:pt idx="27">
                  <c:v>1.4932703403120011E-37</c:v>
                </c:pt>
                <c:pt idx="28">
                  <c:v>1.8757742346291577E-37</c:v>
                </c:pt>
                <c:pt idx="29">
                  <c:v>2.3562381027728935E-37</c:v>
                </c:pt>
                <c:pt idx="30">
                  <c:v>2.9597444743946569E-37</c:v>
                </c:pt>
                <c:pt idx="31">
                  <c:v>3.7177968097075724E-37</c:v>
                </c:pt>
                <c:pt idx="32">
                  <c:v>4.6699628198088741E-37</c:v>
                </c:pt>
                <c:pt idx="33">
                  <c:v>5.8659382591752772E-37</c:v>
                </c:pt>
                <c:pt idx="34">
                  <c:v>7.368138746599229E-37</c:v>
                </c:pt>
                <c:pt idx="35">
                  <c:v>9.2549546757071677E-37</c:v>
                </c:pt>
                <c:pt idx="36">
                  <c:v>1.1624838812620913E-36</c:v>
                </c:pt>
                <c:pt idx="37">
                  <c:v>1.4601439543281181E-36</c:v>
                </c:pt>
                <c:pt idx="38">
                  <c:v>1.8340047182568839E-36</c:v>
                </c:pt>
                <c:pt idx="39">
                  <c:v>2.3035689124005471E-36</c:v>
                </c:pt>
                <c:pt idx="40">
                  <c:v>2.8933295448473952E-36</c:v>
                </c:pt>
                <c:pt idx="41">
                  <c:v>3.6340464387163762E-36</c:v>
                </c:pt>
                <c:pt idx="42">
                  <c:v>4.5643492352116319E-36</c:v>
                </c:pt>
                <c:pt idx="43">
                  <c:v>5.7327503142786345E-36</c:v>
                </c:pt>
                <c:pt idx="44">
                  <c:v>7.200172424086122E-36</c:v>
                </c:pt>
                <c:pt idx="45">
                  <c:v>9.0431225905297692E-36</c:v>
                </c:pt>
                <c:pt idx="46">
                  <c:v>1.135767749928283E-35</c:v>
                </c:pt>
                <c:pt idx="47">
                  <c:v>1.4264487752662243E-35</c:v>
                </c:pt>
                <c:pt idx="48">
                  <c:v>1.791506139479367E-35</c:v>
                </c:pt>
                <c:pt idx="49">
                  <c:v>2.2499653624010801E-35</c:v>
                </c:pt>
                <c:pt idx="50">
                  <c:v>2.8257173126505084E-35</c:v>
                </c:pt>
                <c:pt idx="51">
                  <c:v>3.5487620307056517E-35</c:v>
                </c:pt>
                <c:pt idx="52">
                  <c:v>4.4567704305196898E-35</c:v>
                </c:pt>
                <c:pt idx="53">
                  <c:v>5.597045090114346E-35</c:v>
                </c:pt>
                <c:pt idx="54">
                  <c:v>7.0289820811566321E-35</c:v>
                </c:pt>
                <c:pt idx="55">
                  <c:v>8.8271618214492991E-35</c:v>
                </c:pt>
                <c:pt idx="56">
                  <c:v>1.1085229613501142E-34</c:v>
                </c:pt>
                <c:pt idx="57">
                  <c:v>1.3920767552399934E-34</c:v>
                </c:pt>
                <c:pt idx="58">
                  <c:v>1.7481410974988297E-34</c:v>
                </c:pt>
                <c:pt idx="59">
                  <c:v>2.1952527250390946E-34</c:v>
                </c:pt>
                <c:pt idx="60">
                  <c:v>2.7566855830646315E-34</c:v>
                </c:pt>
                <c:pt idx="61">
                  <c:v>3.4616610295462912E-34</c:v>
                </c:pt>
                <c:pt idx="62">
                  <c:v>4.3468670914939362E-34</c:v>
                </c:pt>
                <c:pt idx="63">
                  <c:v>5.4583656641761785E-34</c:v>
                </c:pt>
                <c:pt idx="64">
                  <c:v>6.8539866741310915E-34</c:v>
                </c:pt>
                <c:pt idx="65">
                  <c:v>8.6063334903623523E-34</c:v>
                </c:pt>
                <c:pt idx="66">
                  <c:v>1.080655557420257E-33</c:v>
                </c:pt>
                <c:pt idx="67">
                  <c:v>1.3569084149056484E-33</c:v>
                </c:pt>
                <c:pt idx="68">
                  <c:v>1.7037576607020442E-33</c:v>
                </c:pt>
                <c:pt idx="69">
                  <c:v>2.1392378035451318E-33</c:v>
                </c:pt>
                <c:pt idx="70">
                  <c:v>2.68598868865671E-33</c:v>
                </c:pt>
                <c:pt idx="71">
                  <c:v>3.372431049677652E-33</c:v>
                </c:pt>
                <c:pt idx="72">
                  <c:v>4.2342419995526224E-33</c:v>
                </c:pt>
                <c:pt idx="73">
                  <c:v>5.3162069531748527E-33</c:v>
                </c:pt>
                <c:pt idx="74">
                  <c:v>6.6745439725975743E-33</c:v>
                </c:pt>
                <c:pt idx="75">
                  <c:v>8.3798209909592669E-33</c:v>
                </c:pt>
                <c:pt idx="76">
                  <c:v>1.052061706871304E-32</c:v>
                </c:pt>
                <c:pt idx="77">
                  <c:v>1.3208117351873907E-32</c:v>
                </c:pt>
                <c:pt idx="78">
                  <c:v>1.6581879727034777E-32</c:v>
                </c:pt>
                <c:pt idx="79">
                  <c:v>2.0817071798350188E-32</c:v>
                </c:pt>
                <c:pt idx="80">
                  <c:v>2.6133552879097533E-32</c:v>
                </c:pt>
                <c:pt idx="81">
                  <c:v>3.2807271122584062E-32</c:v>
                </c:pt>
                <c:pt idx="82">
                  <c:v>4.1184565640827748E-32</c:v>
                </c:pt>
                <c:pt idx="83">
                  <c:v>5.1700113653649466E-32</c:v>
                </c:pt>
                <c:pt idx="84">
                  <c:v>6.4899451125521025E-32</c:v>
                </c:pt>
                <c:pt idx="85">
                  <c:v>8.1467231702392396E-32</c:v>
                </c:pt>
                <c:pt idx="86">
                  <c:v>1.0226268524514412E-31</c:v>
                </c:pt>
                <c:pt idx="87">
                  <c:v>1.2836410915715066E-31</c:v>
                </c:pt>
                <c:pt idx="88">
                  <c:v>1.611246921906346E-31</c:v>
                </c:pt>
                <c:pt idx="89">
                  <c:v>2.0224255552929254E-31</c:v>
                </c:pt>
                <c:pt idx="90">
                  <c:v>2.5384862982724479E-31</c:v>
                </c:pt>
                <c:pt idx="91">
                  <c:v>3.1861690733474742E-31</c:v>
                </c:pt>
                <c:pt idx="92">
                  <c:v>3.9990276265296989E-31</c:v>
                </c:pt>
                <c:pt idx="93">
                  <c:v>5.0191648345753997E-31</c:v>
                </c:pt>
                <c:pt idx="94">
                  <c:v>6.2994096821681098E-31</c:v>
                </c:pt>
                <c:pt idx="95">
                  <c:v>7.9060482491477727E-31</c:v>
                </c:pt>
                <c:pt idx="96">
                  <c:v>9.9222496017495521E-31</c:v>
                </c:pt>
                <c:pt idx="97">
                  <c:v>1.245236328777262E-30</c:v>
                </c:pt>
                <c:pt idx="98">
                  <c:v>1.5627310034018912E-30</c:v>
                </c:pt>
                <c:pt idx="99">
                  <c:v>1.9611343542206067E-30</c:v>
                </c:pt>
                <c:pt idx="100">
                  <c:v>2.4610531868637576E-30</c:v>
                </c:pt>
                <c:pt idx="101">
                  <c:v>3.0883395377918486E-30</c:v>
                </c:pt>
                <c:pt idx="102">
                  <c:v>3.8754249225073453E-30</c:v>
                </c:pt>
                <c:pt idx="103">
                  <c:v>4.8629937437695983E-30</c:v>
                </c:pt>
                <c:pt idx="104">
                  <c:v>6.1020820076596809E-30</c:v>
                </c:pt>
                <c:pt idx="105">
                  <c:v>7.6567093593410347E-30</c:v>
                </c:pt>
                <c:pt idx="106">
                  <c:v>9.6071798584548129E-30</c:v>
                </c:pt>
                <c:pt idx="107">
                  <c:v>1.2054221270772643E-29</c:v>
                </c:pt>
                <c:pt idx="108">
                  <c:v>1.5124175717902957E-29</c:v>
                </c:pt>
                <c:pt idx="109">
                  <c:v>1.8975508505712644E-29</c:v>
                </c:pt>
                <c:pt idx="110">
                  <c:v>2.3806969607652205E-29</c:v>
                </c:pt>
                <c:pt idx="111">
                  <c:v>2.9867827073128832E-29</c:v>
                </c:pt>
                <c:pt idx="112">
                  <c:v>3.7470697900352516E-29</c:v>
                </c:pt>
                <c:pt idx="113">
                  <c:v>4.7007635090971738E-29</c:v>
                </c:pt>
                <c:pt idx="114">
                  <c:v>5.8970296496488897E-29</c:v>
                </c:pt>
                <c:pt idx="115">
                  <c:v>7.3975230199634315E-29</c:v>
                </c:pt>
                <c:pt idx="116">
                  <c:v>9.2795573226882679E-29</c:v>
                </c:pt>
                <c:pt idx="117">
                  <c:v>1.1640078873677847E-28</c:v>
                </c:pt>
                <c:pt idx="118">
                  <c:v>1.4600647822528359E-28</c:v>
                </c:pt>
                <c:pt idx="119">
                  <c:v>1.8313682071437048E-28</c:v>
                </c:pt>
                <c:pt idx="120">
                  <c:v>2.2970283661735864E-28</c:v>
                </c:pt>
                <c:pt idx="121">
                  <c:v>2.88100482905636E-28</c:v>
                </c:pt>
                <c:pt idx="122">
                  <c:v>3.6133359953353748E-28</c:v>
                </c:pt>
                <c:pt idx="123">
                  <c:v>4.5316799639536308E-28</c:v>
                </c:pt>
                <c:pt idx="124">
                  <c:v>5.6832455997371455E-28</c:v>
                </c:pt>
                <c:pt idx="125">
                  <c:v>7.1272125014636319E-28</c:v>
                </c:pt>
                <c:pt idx="126">
                  <c:v>8.9377635156878588E-28</c:v>
                </c:pt>
                <c:pt idx="127">
                  <c:v>1.1207884673462896E-27</c:v>
                </c:pt>
                <c:pt idx="128">
                  <c:v>1.4054126539508558E-27</c:v>
                </c:pt>
                <c:pt idx="129">
                  <c:v>1.7622569940274632E-27</c:v>
                </c:pt>
                <c:pt idx="130">
                  <c:v>2.209630036311464E-27</c:v>
                </c:pt>
                <c:pt idx="131">
                  <c:v>2.7704772102504644E-27</c:v>
                </c:pt>
                <c:pt idx="132">
                  <c:v>3.4735539361557676E-27</c:v>
                </c:pt>
                <c:pt idx="133">
                  <c:v>4.3548951866323487E-27</c:v>
                </c:pt>
                <c:pt idx="134">
                  <c:v>5.4596563207694001E-27</c:v>
                </c:pt>
                <c:pt idx="135">
                  <c:v>6.8444188712027395E-27</c:v>
                </c:pt>
                <c:pt idx="136">
                  <c:v>8.5800785690457638E-27</c:v>
                </c:pt>
                <c:pt idx="137">
                  <c:v>1.0755462435435787E-26</c:v>
                </c:pt>
                <c:pt idx="138">
                  <c:v>1.3481858742772888E-26</c:v>
                </c:pt>
                <c:pt idx="139">
                  <c:v>1.6898689919413353E-26</c:v>
                </c:pt>
                <c:pt idx="140">
                  <c:v>2.118061637196746E-26</c:v>
                </c:pt>
                <c:pt idx="141">
                  <c:v>2.6546431647424474E-26</c:v>
                </c:pt>
                <c:pt idx="142">
                  <c:v>3.3270200001759594E-26</c:v>
                </c:pt>
                <c:pt idx="143">
                  <c:v>4.1695200844553416E-26</c:v>
                </c:pt>
                <c:pt idx="144">
                  <c:v>5.2251386394035265E-26</c:v>
                </c:pt>
                <c:pt idx="145">
                  <c:v>6.5477236333948009E-26</c:v>
                </c:pt>
                <c:pt idx="146">
                  <c:v>8.2047115225373088E-26</c:v>
                </c:pt>
                <c:pt idx="147">
                  <c:v>1.028055160329752E-25</c:v>
                </c:pt>
                <c:pt idx="148">
                  <c:v>1.2880992029818806E-25</c:v>
                </c:pt>
                <c:pt idx="149">
                  <c:v>1.6138443962992314E-25</c:v>
                </c:pt>
                <c:pt idx="150">
                  <c:v>2.0218694602571701E-25</c:v>
                </c:pt>
                <c:pt idx="151">
                  <c:v>2.5329307724505718E-25</c:v>
                </c:pt>
                <c:pt idx="152">
                  <c:v>3.1730135196475117E-25</c:v>
                </c:pt>
                <c:pt idx="153">
                  <c:v>3.9746469014245399E-25</c:v>
                </c:pt>
                <c:pt idx="154">
                  <c:v>4.9785495984327147E-25</c:v>
                </c:pt>
                <c:pt idx="155">
                  <c:v>6.2356882887007446E-25</c:v>
                </c:pt>
                <c:pt idx="156">
                  <c:v>7.8098527045396892E-25</c:v>
                </c:pt>
                <c:pt idx="157">
                  <c:v>9.7808766011398737E-25</c:v>
                </c:pt>
                <c:pt idx="158">
                  <c:v>1.2248666343123545E-24</c:v>
                </c:pt>
                <c:pt idx="159">
                  <c:v>1.5338239214141099E-24</c:v>
                </c:pt>
                <c:pt idx="160">
                  <c:v>1.9206024022995203E-24</c:v>
                </c:pt>
                <c:pt idx="161">
                  <c:v>2.4047739621258306E-24</c:v>
                </c:pt>
                <c:pt idx="162">
                  <c:v>3.0108245686190699E-24</c:v>
                </c:pt>
                <c:pt idx="163">
                  <c:v>3.7693858457292409E-24</c:v>
                </c:pt>
                <c:pt idx="164">
                  <c:v>4.7187746908819296E-24</c:v>
                </c:pt>
                <c:pt idx="165">
                  <c:v>5.9069178161310449E-24</c:v>
                </c:pt>
                <c:pt idx="166">
                  <c:v>7.3937572350595037E-24</c:v>
                </c:pt>
                <c:pt idx="167">
                  <c:v>9.2542566120961559E-24</c:v>
                </c:pt>
                <c:pt idx="168">
                  <c:v>1.1582158215965343E-23</c:v>
                </c:pt>
                <c:pt idx="169">
                  <c:v>1.4494677441657679E-23</c:v>
                </c:pt>
                <c:pt idx="170">
                  <c:v>1.8138368314950396E-23</c:v>
                </c:pt>
                <c:pt idx="171">
                  <c:v>2.2696451350296647E-23</c:v>
                </c:pt>
                <c:pt idx="172">
                  <c:v>2.8397967438641259E-23</c:v>
                </c:pt>
                <c:pt idx="173">
                  <c:v>3.5529211637497397E-23</c:v>
                </c:pt>
                <c:pt idx="174">
                  <c:v>4.4448013233428673E-23</c:v>
                </c:pt>
                <c:pt idx="175">
                  <c:v>5.5601568742957455E-23</c:v>
                </c:pt>
                <c:pt idx="176">
                  <c:v>6.9548709457392871E-23</c:v>
                </c:pt>
                <c:pt idx="177">
                  <c:v>8.6987703245078149E-23</c:v>
                </c:pt>
                <c:pt idx="178">
                  <c:v>1.0879096221577858E-22</c:v>
                </c:pt>
                <c:pt idx="179">
                  <c:v>1.3604836674075857E-22</c:v>
                </c:pt>
                <c:pt idx="180">
                  <c:v>1.7012133865684579E-22</c:v>
                </c:pt>
                <c:pt idx="181">
                  <c:v>2.1271032273325652E-22</c:v>
                </c:pt>
                <c:pt idx="182">
                  <c:v>2.6593899111623963E-22</c:v>
                </c:pt>
                <c:pt idx="183">
                  <c:v>3.3245930217566643E-22</c:v>
                </c:pt>
                <c:pt idx="184">
                  <c:v>4.1558256237164845E-22</c:v>
                </c:pt>
                <c:pt idx="185">
                  <c:v>5.1944290645253075E-22</c:v>
                </c:pt>
                <c:pt idx="186">
                  <c:v>6.4920118842973262E-22</c:v>
                </c:pt>
                <c:pt idx="187">
                  <c:v>8.1129923910859954E-22</c:v>
                </c:pt>
                <c:pt idx="188">
                  <c:v>1.013776889646257E-21</c:v>
                </c:pt>
                <c:pt idx="189">
                  <c:v>1.2666672016619899E-21</c:v>
                </c:pt>
                <c:pt idx="190">
                  <c:v>1.5824891282043907E-21</c:v>
                </c:pt>
                <c:pt idx="191">
                  <c:v>1.9768615369412025E-21</c:v>
                </c:pt>
                <c:pt idx="192">
                  <c:v>2.4692683815039824E-21</c:v>
                </c:pt>
                <c:pt idx="193">
                  <c:v>3.084012087380552E-21</c:v>
                </c:pt>
                <c:pt idx="194">
                  <c:v>3.8514012706697973E-21</c:v>
                </c:pt>
                <c:pt idx="195">
                  <c:v>4.8092301602423397E-21</c:v>
                </c:pt>
                <c:pt idx="196">
                  <c:v>6.0046210784752586E-21</c:v>
                </c:pt>
                <c:pt idx="197">
                  <c:v>7.4963187127611787E-21</c:v>
                </c:pt>
                <c:pt idx="198">
                  <c:v>9.3575464979334393E-21</c:v>
                </c:pt>
                <c:pt idx="199">
                  <c:v>1.1679562243404478E-20</c:v>
                </c:pt>
                <c:pt idx="200">
                  <c:v>1.4576083436029679E-20</c:v>
                </c:pt>
                <c:pt idx="201">
                  <c:v>1.818879398921092E-20</c:v>
                </c:pt>
                <c:pt idx="202">
                  <c:v>2.2694195521582653E-20</c:v>
                </c:pt>
                <c:pt idx="203">
                  <c:v>2.8312129926440094E-20</c:v>
                </c:pt>
                <c:pt idx="204">
                  <c:v>3.531637899720439E-20</c:v>
                </c:pt>
                <c:pt idx="205">
                  <c:v>4.4047844870352857E-20</c:v>
                </c:pt>
                <c:pt idx="206">
                  <c:v>5.4930936571602794E-20</c:v>
                </c:pt>
                <c:pt idx="207">
                  <c:v>6.8493938615647664E-20</c:v>
                </c:pt>
                <c:pt idx="208">
                  <c:v>8.5394324355037701E-20</c:v>
                </c:pt>
                <c:pt idx="209">
                  <c:v>1.06450208181046E-19</c:v>
                </c:pt>
                <c:pt idx="210">
                  <c:v>1.3267941735513794E-19</c:v>
                </c:pt>
                <c:pt idx="211">
                  <c:v>1.6534801929922598E-19</c:v>
                </c:pt>
                <c:pt idx="212">
                  <c:v>2.0603057978424686E-19</c:v>
                </c:pt>
                <c:pt idx="213">
                  <c:v>2.5668497161837959E-19</c:v>
                </c:pt>
                <c:pt idx="214">
                  <c:v>3.1974522682239871E-19</c:v>
                </c:pt>
                <c:pt idx="215">
                  <c:v>3.9823675833609073E-19</c:v>
                </c:pt>
                <c:pt idx="216">
                  <c:v>4.9591930758288977E-19</c:v>
                </c:pt>
                <c:pt idx="217">
                  <c:v>6.1746424803863633E-19</c:v>
                </c:pt>
                <c:pt idx="218">
                  <c:v>7.6867444938681175E-19</c:v>
                </c:pt>
                <c:pt idx="219">
                  <c:v>9.5675685222991597E-19</c:v>
                </c:pt>
                <c:pt idx="220">
                  <c:v>1.1906603062936133E-18</c:v>
                </c:pt>
                <c:pt idx="221">
                  <c:v>1.4814941922631949E-18</c:v>
                </c:pt>
                <c:pt idx="222">
                  <c:v>1.8430470100936628E-18</c:v>
                </c:pt>
                <c:pt idx="223">
                  <c:v>2.2924286363145911E-18</c:v>
                </c:pt>
                <c:pt idx="224">
                  <c:v>2.8508655280761758E-18</c:v>
                </c:pt>
                <c:pt idx="225">
                  <c:v>3.5446850265249777E-18</c:v>
                </c:pt>
                <c:pt idx="226">
                  <c:v>4.4065333864251119E-18</c:v>
                </c:pt>
                <c:pt idx="227">
                  <c:v>5.476882601014956E-18</c:v>
                </c:pt>
                <c:pt idx="228">
                  <c:v>6.8058939529484984E-18</c:v>
                </c:pt>
                <c:pt idx="229">
                  <c:v>8.4557220584413077E-18</c:v>
                </c:pt>
                <c:pt idx="230">
                  <c:v>1.0503362662578092E-17</c:v>
                </c:pt>
                <c:pt idx="231">
                  <c:v>1.3044171422852315E-17</c:v>
                </c:pt>
                <c:pt idx="232">
                  <c:v>1.6196210406785501E-17</c:v>
                </c:pt>
                <c:pt idx="233">
                  <c:v>2.0105615278632866E-17</c:v>
                </c:pt>
                <c:pt idx="234">
                  <c:v>2.4953220690427439E-17</c:v>
                </c:pt>
                <c:pt idx="235">
                  <c:v>3.0962736096314275E-17</c:v>
                </c:pt>
                <c:pt idx="236">
                  <c:v>3.8410831365383735E-17</c:v>
                </c:pt>
                <c:pt idx="237">
                  <c:v>4.7639573973939084E-17</c:v>
                </c:pt>
                <c:pt idx="238">
                  <c:v>5.9071760628900481E-17</c:v>
                </c:pt>
                <c:pt idx="239">
                  <c:v>7.3229810078344617E-17</c:v>
                </c:pt>
                <c:pt idx="240">
                  <c:v>9.0759035687457898E-17</c:v>
                </c:pt>
                <c:pt idx="241">
                  <c:v>1.1245630229630747E-16</c:v>
                </c:pt>
                <c:pt idx="242">
                  <c:v>1.3930529948013107E-16</c:v>
                </c:pt>
                <c:pt idx="243">
                  <c:v>1.7251994179538971E-16</c:v>
                </c:pt>
                <c:pt idx="244">
                  <c:v>2.1359774709924909E-16</c:v>
                </c:pt>
                <c:pt idx="245">
                  <c:v>2.6438546017361568E-16</c:v>
                </c:pt>
                <c:pt idx="246">
                  <c:v>3.2715969718810341E-16</c:v>
                </c:pt>
                <c:pt idx="247">
                  <c:v>4.0472600705801297E-16</c:v>
                </c:pt>
                <c:pt idx="248">
                  <c:v>5.0054050283006813E-16</c:v>
                </c:pt>
                <c:pt idx="249">
                  <c:v>6.1885913936584125E-16</c:v>
                </c:pt>
                <c:pt idx="250">
                  <c:v>7.6492083853550168E-16</c:v>
                </c:pt>
                <c:pt idx="251">
                  <c:v>9.4517203315437783E-16</c:v>
                </c:pt>
                <c:pt idx="252">
                  <c:v>1.1675418683318186E-15</c:v>
                </c:pt>
                <c:pt idx="253">
                  <c:v>1.4417793270161084E-15</c:v>
                </c:pt>
                <c:pt idx="254">
                  <c:v>1.7798660117049302E-15</c:v>
                </c:pt>
                <c:pt idx="255">
                  <c:v>2.1965213087244796E-15</c:v>
                </c:pt>
                <c:pt idx="256">
                  <c:v>2.7098202962868872E-15</c:v>
                </c:pt>
                <c:pt idx="257">
                  <c:v>3.3419491665644101E-15</c:v>
                </c:pt>
                <c:pt idx="258">
                  <c:v>4.1201282763402436E-15</c:v>
                </c:pt>
                <c:pt idx="259">
                  <c:v>5.0777394140673704E-15</c:v>
                </c:pt>
                <c:pt idx="260">
                  <c:v>6.2557017059890887E-15</c:v>
                </c:pt>
                <c:pt idx="261">
                  <c:v>7.7041500594634282E-15</c:v>
                </c:pt>
                <c:pt idx="262">
                  <c:v>9.4844814923770102E-15</c:v>
                </c:pt>
                <c:pt idx="263">
                  <c:v>1.1671848524217821E-14</c:v>
                </c:pt>
                <c:pt idx="264">
                  <c:v>1.4358195486308992E-14</c:v>
                </c:pt>
                <c:pt idx="265">
                  <c:v>1.7655953718677383E-14</c:v>
                </c:pt>
                <c:pt idx="266">
                  <c:v>2.1702535842717821E-14</c:v>
                </c:pt>
                <c:pt idx="267">
                  <c:v>2.6665798447403113E-14</c:v>
                </c:pt>
                <c:pt idx="268">
                  <c:v>3.2750677573052067E-14</c:v>
                </c:pt>
                <c:pt idx="269">
                  <c:v>4.020724347535165E-14</c:v>
                </c:pt>
                <c:pt idx="270">
                  <c:v>4.9340471675299384E-14</c:v>
                </c:pt>
                <c:pt idx="271">
                  <c:v>6.0522087875724159E-14</c:v>
                </c:pt>
                <c:pt idx="272">
                  <c:v>7.4204916880959078E-14</c:v>
                </c:pt>
                <c:pt idx="273">
                  <c:v>9.0940252475716606E-14</c:v>
                </c:pt>
                <c:pt idx="274">
                  <c:v>1.1139886899996407E-13</c:v>
                </c:pt>
                <c:pt idx="275">
                  <c:v>1.3639641928220505E-13</c:v>
                </c:pt>
                <c:pt idx="276">
                  <c:v>1.6692411141581952E-13</c:v>
                </c:pt>
                <c:pt idx="277">
                  <c:v>2.0418573299659625E-13</c:v>
                </c:pt>
                <c:pt idx="278">
                  <c:v>2.4964230107105995E-13</c:v>
                </c:pt>
                <c:pt idx="279">
                  <c:v>3.050658652589161E-13</c:v>
                </c:pt>
                <c:pt idx="280">
                  <c:v>3.726042874345147E-13</c:v>
                </c:pt>
                <c:pt idx="281">
                  <c:v>4.5485917231289759E-13</c:v>
                </c:pt>
                <c:pt idx="282">
                  <c:v>5.549795390096791E-13</c:v>
                </c:pt>
                <c:pt idx="283">
                  <c:v>6.7677431546057475E-13</c:v>
                </c:pt>
                <c:pt idx="284">
                  <c:v>8.2484731867160144E-13</c:v>
                </c:pt>
                <c:pt idx="285">
                  <c:v>1.0047590694199278E-12</c:v>
                </c:pt>
                <c:pt idx="286">
                  <c:v>1.2232205979564162E-12</c:v>
                </c:pt>
                <c:pt idx="287">
                  <c:v>1.488325347961219E-12</c:v>
                </c:pt>
                <c:pt idx="288">
                  <c:v>1.8098264031085123E-12</c:v>
                </c:pt>
                <c:pt idx="289">
                  <c:v>2.1994675713177743E-12</c:v>
                </c:pt>
                <c:pt idx="290">
                  <c:v>2.6713783973629387E-12</c:v>
                </c:pt>
                <c:pt idx="291">
                  <c:v>3.2425449707975865E-12</c:v>
                </c:pt>
                <c:pt idx="292">
                  <c:v>3.9333704940841482E-12</c:v>
                </c:pt>
                <c:pt idx="293">
                  <c:v>4.7683420220813799E-12</c:v>
                </c:pt>
                <c:pt idx="294">
                  <c:v>5.77682263176181E-12</c:v>
                </c:pt>
                <c:pt idx="295">
                  <c:v>6.9939915904253249E-12</c:v>
                </c:pt>
                <c:pt idx="296">
                  <c:v>8.4619589298835562E-12</c:v>
                </c:pt>
                <c:pt idx="297">
                  <c:v>1.0231085279910786E-11</c:v>
                </c:pt>
                <c:pt idx="298">
                  <c:v>1.2361542953038259E-11</c:v>
                </c:pt>
                <c:pt idx="299">
                  <c:v>1.4925160201222856E-11</c:v>
                </c:pt>
                <c:pt idx="300">
                  <c:v>1.8007597391012447E-11</c:v>
                </c:pt>
                <c:pt idx="301">
                  <c:v>2.1710911687643506E-11</c:v>
                </c:pt>
                <c:pt idx="302">
                  <c:v>2.6156575833059702E-11</c:v>
                </c:pt>
                <c:pt idx="303">
                  <c:v>3.1489026894859877E-11</c:v>
                </c:pt>
                <c:pt idx="304">
                  <c:v>3.7879832613833351E-11</c:v>
                </c:pt>
                <c:pt idx="305">
                  <c:v>4.5532576363083567E-11</c:v>
                </c:pt>
                <c:pt idx="306">
                  <c:v>5.4688576943257271E-11</c:v>
                </c:pt>
                <c:pt idx="307">
                  <c:v>6.5633576682955876E-11</c:v>
                </c:pt>
                <c:pt idx="308">
                  <c:v>7.8705550813328525E-11</c:v>
                </c:pt>
                <c:pt idx="309">
                  <c:v>9.430381307816916E-11</c:v>
                </c:pt>
                <c:pt idx="310">
                  <c:v>1.1289961727652056E-10</c:v>
                </c:pt>
                <c:pt idx="311">
                  <c:v>1.3504848217712421E-10</c:v>
                </c:pt>
                <c:pt idx="312">
                  <c:v>1.6140449826651235E-10</c:v>
                </c:pt>
                <c:pt idx="313">
                  <c:v>1.9273690937582371E-10</c:v>
                </c:pt>
                <c:pt idx="314">
                  <c:v>2.2994930065981184E-10</c:v>
                </c:pt>
                <c:pt idx="315">
                  <c:v>2.7410176695790112E-10</c:v>
                </c:pt>
                <c:pt idx="316">
                  <c:v>3.2643648252700011E-10</c:v>
                </c:pt>
                <c:pt idx="317">
                  <c:v>3.884071447604606E-10</c:v>
                </c:pt>
                <c:pt idx="318">
                  <c:v>4.6171282103476862E-10</c:v>
                </c:pt>
                <c:pt idx="319">
                  <c:v>5.4833678945997262E-10</c:v>
                </c:pt>
                <c:pt idx="320">
                  <c:v>6.5059103121073657E-10</c:v>
                </c:pt>
                <c:pt idx="321">
                  <c:v>7.7116710438268727E-10</c:v>
                </c:pt>
                <c:pt idx="322">
                  <c:v>9.1319420697872495E-10</c:v>
                </c:pt>
                <c:pt idx="323">
                  <c:v>1.0803053196163265E-9</c:v>
                </c:pt>
                <c:pt idx="324">
                  <c:v>1.2767124066805705E-9</c:v>
                </c:pt>
                <c:pt idx="325">
                  <c:v>1.5072917476177308E-9</c:v>
                </c:pt>
                <c:pt idx="326">
                  <c:v>1.7776805674015861E-9</c:v>
                </c:pt>
                <c:pt idx="327">
                  <c:v>2.0943862362588226E-9</c:v>
                </c:pt>
                <c:pt idx="328">
                  <c:v>2.4649094126508971E-9</c:v>
                </c:pt>
                <c:pt idx="329">
                  <c:v>2.8978826091797555E-9</c:v>
                </c:pt>
                <c:pt idx="330">
                  <c:v>3.4032257671517955E-9</c:v>
                </c:pt>
                <c:pt idx="331">
                  <c:v>3.9923205303362392E-9</c:v>
                </c:pt>
                <c:pt idx="332">
                  <c:v>4.6782050100099299E-9</c:v>
                </c:pt>
                <c:pt idx="333">
                  <c:v>5.4757909293496776E-9</c:v>
                </c:pt>
                <c:pt idx="334">
                  <c:v>6.4021051229034769E-9</c:v>
                </c:pt>
                <c:pt idx="335">
                  <c:v>7.4765574431219966E-9</c:v>
                </c:pt>
                <c:pt idx="336">
                  <c:v>8.7212371872280388E-9</c:v>
                </c:pt>
                <c:pt idx="337">
                  <c:v>1.0161240200072363E-8</c:v>
                </c:pt>
                <c:pt idx="338">
                  <c:v>1.1825028827659002E-8</c:v>
                </c:pt>
                <c:pt idx="339">
                  <c:v>1.3744826886888409E-8</c:v>
                </c:pt>
                <c:pt idx="340">
                  <c:v>1.5957051774486539E-8</c:v>
                </c:pt>
                <c:pt idx="341">
                  <c:v>1.850278575642326E-8</c:v>
                </c:pt>
                <c:pt idx="342">
                  <c:v>2.142828835235548E-8</c:v>
                </c:pt>
                <c:pt idx="343">
                  <c:v>2.4785551551461065E-8</c:v>
                </c:pt>
                <c:pt idx="344">
                  <c:v>2.8632899359953784E-8</c:v>
                </c:pt>
                <c:pt idx="345">
                  <c:v>3.3035632879922357E-8</c:v>
                </c:pt>
                <c:pt idx="346">
                  <c:v>3.8066721747299642E-8</c:v>
                </c:pt>
                <c:pt idx="347">
                  <c:v>4.380754230721313E-8</c:v>
                </c:pt>
                <c:pt idx="348">
                  <c:v>5.0348662371482387E-8</c:v>
                </c:pt>
                <c:pt idx="349">
                  <c:v>5.7790671779895914E-8</c:v>
                </c:pt>
                <c:pt idx="350">
                  <c:v>6.6245057269049021E-8</c:v>
                </c:pt>
                <c:pt idx="351">
                  <c:v>7.583511933588341E-8</c:v>
                </c:pt>
                <c:pt idx="352">
                  <c:v>8.6696927864630188E-8</c:v>
                </c:pt>
                <c:pt idx="353">
                  <c:v>9.8980312264193941E-8</c:v>
                </c:pt>
                <c:pt idx="354">
                  <c:v>1.128498807382791E-7</c:v>
                </c:pt>
                <c:pt idx="355">
                  <c:v>1.2848606208501433E-7</c:v>
                </c:pt>
                <c:pt idx="356">
                  <c:v>1.4608616210103089E-7</c:v>
                </c:pt>
                <c:pt idx="357">
                  <c:v>1.6586542525400122E-7</c:v>
                </c:pt>
                <c:pt idx="358">
                  <c:v>1.8805809079755888E-7</c:v>
                </c:pt>
                <c:pt idx="359">
                  <c:v>2.1291843094646538E-7</c:v>
                </c:pt>
                <c:pt idx="360">
                  <c:v>2.4072175712426452E-7</c:v>
                </c:pt>
                <c:pt idx="361">
                  <c:v>2.7176537866055459E-7</c:v>
                </c:pt>
                <c:pt idx="362">
                  <c:v>3.0636949667401126E-7</c:v>
                </c:pt>
                <c:pt idx="363">
                  <c:v>3.4487801425771951E-7</c:v>
                </c:pt>
                <c:pt idx="364">
                  <c:v>3.8765924251632547E-7</c:v>
                </c:pt>
                <c:pt idx="365">
                  <c:v>4.3510648052451888E-7</c:v>
                </c:pt>
                <c:pt idx="366">
                  <c:v>4.876384459212159E-7</c:v>
                </c:pt>
                <c:pt idx="367">
                  <c:v>5.4569953166475306E-7</c:v>
                </c:pt>
                <c:pt idx="368">
                  <c:v>6.097598634944224E-7</c:v>
                </c:pt>
                <c:pt idx="369">
                  <c:v>6.8031513191861423E-7</c:v>
                </c:pt>
                <c:pt idx="370">
                  <c:v>7.5788617212619711E-7</c:v>
                </c:pt>
                <c:pt idx="371">
                  <c:v>8.4301826514247824E-7</c:v>
                </c:pt>
                <c:pt idx="372">
                  <c:v>9.362801338710931E-7</c:v>
                </c:pt>
                <c:pt idx="373">
                  <c:v>1.038262608422719E-6</c:v>
                </c:pt>
                <c:pt idx="374">
                  <c:v>1.1495769363734195E-6</c:v>
                </c:pt>
                <c:pt idx="375">
                  <c:v>1.2708527153564347E-6</c:v>
                </c:pt>
                <c:pt idx="376">
                  <c:v>1.4027354277053057E-6</c:v>
                </c:pt>
                <c:pt idx="377">
                  <c:v>1.5458835597569549E-6</c:v>
                </c:pt>
                <c:pt idx="378">
                  <c:v>1.7009652919097503E-6</c:v>
                </c:pt>
                <c:pt idx="379">
                  <c:v>1.8686547496199039E-6</c:v>
                </c:pt>
                <c:pt idx="380">
                  <c:v>2.0496278102072526E-6</c:v>
                </c:pt>
                <c:pt idx="381">
                  <c:v>2.2445574656124381E-6</c:v>
                </c:pt>
                <c:pt idx="382">
                  <c:v>2.4541087470734026E-6</c:v>
                </c:pt>
                <c:pt idx="383">
                  <c:v>2.6789332240272699E-6</c:v>
                </c:pt>
                <c:pt idx="384">
                  <c:v>2.9196630963364823E-6</c:v>
                </c:pt>
                <c:pt idx="385">
                  <c:v>3.176904906113919E-6</c:v>
                </c:pt>
                <c:pt idx="386">
                  <c:v>3.4512329028934709E-6</c:v>
                </c:pt>
                <c:pt idx="387">
                  <c:v>3.7431821035587597E-6</c:v>
                </c:pt>
                <c:pt idx="388">
                  <c:v>4.0532410961892013E-6</c:v>
                </c:pt>
                <c:pt idx="389">
                  <c:v>4.3818446446813091E-6</c:v>
                </c:pt>
                <c:pt idx="390">
                  <c:v>4.7293661585173443E-6</c:v>
                </c:pt>
                <c:pt idx="391">
                  <c:v>5.0961100992353774E-6</c:v>
                </c:pt>
                <c:pt idx="392">
                  <c:v>5.4823044018527828E-6</c:v>
                </c:pt>
                <c:pt idx="393">
                  <c:v>5.8880929955530004E-6</c:v>
                </c:pt>
                <c:pt idx="394">
                  <c:v>6.3135285132057352E-6</c:v>
                </c:pt>
                <c:pt idx="395">
                  <c:v>6.7585652836024136E-6</c:v>
                </c:pt>
                <c:pt idx="396">
                  <c:v>7.2230527035028983E-6</c:v>
                </c:pt>
                <c:pt idx="397">
                  <c:v>7.7067290885728457E-6</c:v>
                </c:pt>
                <c:pt idx="398">
                  <c:v>8.2092161029194647E-6</c:v>
                </c:pt>
                <c:pt idx="399">
                  <c:v>8.7300138661061522E-6</c:v>
                </c:pt>
                <c:pt idx="400">
                  <c:v>9.2684968341565372E-6</c:v>
                </c:pt>
                <c:pt idx="401">
                  <c:v>9.8239105470946317E-6</c:v>
                </c:pt>
                <c:pt idx="402">
                  <c:v>1.0395369329973281E-5</c:v>
                </c:pt>
                <c:pt idx="403">
                  <c:v>1.0981855027120139E-5</c:v>
                </c:pt>
                <c:pt idx="404">
                  <c:v>1.1582216840511296E-5</c:v>
                </c:pt>
                <c:pt idx="405">
                  <c:v>1.2195172332829492E-5</c:v>
                </c:pt>
                <c:pt idx="406">
                  <c:v>1.281930964396829E-5</c:v>
                </c:pt>
                <c:pt idx="407">
                  <c:v>1.3453090956646491E-5</c:v>
                </c:pt>
                <c:pt idx="408">
                  <c:v>1.4094857232544232E-5</c:v>
                </c:pt>
                <c:pt idx="409">
                  <c:v>1.4742834225163145E-5</c:v>
                </c:pt>
                <c:pt idx="410">
                  <c:v>1.5395139759661374E-5</c:v>
                </c:pt>
                <c:pt idx="411">
                  <c:v>1.6049792253455722E-5</c:v>
                </c:pt>
                <c:pt idx="412">
                  <c:v>1.670472043468042E-5</c:v>
                </c:pt>
                <c:pt idx="413">
                  <c:v>1.7357774198912359E-5</c:v>
                </c:pt>
                <c:pt idx="414">
                  <c:v>1.8006736528201028E-5</c:v>
                </c:pt>
                <c:pt idx="415">
                  <c:v>1.8649336380654895E-5</c:v>
                </c:pt>
                <c:pt idx="416">
                  <c:v>1.9283262443921414E-5</c:v>
                </c:pt>
                <c:pt idx="417">
                  <c:v>1.9906177632124107E-5</c:v>
                </c:pt>
                <c:pt idx="418">
                  <c:v>2.0515734193439181E-5</c:v>
                </c:pt>
                <c:pt idx="419">
                  <c:v>2.1109589284753404E-5</c:v>
                </c:pt>
                <c:pt idx="420">
                  <c:v>2.1685420860940946E-5</c:v>
                </c:pt>
                <c:pt idx="421">
                  <c:v>2.2240943719422511E-5</c:v>
                </c:pt>
                <c:pt idx="422">
                  <c:v>2.2773925535959092E-5</c:v>
                </c:pt>
                <c:pt idx="423">
                  <c:v>2.3282202725200628E-5</c:v>
                </c:pt>
                <c:pt idx="424">
                  <c:v>2.3763695959417991E-5</c:v>
                </c:pt>
                <c:pt idx="425">
                  <c:v>2.4216425181121173E-5</c:v>
                </c:pt>
                <c:pt idx="426">
                  <c:v>2.4638523949884418E-5</c:v>
                </c:pt>
                <c:pt idx="427">
                  <c:v>2.5028252970606805E-5</c:v>
                </c:pt>
                <c:pt idx="428">
                  <c:v>2.5384012659518351E-5</c:v>
                </c:pt>
                <c:pt idx="429">
                  <c:v>2.5704354615366588E-5</c:v>
                </c:pt>
                <c:pt idx="430">
                  <c:v>2.5987991876198692E-5</c:v>
                </c:pt>
                <c:pt idx="431">
                  <c:v>2.6233807856781848E-5</c:v>
                </c:pt>
                <c:pt idx="432">
                  <c:v>2.6440863877738635E-5</c:v>
                </c:pt>
                <c:pt idx="433">
                  <c:v>2.6608405214652411E-5</c:v>
                </c:pt>
                <c:pt idx="434">
                  <c:v>2.6735865613436961E-5</c:v>
                </c:pt>
                <c:pt idx="435">
                  <c:v>2.6822870236876777E-5</c:v>
                </c:pt>
                <c:pt idx="436">
                  <c:v>2.6869237026128227E-5</c:v>
                </c:pt>
                <c:pt idx="437">
                  <c:v>2.6874976479827499E-5</c:v>
                </c:pt>
                <c:pt idx="438">
                  <c:v>2.6840289871994149E-5</c:v>
                </c:pt>
                <c:pt idx="439">
                  <c:v>2.676556594785655E-5</c:v>
                </c:pt>
                <c:pt idx="440">
                  <c:v>2.6651376153805647E-5</c:v>
                </c:pt>
                <c:pt idx="441">
                  <c:v>2.6498468473652516E-5</c:v>
                </c:pt>
                <c:pt idx="442">
                  <c:v>2.6307759958014335E-5</c:v>
                </c:pt>
                <c:pt idx="443">
                  <c:v>2.6080328046782885E-5</c:v>
                </c:pt>
                <c:pt idx="444">
                  <c:v>2.5817400796096012E-5</c:v>
                </c:pt>
                <c:pt idx="445">
                  <c:v>2.5520346130894291E-5</c:v>
                </c:pt>
                <c:pt idx="446">
                  <c:v>2.5190660251927205E-5</c:v>
                </c:pt>
                <c:pt idx="447">
                  <c:v>2.482995533191096E-5</c:v>
                </c:pt>
                <c:pt idx="448">
                  <c:v>2.443994663941609E-5</c:v>
                </c:pt>
                <c:pt idx="449">
                  <c:v>2.4022439230993598E-5</c:v>
                </c:pt>
                <c:pt idx="450">
                  <c:v>2.3579314352071113E-5</c:v>
                </c:pt>
                <c:pt idx="451">
                  <c:v>2.3112515685346389E-5</c:v>
                </c:pt>
                <c:pt idx="452">
                  <c:v>2.2624035581879754E-5</c:v>
                </c:pt>
                <c:pt idx="453">
                  <c:v>2.2115901404951018E-5</c:v>
                </c:pt>
                <c:pt idx="454">
                  <c:v>2.1590162110165615E-5</c:v>
                </c:pt>
                <c:pt idx="455">
                  <c:v>2.1048875177418497E-5</c:v>
                </c:pt>
                <c:pt idx="456">
                  <c:v>2.0494094001332797E-5</c:v>
                </c:pt>
                <c:pt idx="457">
                  <c:v>1.9927855836875951E-5</c:v>
                </c:pt>
                <c:pt idx="458">
                  <c:v>1.9352170386193087E-5</c:v>
                </c:pt>
                <c:pt idx="459">
                  <c:v>1.8769009101501206E-5</c:v>
                </c:pt>
                <c:pt idx="460">
                  <c:v>1.818029526732441E-5</c:v>
                </c:pt>
                <c:pt idx="461">
                  <c:v>1.7587894913626042E-5</c:v>
                </c:pt>
                <c:pt idx="462">
                  <c:v>1.6993608599669868E-5</c:v>
                </c:pt>
                <c:pt idx="463">
                  <c:v>1.6399164096895967E-5</c:v>
                </c:pt>
                <c:pt idx="464">
                  <c:v>1.5806209987872882E-5</c:v>
                </c:pt>
                <c:pt idx="465">
                  <c:v>1.5216310187633323E-5</c:v>
                </c:pt>
                <c:pt idx="466">
                  <c:v>1.463093938352523E-5</c:v>
                </c:pt>
                <c:pt idx="467">
                  <c:v>1.4051479380232336E-5</c:v>
                </c:pt>
                <c:pt idx="468">
                  <c:v>1.3479216327914862E-5</c:v>
                </c:pt>
                <c:pt idx="469">
                  <c:v>1.2915338803561021E-5</c:v>
                </c:pt>
                <c:pt idx="470">
                  <c:v>1.2360936708680103E-5</c:v>
                </c:pt>
                <c:pt idx="471">
                  <c:v>1.1817000940433194E-5</c:v>
                </c:pt>
                <c:pt idx="472">
                  <c:v>1.128442378820752E-5</c:v>
                </c:pt>
                <c:pt idx="473">
                  <c:v>1.0764000003494543E-5</c:v>
                </c:pt>
                <c:pt idx="474">
                  <c:v>1.0256428487717284E-5</c:v>
                </c:pt>
                <c:pt idx="475">
                  <c:v>9.7623145403331536E-6</c:v>
                </c:pt>
                <c:pt idx="476">
                  <c:v>9.282172608091967E-6</c:v>
                </c:pt>
                <c:pt idx="477">
                  <c:v>8.8164294756825259E-6</c:v>
                </c:pt>
                <c:pt idx="478">
                  <c:v>8.3654278381213019E-6</c:v>
                </c:pt>
                <c:pt idx="479">
                  <c:v>7.929430196041545E-6</c:v>
                </c:pt>
                <c:pt idx="480">
                  <c:v>7.5086230164686481E-6</c:v>
                </c:pt>
                <c:pt idx="481">
                  <c:v>7.1031211036467501E-6</c:v>
                </c:pt>
                <c:pt idx="482">
                  <c:v>6.7129721269349514E-6</c:v>
                </c:pt>
                <c:pt idx="483">
                  <c:v>6.3381612556439851E-6</c:v>
                </c:pt>
                <c:pt idx="484">
                  <c:v>5.9786158538667676E-6</c:v>
                </c:pt>
                <c:pt idx="485">
                  <c:v>5.6342101917911639E-6</c:v>
                </c:pt>
                <c:pt idx="486">
                  <c:v>5.3047701336063905E-6</c:v>
                </c:pt>
                <c:pt idx="487">
                  <c:v>4.9900777658599396E-6</c:v>
                </c:pt>
                <c:pt idx="488">
                  <c:v>4.6898759339263047E-6</c:v>
                </c:pt>
                <c:pt idx="489">
                  <c:v>4.4038726580634961E-6</c:v>
                </c:pt>
                <c:pt idx="490">
                  <c:v>4.1317454043013901E-6</c:v>
                </c:pt>
                <c:pt idx="491">
                  <c:v>3.8731451890883393E-6</c:v>
                </c:pt>
                <c:pt idx="492">
                  <c:v>3.6277005001798218E-6</c:v>
                </c:pt>
                <c:pt idx="493">
                  <c:v>3.3950210196506287E-6</c:v>
                </c:pt>
                <c:pt idx="494">
                  <c:v>3.1747011381279943E-6</c:v>
                </c:pt>
                <c:pt idx="495">
                  <c:v>2.9663232523500291E-6</c:v>
                </c:pt>
                <c:pt idx="496">
                  <c:v>2.7694608409424946E-6</c:v>
                </c:pt>
                <c:pt idx="497">
                  <c:v>2.5836813158605004E-6</c:v>
                </c:pt>
                <c:pt idx="498">
                  <c:v>2.4085486492566849E-6</c:v>
                </c:pt>
                <c:pt idx="499">
                  <c:v>2.2436257776121179E-6</c:v>
                </c:pt>
                <c:pt idx="500">
                  <c:v>2.0884767867975953E-6</c:v>
                </c:pt>
                <c:pt idx="501">
                  <c:v>1.9426688833316747E-6</c:v>
                </c:pt>
                <c:pt idx="502">
                  <c:v>1.8057741584685608E-6</c:v>
                </c:pt>
                <c:pt idx="503">
                  <c:v>1.6773711528984781E-6</c:v>
                </c:pt>
                <c:pt idx="504">
                  <c:v>1.5570462307835695E-6</c:v>
                </c:pt>
                <c:pt idx="505">
                  <c:v>1.4443947725976281E-6</c:v>
                </c:pt>
                <c:pt idx="506">
                  <c:v>1.3390221968024767E-6</c:v>
                </c:pt>
                <c:pt idx="507">
                  <c:v>1.2405448207907429E-6</c:v>
                </c:pt>
                <c:pt idx="508">
                  <c:v>1.1485905717714942E-6</c:v>
                </c:pt>
                <c:pt idx="509">
                  <c:v>1.0627995583841816E-6</c:v>
                </c:pt>
                <c:pt idx="510">
                  <c:v>9.8282451381562054E-7</c:v>
                </c:pt>
                <c:pt idx="511">
                  <c:v>9.0833112107677747E-7</c:v>
                </c:pt>
                <c:pt idx="512">
                  <c:v>8.3899823088663276E-7</c:v>
                </c:pt>
                <c:pt idx="513">
                  <c:v>7.7451798232303207E-7</c:v>
                </c:pt>
                <c:pt idx="514">
                  <c:v>7.145958360472792E-7</c:v>
                </c:pt>
                <c:pt idx="515">
                  <c:v>6.5895052950316697E-7</c:v>
                </c:pt>
                <c:pt idx="516">
                  <c:v>6.0731396304398021E-7</c:v>
                </c:pt>
                <c:pt idx="517">
                  <c:v>5.5943102546068861E-7</c:v>
                </c:pt>
                <c:pt idx="518">
                  <c:v>5.1505936688380173E-7</c:v>
                </c:pt>
                <c:pt idx="519">
                  <c:v>4.7396912651521097E-7</c:v>
                </c:pt>
                <c:pt idx="520">
                  <c:v>4.3594262212456102E-7</c:v>
                </c:pt>
                <c:pt idx="521">
                  <c:v>4.0077400772285912E-7</c:v>
                </c:pt>
                <c:pt idx="522">
                  <c:v>3.6826890530932018E-7</c:v>
                </c:pt>
                <c:pt idx="523">
                  <c:v>3.3824401608179569E-7</c:v>
                </c:pt>
                <c:pt idx="524">
                  <c:v>3.105267160096212E-7</c:v>
                </c:pt>
                <c:pt idx="525">
                  <c:v>2.8495464019365393E-7</c:v>
                </c:pt>
                <c:pt idx="526">
                  <c:v>2.6137525998526468E-7</c:v>
                </c:pt>
                <c:pt idx="527">
                  <c:v>2.3964545640438913E-7</c:v>
                </c:pt>
                <c:pt idx="528">
                  <c:v>2.1963109298986611E-7</c:v>
                </c:pt>
                <c:pt idx="529">
                  <c:v>2.0120659083242079E-7</c:v>
                </c:pt>
                <c:pt idx="530">
                  <c:v>1.8425450818359399E-7</c:v>
                </c:pt>
                <c:pt idx="531">
                  <c:v>1.6866512670212892E-7</c:v>
                </c:pt>
                <c:pt idx="532">
                  <c:v>1.5433604609310064E-7</c:v>
                </c:pt>
                <c:pt idx="533">
                  <c:v>1.4117178861357438E-7</c:v>
                </c:pt>
                <c:pt idx="534">
                  <c:v>1.2908341466171861E-7</c:v>
                </c:pt>
                <c:pt idx="535">
                  <c:v>1.1798815043270739E-7</c:v>
                </c:pt>
                <c:pt idx="536">
                  <c:v>1.0780902841385627E-7</c:v>
                </c:pt>
                <c:pt idx="537">
                  <c:v>9.8474541302032814E-8</c:v>
                </c:pt>
                <c:pt idx="538">
                  <c:v>8.991830975715593E-8</c:v>
                </c:pt>
                <c:pt idx="539">
                  <c:v>8.2078764255809768E-8</c:v>
                </c:pt>
                <c:pt idx="540">
                  <c:v>7.4898841176657013E-8</c:v>
                </c:pt>
                <c:pt idx="541">
                  <c:v>6.8325693134054343E-8</c:v>
                </c:pt>
                <c:pt idx="542">
                  <c:v>6.2310413476043471E-8</c:v>
                </c:pt>
                <c:pt idx="543">
                  <c:v>5.6807774776992695E-8</c:v>
                </c:pt>
                <c:pt idx="544">
                  <c:v>5.1775981082079839E-8</c:v>
                </c:pt>
                <c:pt idx="545">
                  <c:v>4.7176433599679713E-8</c:v>
                </c:pt>
                <c:pt idx="546">
                  <c:v>4.2973509487059804E-8</c:v>
                </c:pt>
                <c:pt idx="547">
                  <c:v>3.913435333395583E-8</c:v>
                </c:pt>
                <c:pt idx="548">
                  <c:v>3.5628680916241652E-8</c:v>
                </c:pt>
                <c:pt idx="549">
                  <c:v>3.2428594767295266E-8</c:v>
                </c:pt>
                <c:pt idx="550">
                  <c:v>2.9508411096885925E-8</c:v>
                </c:pt>
                <c:pt idx="551">
                  <c:v>2.6844497575574331E-8</c:v>
                </c:pt>
                <c:pt idx="552">
                  <c:v>2.4415121496011618E-8</c:v>
                </c:pt>
                <c:pt idx="553">
                  <c:v>2.2200307820570528E-8</c:v>
                </c:pt>
                <c:pt idx="554">
                  <c:v>2.0181706626573267E-8</c:v>
                </c:pt>
                <c:pt idx="555">
                  <c:v>1.8342469465618475E-8</c:v>
                </c:pt>
                <c:pt idx="556">
                  <c:v>1.6667134161575538E-8</c:v>
                </c:pt>
                <c:pt idx="557">
                  <c:v>1.5141517582172619E-8</c:v>
                </c:pt>
                <c:pt idx="558">
                  <c:v>1.3752615931429449E-8</c:v>
                </c:pt>
                <c:pt idx="559">
                  <c:v>1.2488512124007108E-8</c:v>
                </c:pt>
                <c:pt idx="560">
                  <c:v>1.1338289817628918E-8</c:v>
                </c:pt>
                <c:pt idx="561">
                  <c:v>1.0291953695669622E-8</c:v>
                </c:pt>
                <c:pt idx="562">
                  <c:v>9.3403556086126894E-9</c:v>
                </c:pt>
                <c:pt idx="563">
                  <c:v>8.4751262001408195E-9</c:v>
                </c:pt>
                <c:pt idx="564">
                  <c:v>7.688611660842703E-9</c:v>
                </c:pt>
                <c:pt idx="565">
                  <c:v>6.9738152698724914E-9</c:v>
                </c:pt>
                <c:pt idx="566">
                  <c:v>6.3243434020934456E-9</c:v>
                </c:pt>
                <c:pt idx="567">
                  <c:v>5.7343556952817249E-9</c:v>
                </c:pt>
                <c:pt idx="568">
                  <c:v>5.1985190886585437E-9</c:v>
                </c:pt>
                <c:pt idx="569">
                  <c:v>4.7119654603321062E-9</c:v>
                </c:pt>
                <c:pt idx="570">
                  <c:v>4.2702526070975387E-9</c:v>
                </c:pt>
                <c:pt idx="571">
                  <c:v>3.8693283253560762E-9</c:v>
                </c:pt>
                <c:pt idx="572">
                  <c:v>3.5054973667186163E-9</c:v>
                </c:pt>
                <c:pt idx="573">
                  <c:v>3.1753910560418079E-9</c:v>
                </c:pt>
                <c:pt idx="574">
                  <c:v>2.875939373233302E-9</c:v>
                </c:pt>
                <c:pt idx="575">
                  <c:v>2.6043453131454564E-9</c:v>
                </c:pt>
                <c:pt idx="576">
                  <c:v>2.3580613502076584E-9</c:v>
                </c:pt>
                <c:pt idx="577">
                  <c:v>2.1347678461888094E-9</c:v>
                </c:pt>
                <c:pt idx="578">
                  <c:v>1.9323532505755304E-9</c:v>
                </c:pt>
                <c:pt idx="579">
                  <c:v>1.7488959535592279E-9</c:v>
                </c:pt>
                <c:pt idx="580">
                  <c:v>1.5826476615299632E-9</c:v>
                </c:pt>
                <c:pt idx="581">
                  <c:v>1.43201817429744E-9</c:v>
                </c:pt>
                <c:pt idx="582">
                  <c:v>1.2955614520371881E-9</c:v>
                </c:pt>
                <c:pt idx="583">
                  <c:v>1.1719628681767964E-9</c:v>
                </c:pt>
                <c:pt idx="584">
                  <c:v>1.0600275521577136E-9</c:v>
                </c:pt>
                <c:pt idx="585">
                  <c:v>9.5866973321262784E-10</c:v>
                </c:pt>
                <c:pt idx="586">
                  <c:v>8.669030030403588E-10</c:v>
                </c:pt>
                <c:pt idx="587">
                  <c:v>7.8383142155062718E-10</c:v>
                </c:pt>
                <c:pt idx="588">
                  <c:v>7.0864139570507692E-10</c:v>
                </c:pt>
                <c:pt idx="589">
                  <c:v>6.4059426694037498E-10</c:v>
                </c:pt>
                <c:pt idx="590">
                  <c:v>5.790195477249914E-10</c:v>
                </c:pt>
                <c:pt idx="591">
                  <c:v>5.2330875251386727E-10</c:v>
                </c:pt>
                <c:pt idx="592">
                  <c:v>4.7290977273221012E-10</c:v>
                </c:pt>
                <c:pt idx="593">
                  <c:v>4.273217494696694E-10</c:v>
                </c:pt>
                <c:pt idx="594">
                  <c:v>3.8609040131578569E-10</c:v>
                </c:pt>
                <c:pt idx="595">
                  <c:v>3.4880376823677758E-10</c:v>
                </c:pt>
                <c:pt idx="596">
                  <c:v>3.1508833559971615E-10</c:v>
                </c:pt>
                <c:pt idx="597">
                  <c:v>2.8460550541257163E-10</c:v>
                </c:pt>
                <c:pt idx="598">
                  <c:v>2.5704838458109945E-10</c:v>
                </c:pt>
                <c:pt idx="599">
                  <c:v>2.3213886250489542E-10</c:v>
                </c:pt>
                <c:pt idx="600">
                  <c:v>2.0962495265623592E-10</c:v>
                </c:pt>
                <c:pt idx="601">
                  <c:v>1.8927837492551742E-10</c:v>
                </c:pt>
                <c:pt idx="602">
                  <c:v>1.708923574843341E-10</c:v>
                </c:pt>
                <c:pt idx="603">
                  <c:v>1.542796387278014E-10</c:v>
                </c:pt>
                <c:pt idx="604">
                  <c:v>1.3927065152056443E-10</c:v>
                </c:pt>
                <c:pt idx="605">
                  <c:v>1.25711873500294E-10</c:v>
                </c:pt>
                <c:pt idx="606">
                  <c:v>1.1346432859320426E-10</c:v>
                </c:pt>
                <c:pt idx="607">
                  <c:v>1.024022261848225E-10</c:v>
                </c:pt>
                <c:pt idx="608">
                  <c:v>9.2411725568310396E-11</c:v>
                </c:pt>
                <c:pt idx="609">
                  <c:v>8.3389814374437487E-11</c:v>
                </c:pt>
                <c:pt idx="610">
                  <c:v>7.5243290677876712E-11</c:v>
                </c:pt>
                <c:pt idx="611">
                  <c:v>6.7887839382059355E-11</c:v>
                </c:pt>
                <c:pt idx="612">
                  <c:v>6.1247194314320326E-11</c:v>
                </c:pt>
                <c:pt idx="613">
                  <c:v>5.5252378223159241E-11</c:v>
                </c:pt>
                <c:pt idx="614">
                  <c:v>4.9841013563088167E-11</c:v>
                </c:pt>
                <c:pt idx="615">
                  <c:v>4.4956697587839132E-11</c:v>
                </c:pt>
                <c:pt idx="616">
                  <c:v>4.0548435851894494E-11</c:v>
                </c:pt>
                <c:pt idx="617">
                  <c:v>3.6570128750184863E-11</c:v>
                </c:pt>
                <c:pt idx="618">
                  <c:v>3.2980106208983649E-11</c:v>
                </c:pt>
                <c:pt idx="619">
                  <c:v>2.9740706081987124E-11</c:v>
                </c:pt>
                <c:pt idx="620">
                  <c:v>2.6817892208179636E-11</c:v>
                </c:pt>
                <c:pt idx="621">
                  <c:v>2.4180908454703246E-11</c:v>
                </c:pt>
                <c:pt idx="622">
                  <c:v>2.1801965402573913E-11</c:v>
                </c:pt>
                <c:pt idx="623">
                  <c:v>1.9655956637821549E-11</c:v>
                </c:pt>
                <c:pt idx="624">
                  <c:v>1.772020188823337E-11</c:v>
                </c:pt>
                <c:pt idx="625">
                  <c:v>1.597421449883037E-11</c:v>
                </c:pt>
                <c:pt idx="626">
                  <c:v>1.4399490969252214E-11</c:v>
                </c:pt>
                <c:pt idx="627">
                  <c:v>1.2979320485990159E-11</c:v>
                </c:pt>
                <c:pt idx="628">
                  <c:v>1.1698612572795528E-11</c:v>
                </c:pt>
                <c:pt idx="629">
                  <c:v>1.0543741156209749E-11</c:v>
                </c:pt>
                <c:pt idx="630">
                  <c:v>9.502403500796167E-12</c:v>
                </c:pt>
                <c:pt idx="631">
                  <c:v>8.5634926120171997E-12</c:v>
                </c:pt>
                <c:pt idx="632">
                  <c:v>7.7169818350807164E-12</c:v>
                </c:pt>
                <c:pt idx="633">
                  <c:v>6.9538204965334398E-12</c:v>
                </c:pt>
                <c:pt idx="634">
                  <c:v>6.2658395428641524E-12</c:v>
                </c:pt>
                <c:pt idx="635">
                  <c:v>5.6456662282692928E-12</c:v>
                </c:pt>
                <c:pt idx="636">
                  <c:v>5.0866469923153243E-12</c:v>
                </c:pt>
                <c:pt idx="637">
                  <c:v>4.5827777489644001E-12</c:v>
                </c:pt>
                <c:pt idx="638">
                  <c:v>4.1286408814155912E-12</c:v>
                </c:pt>
                <c:pt idx="639">
                  <c:v>3.7193483036953653E-12</c:v>
                </c:pt>
                <c:pt idx="640">
                  <c:v>3.3504900100755278E-12</c:v>
                </c:pt>
                <c:pt idx="641">
                  <c:v>3.0180875880656687E-12</c:v>
                </c:pt>
                <c:pt idx="642">
                  <c:v>2.7185522202488891E-12</c:v>
                </c:pt>
                <c:pt idx="643">
                  <c:v>2.4486467451430109E-12</c:v>
                </c:pt>
                <c:pt idx="644">
                  <c:v>2.2054513880353568E-12</c:v>
                </c:pt>
                <c:pt idx="645">
                  <c:v>1.9863328096182579E-12</c:v>
                </c:pt>
                <c:pt idx="646">
                  <c:v>1.7889161537361689E-12</c:v>
                </c:pt>
                <c:pt idx="647">
                  <c:v>1.6110598058682875E-12</c:v>
                </c:pt>
                <c:pt idx="648">
                  <c:v>1.4508326014321751E-12</c:v>
                </c:pt>
                <c:pt idx="649">
                  <c:v>1.3064932478976006E-12</c:v>
                </c:pt>
                <c:pt idx="650">
                  <c:v>1.1764717472094989E-12</c:v>
                </c:pt>
                <c:pt idx="651">
                  <c:v>1.0593526254474375E-12</c:v>
                </c:pt>
                <c:pt idx="652">
                  <c:v>9.5385979512215998E-13</c:v>
                </c:pt>
                <c:pt idx="653">
                  <c:v>8.5884289222604983E-13</c:v>
                </c:pt>
                <c:pt idx="654">
                  <c:v>7.7326494532401152E-13</c:v>
                </c:pt>
                <c:pt idx="655">
                  <c:v>6.9619124764162901E-13</c:v>
                </c:pt>
                <c:pt idx="656">
                  <c:v>6.2677931553510852E-13</c:v>
                </c:pt>
                <c:pt idx="657">
                  <c:v>5.6426982793512548E-13</c:v>
                </c:pt>
                <c:pt idx="658">
                  <c:v>5.0797845151090662E-13</c:v>
                </c:pt>
                <c:pt idx="659">
                  <c:v>4.5728846548277642E-13</c:v>
                </c:pt>
                <c:pt idx="660">
                  <c:v>4.1164410831597552E-13</c:v>
                </c:pt>
                <c:pt idx="661">
                  <c:v>3.7054457604007225E-13</c:v>
                </c:pt>
                <c:pt idx="662">
                  <c:v>3.3353860873072492E-13</c:v>
                </c:pt>
                <c:pt idx="663">
                  <c:v>3.0021960782205244E-13</c:v>
                </c:pt>
                <c:pt idx="664">
                  <c:v>2.7022123248506167E-13</c:v>
                </c:pt>
                <c:pt idx="665">
                  <c:v>2.4321342830694443E-13</c:v>
                </c:pt>
                <c:pt idx="666">
                  <c:v>2.1889884605462621E-13</c:v>
                </c:pt>
                <c:pt idx="667">
                  <c:v>1.9700961239862419E-13</c:v>
                </c:pt>
                <c:pt idx="668">
                  <c:v>1.7730441817614298E-13</c:v>
                </c:pt>
                <c:pt idx="669">
                  <c:v>1.5956589312248447E-13</c:v>
                </c:pt>
                <c:pt idx="670">
                  <c:v>1.4359823901782408E-13</c:v>
                </c:pt>
                <c:pt idx="671">
                  <c:v>1.2922509593466017E-13</c:v>
                </c:pt>
                <c:pt idx="672">
                  <c:v>1.1628761873024396E-13</c:v>
                </c:pt>
                <c:pt idx="673">
                  <c:v>1.0464274316290279E-13</c:v>
                </c:pt>
                <c:pt idx="674">
                  <c:v>9.4161623019363662E-14</c:v>
                </c:pt>
                <c:pt idx="675">
                  <c:v>8.472822146100695E-14</c:v>
                </c:pt>
                <c:pt idx="676">
                  <c:v>7.6238041433662668E-14</c:v>
                </c:pt>
                <c:pt idx="677">
                  <c:v>6.8596981471042794E-14</c:v>
                </c:pt>
                <c:pt idx="678">
                  <c:v>6.1720304557043068E-14</c:v>
                </c:pt>
                <c:pt idx="679">
                  <c:v>5.5531708919647984E-14</c:v>
                </c:pt>
                <c:pt idx="680">
                  <c:v>4.9962490720942483E-14</c:v>
                </c:pt>
                <c:pt idx="681">
                  <c:v>4.4950789589028621E-14</c:v>
                </c:pt>
                <c:pt idx="682">
                  <c:v>4.0440908826989648E-14</c:v>
                </c:pt>
                <c:pt idx="683">
                  <c:v>3.6382702935388194E-14</c:v>
                </c:pt>
                <c:pt idx="684">
                  <c:v>3.2731025806217532E-14</c:v>
                </c:pt>
                <c:pt idx="685">
                  <c:v>2.9445233600879179E-14</c:v>
                </c:pt>
                <c:pt idx="686">
                  <c:v>2.6488736911682951E-14</c:v>
                </c:pt>
                <c:pt idx="687">
                  <c:v>2.3828597337702835E-14</c:v>
                </c:pt>
                <c:pt idx="688">
                  <c:v>2.1435164085748311E-14</c:v>
                </c:pt>
                <c:pt idx="689">
                  <c:v>1.9281746638300515E-14</c:v>
                </c:pt>
                <c:pt idx="690">
                  <c:v>1.7344319920779878E-14</c:v>
                </c:pt>
                <c:pt idx="691">
                  <c:v>1.5601258751862886E-14</c:v>
                </c:pt>
                <c:pt idx="692">
                  <c:v>1.4033098677763764E-14</c:v>
                </c:pt>
                <c:pt idx="693">
                  <c:v>1.2622320576910361E-14</c:v>
                </c:pt>
                <c:pt idx="694">
                  <c:v>1.1353156680270354E-14</c:v>
                </c:pt>
                <c:pt idx="695">
                  <c:v>1.0211415884251664E-14</c:v>
                </c:pt>
                <c:pt idx="696">
                  <c:v>9.1843264429308791E-15</c:v>
                </c:pt>
                <c:pt idx="697">
                  <c:v>8.2603943161470906E-15</c:v>
                </c:pt>
                <c:pt idx="698">
                  <c:v>7.4292756192270006E-15</c:v>
                </c:pt>
                <c:pt idx="699">
                  <c:v>6.6816617749228725E-15</c:v>
                </c:pt>
                <c:pt idx="700">
                  <c:v>6.0091761058249168E-15</c:v>
                </c:pt>
                <c:pt idx="701">
                  <c:v>5.4042807309222756E-15</c:v>
                </c:pt>
                <c:pt idx="702">
                  <c:v>4.860192742303571E-15</c:v>
                </c:pt>
                <c:pt idx="703">
                  <c:v>4.3708087392551567E-15</c:v>
                </c:pt>
                <c:pt idx="704">
                  <c:v>3.9306368889515148E-15</c:v>
                </c:pt>
                <c:pt idx="705">
                  <c:v>3.5347357647833846E-15</c:v>
                </c:pt>
                <c:pt idx="706">
                  <c:v>3.1786592880080201E-15</c:v>
                </c:pt>
                <c:pt idx="707">
                  <c:v>2.8584071651468772E-15</c:v>
                </c:pt>
                <c:pt idx="708">
                  <c:v>2.5703802739111965E-15</c:v>
                </c:pt>
                <c:pt idx="709">
                  <c:v>2.3113405047816734E-15</c:v>
                </c:pt>
                <c:pt idx="710">
                  <c:v>2.0783746142648253E-15</c:v>
                </c:pt>
                <c:pt idx="711">
                  <c:v>1.8688616900743445E-15</c:v>
                </c:pt>
                <c:pt idx="712">
                  <c:v>1.6804438680947534E-15</c:v>
                </c:pt>
                <c:pt idx="713">
                  <c:v>1.510999976867992E-15</c:v>
                </c:pt>
                <c:pt idx="714">
                  <c:v>1.3586218176351814E-15</c:v>
                </c:pt>
                <c:pt idx="715">
                  <c:v>1.221592816835014E-15</c:v>
                </c:pt>
                <c:pt idx="716">
                  <c:v>1.0983688144457331E-15</c:v>
                </c:pt>
                <c:pt idx="717">
                  <c:v>9.8756077477009544E-16</c:v>
                </c:pt>
                <c:pt idx="718">
                  <c:v>8.8791922782022604E-16</c:v>
                </c:pt>
                <c:pt idx="719">
                  <c:v>7.983202683498489E-16</c:v>
                </c:pt>
                <c:pt idx="720">
                  <c:v>7.1775295695847158E-16</c:v>
                </c:pt>
                <c:pt idx="721">
                  <c:v>6.4530798311994862E-16</c:v>
                </c:pt>
                <c:pt idx="722">
                  <c:v>5.8016746399613395E-16</c:v>
                </c:pt>
                <c:pt idx="723">
                  <c:v>5.2159576547057299E-16</c:v>
                </c:pt>
                <c:pt idx="724">
                  <c:v>4.6893124316568765E-16</c:v>
                </c:pt>
                <c:pt idx="725">
                  <c:v>4.2157881140873573E-16</c:v>
                </c:pt>
                <c:pt idx="726">
                  <c:v>3.7900325729937147E-16</c:v>
                </c:pt>
                <c:pt idx="727">
                  <c:v>3.4072322532399908E-16</c:v>
                </c:pt>
                <c:pt idx="728">
                  <c:v>3.0630580535346654E-16</c:v>
                </c:pt>
                <c:pt idx="729">
                  <c:v>2.7536166363378299E-16</c:v>
                </c:pt>
                <c:pt idx="730">
                  <c:v>2.4754066240039838E-16</c:v>
                </c:pt>
                <c:pt idx="731">
                  <c:v>2.2252791911474874E-16</c:v>
                </c:pt>
                <c:pt idx="732">
                  <c:v>2.0004026133761345E-16</c:v>
                </c:pt>
                <c:pt idx="733">
                  <c:v>1.7982303754451523E-16</c:v>
                </c:pt>
                <c:pt idx="734">
                  <c:v>1.6164724822167629E-16</c:v>
                </c:pt>
                <c:pt idx="735">
                  <c:v>1.45306965126339E-16</c:v>
                </c:pt>
                <c:pt idx="736">
                  <c:v>1.306170098175545E-16</c:v>
                </c:pt>
                <c:pt idx="737">
                  <c:v>1.1741086544633951E-16</c:v>
                </c:pt>
                <c:pt idx="738">
                  <c:v>1.0553879841056853E-16</c:v>
                </c:pt>
                <c:pt idx="739">
                  <c:v>9.4866168807945409E-17</c:v>
                </c:pt>
                <c:pt idx="740">
                  <c:v>8.5271910749503567E-17</c:v>
                </c:pt>
                <c:pt idx="741">
                  <c:v>7.6647165472477839E-17</c:v>
                </c:pt>
                <c:pt idx="742">
                  <c:v>6.8894051919413344E-17</c:v>
                </c:pt>
                <c:pt idx="743">
                  <c:v>6.192456097387171E-17</c:v>
                </c:pt>
                <c:pt idx="744">
                  <c:v>5.5659560937811988E-17</c:v>
                </c:pt>
                <c:pt idx="745">
                  <c:v>5.0027903070176649E-17</c:v>
                </c:pt>
                <c:pt idx="746">
                  <c:v>4.4965617139937999E-17</c:v>
                </c:pt>
                <c:pt idx="747">
                  <c:v>4.0415187941480702E-17</c:v>
                </c:pt>
                <c:pt idx="748">
                  <c:v>3.6324904637295914E-17</c:v>
                </c:pt>
                <c:pt idx="749">
                  <c:v>3.2648275611883314E-17</c:v>
                </c:pt>
                <c:pt idx="750">
                  <c:v>2.9343502239714935E-17</c:v>
                </c:pt>
                <c:pt idx="751">
                  <c:v>2.6373005652330874E-17</c:v>
                </c:pt>
                <c:pt idx="752">
                  <c:v>2.3703001170726718E-17</c:v>
                </c:pt>
                <c:pt idx="753">
                  <c:v>2.1303115606045625E-17</c:v>
                </c:pt>
                <c:pt idx="754">
                  <c:v>1.9146043119290827E-17</c:v>
                </c:pt>
                <c:pt idx="755">
                  <c:v>1.7207235757539496E-17</c:v>
                </c:pt>
                <c:pt idx="756">
                  <c:v>1.5464625179202976E-17</c:v>
                </c:pt>
                <c:pt idx="757">
                  <c:v>1.3898372424192651E-17</c:v>
                </c:pt>
                <c:pt idx="758">
                  <c:v>1.2490642913255329E-17</c:v>
                </c:pt>
                <c:pt idx="759">
                  <c:v>1.1225404128134421E-17</c:v>
                </c:pt>
                <c:pt idx="760">
                  <c:v>1.0088243694098179E-17</c:v>
                </c:pt>
                <c:pt idx="761">
                  <c:v>9.0662058081555395E-18</c:v>
                </c:pt>
                <c:pt idx="762">
                  <c:v>8.1476441644618877E-18</c:v>
                </c:pt>
                <c:pt idx="763">
                  <c:v>7.3220897153840367E-18</c:v>
                </c:pt>
                <c:pt idx="764">
                  <c:v>6.5801317742829518E-18</c:v>
                </c:pt>
                <c:pt idx="765">
                  <c:v>5.9133111135590318E-18</c:v>
                </c:pt>
                <c:pt idx="766">
                  <c:v>5.3140238510228471E-18</c:v>
                </c:pt>
                <c:pt idx="767">
                  <c:v>4.775435035684817E-18</c:v>
                </c:pt>
                <c:pt idx="768">
                  <c:v>4.2914009555907599E-18</c:v>
                </c:pt>
                <c:pt idx="769">
                  <c:v>3.8563992884890294E-18</c:v>
                </c:pt>
                <c:pt idx="770">
                  <c:v>3.4654663046867134E-18</c:v>
                </c:pt>
                <c:pt idx="771">
                  <c:v>3.1141404092759751E-18</c:v>
                </c:pt>
                <c:pt idx="772">
                  <c:v>2.7984113867450162E-18</c:v>
                </c:pt>
                <c:pt idx="773">
                  <c:v>2.5146747707649601E-18</c:v>
                </c:pt>
                <c:pt idx="774">
                  <c:v>2.2596908226340037E-18</c:v>
                </c:pt>
                <c:pt idx="775">
                  <c:v>2.030547653813095E-18</c:v>
                </c:pt>
                <c:pt idx="776">
                  <c:v>1.8246280737827141E-18</c:v>
                </c:pt>
                <c:pt idx="777">
                  <c:v>1.6395797874117055E-18</c:v>
                </c:pt>
                <c:pt idx="778">
                  <c:v>1.4732886036889645E-18</c:v>
                </c:pt>
                <c:pt idx="779">
                  <c:v>1.3238543522009799E-18</c:v>
                </c:pt>
                <c:pt idx="780">
                  <c:v>1.1895692331300123E-18</c:v>
                </c:pt>
                <c:pt idx="781">
                  <c:v>1.0688983559418054E-18</c:v>
                </c:pt>
                <c:pt idx="782">
                  <c:v>9.6046224516940885E-19</c:v>
                </c:pt>
                <c:pt idx="783">
                  <c:v>8.6302111496155744E-19</c:v>
                </c:pt>
                <c:pt idx="784">
                  <c:v>7.754607332714073E-19</c:v>
                </c:pt>
                <c:pt idx="785">
                  <c:v>6.9677971579168046E-19</c:v>
                </c:pt>
                <c:pt idx="786">
                  <c:v>6.2607810445134272E-19</c:v>
                </c:pt>
                <c:pt idx="787">
                  <c:v>5.6254710127559145E-19</c:v>
                </c:pt>
                <c:pt idx="788">
                  <c:v>5.0545984042153462E-19</c:v>
                </c:pt>
                <c:pt idx="789">
                  <c:v>4.5416309381184837E-19</c:v>
                </c:pt>
                <c:pt idx="790">
                  <c:v>4.0806981573497208E-19</c:v>
                </c:pt>
                <c:pt idx="791">
                  <c:v>3.6665244178529153E-19</c:v>
                </c:pt>
                <c:pt idx="792">
                  <c:v>3.2943686581047386E-19</c:v>
                </c:pt>
                <c:pt idx="793">
                  <c:v>2.95997026312395E-19</c:v>
                </c:pt>
                <c:pt idx="794">
                  <c:v>2.6595004070331346E-19</c:v>
                </c:pt>
                <c:pt idx="795">
                  <c:v>2.3895183200380864E-19</c:v>
                </c:pt>
                <c:pt idx="796">
                  <c:v>2.1469319822082236E-19</c:v>
                </c:pt>
                <c:pt idx="797">
                  <c:v>1.92896279567281E-19</c:v>
                </c:pt>
                <c:pt idx="798">
                  <c:v>1.7331138328293142E-19</c:v>
                </c:pt>
                <c:pt idx="799">
                  <c:v>1.5571412998909461E-19</c:v>
                </c:pt>
                <c:pt idx="800">
                  <c:v>1.3990288892443307E-19</c:v>
                </c:pt>
              </c:numCache>
            </c:numRef>
          </c:yVal>
          <c:smooth val="0"/>
          <c:extLst>
            <c:ext xmlns:c16="http://schemas.microsoft.com/office/drawing/2014/chart" uri="{C3380CC4-5D6E-409C-BE32-E72D297353CC}">
              <c16:uniqueId val="{00000005-1D62-4DE3-8E9D-34C68BC76380}"/>
            </c:ext>
          </c:extLst>
        </c:ser>
        <c:ser>
          <c:idx val="6"/>
          <c:order val="6"/>
          <c:tx>
            <c:strRef>
              <c:f>Calc!$J$6</c:f>
              <c:strCache>
                <c:ptCount val="1"/>
                <c:pt idx="0">
                  <c:v>7</c:v>
                </c:pt>
              </c:strCache>
            </c:strRef>
          </c:tx>
          <c:spPr>
            <a:ln w="28575">
              <a:noFill/>
            </a:ln>
          </c:spPr>
          <c:marker>
            <c:symbol val="plus"/>
            <c:size val="3"/>
            <c:spPr>
              <a:noFill/>
              <a:ln>
                <a:solidFill>
                  <a:srgbClr val="008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J$7:$J$807</c:f>
              <c:numCache>
                <c:formatCode>000,000,000</c:formatCode>
                <c:ptCount val="801"/>
                <c:pt idx="0">
                  <c:v>1.2876583003330403E-32</c:v>
                </c:pt>
                <c:pt idx="1">
                  <c:v>1.5585387110492263E-32</c:v>
                </c:pt>
                <c:pt idx="2">
                  <c:v>1.8863925204888471E-32</c:v>
                </c:pt>
                <c:pt idx="3">
                  <c:v>2.2832003177820074E-32</c:v>
                </c:pt>
                <c:pt idx="4">
                  <c:v>2.7634614660516824E-32</c:v>
                </c:pt>
                <c:pt idx="5">
                  <c:v>3.3447235197084373E-32</c:v>
                </c:pt>
                <c:pt idx="6">
                  <c:v>4.0482228910413045E-32</c:v>
                </c:pt>
                <c:pt idx="7">
                  <c:v>4.8996601371590101E-32</c:v>
                </c:pt>
                <c:pt idx="8">
                  <c:v>5.9301381466481442E-32</c:v>
                </c:pt>
                <c:pt idx="9">
                  <c:v>7.177297444131783E-32</c:v>
                </c:pt>
                <c:pt idx="10">
                  <c:v>8.6866900165046727E-32</c:v>
                </c:pt>
                <c:pt idx="11">
                  <c:v>1.0513441758671774E-31</c:v>
                </c:pt>
                <c:pt idx="12">
                  <c:v>1.2724264155629638E-31</c:v>
                </c:pt>
                <c:pt idx="13">
                  <c:v>1.5399888544719194E-31</c:v>
                </c:pt>
                <c:pt idx="14">
                  <c:v>1.8638011700065473E-31</c:v>
                </c:pt>
                <c:pt idx="15">
                  <c:v>2.2556860111092243E-31</c:v>
                </c:pt>
                <c:pt idx="16">
                  <c:v>2.7299502866544141E-31</c:v>
                </c:pt>
                <c:pt idx="17">
                  <c:v>3.3039070324825154E-31</c:v>
                </c:pt>
                <c:pt idx="18">
                  <c:v>3.9985068742858743E-31</c:v>
                </c:pt>
                <c:pt idx="19">
                  <c:v>4.8391020949285072E-31</c:v>
                </c:pt>
                <c:pt idx="20">
                  <c:v>5.8563711435448686E-31</c:v>
                </c:pt>
                <c:pt idx="21">
                  <c:v>7.08743726556036E-31</c:v>
                </c:pt>
                <c:pt idx="22">
                  <c:v>8.5772220000310257E-31</c:v>
                </c:pt>
                <c:pt idx="23">
                  <c:v>1.0380082840397923E-30</c:v>
                </c:pt>
                <c:pt idx="24">
                  <c:v>1.2561794697699406E-30</c:v>
                </c:pt>
                <c:pt idx="25">
                  <c:v>1.5201947317484893E-30</c:v>
                </c:pt>
                <c:pt idx="26">
                  <c:v>1.8396845937847251E-30</c:v>
                </c:pt>
                <c:pt idx="27">
                  <c:v>2.2263020786235663E-30</c:v>
                </c:pt>
                <c:pt idx="28">
                  <c:v>2.6941473162307258E-30</c:v>
                </c:pt>
                <c:pt idx="29">
                  <c:v>3.2602812647711433E-30</c:v>
                </c:pt>
                <c:pt idx="30">
                  <c:v>3.9453472394701474E-30</c:v>
                </c:pt>
                <c:pt idx="31">
                  <c:v>4.7743228650874298E-30</c:v>
                </c:pt>
                <c:pt idx="32">
                  <c:v>5.7774298100982792E-30</c:v>
                </c:pt>
                <c:pt idx="33">
                  <c:v>6.9912343970412747E-30</c:v>
                </c:pt>
                <c:pt idx="34">
                  <c:v>8.4599791221034563E-30</c:v>
                </c:pt>
                <c:pt idx="35">
                  <c:v>1.0237193509733283E-29</c:v>
                </c:pt>
                <c:pt idx="36">
                  <c:v>1.2387642879468126E-29</c:v>
                </c:pt>
                <c:pt idx="37">
                  <c:v>1.4989685880584259E-29</c:v>
                </c:pt>
                <c:pt idx="38">
                  <c:v>1.81381265010931E-29</c:v>
                </c:pt>
                <c:pt idx="39">
                  <c:v>2.1947664219694523E-29</c:v>
                </c:pt>
                <c:pt idx="40">
                  <c:v>2.6557067693974845E-29</c:v>
                </c:pt>
                <c:pt idx="41">
                  <c:v>3.2134223653235741E-29</c:v>
                </c:pt>
                <c:pt idx="42">
                  <c:v>3.8882244442338665E-29</c:v>
                </c:pt>
                <c:pt idx="43">
                  <c:v>4.704685609587952E-29</c:v>
                </c:pt>
                <c:pt idx="44">
                  <c:v>5.6925335302645807E-29</c:v>
                </c:pt>
                <c:pt idx="45">
                  <c:v>6.8877319832937589E-29</c:v>
                </c:pt>
                <c:pt idx="46">
                  <c:v>8.3337884982529261E-29</c:v>
                </c:pt>
                <c:pt idx="47">
                  <c:v>1.0083336079898069E-28</c:v>
                </c:pt>
                <c:pt idx="48">
                  <c:v>1.2200046427641044E-28</c:v>
                </c:pt>
                <c:pt idx="49">
                  <c:v>1.4760944093297211E-28</c:v>
                </c:pt>
                <c:pt idx="50">
                  <c:v>1.7859205557409947E-28</c:v>
                </c:pt>
                <c:pt idx="51">
                  <c:v>2.1607544785574637E-28</c:v>
                </c:pt>
                <c:pt idx="52">
                  <c:v>2.6142308085778255E-28</c:v>
                </c:pt>
                <c:pt idx="53">
                  <c:v>3.1628426794967268E-28</c:v>
                </c:pt>
                <c:pt idx="54">
                  <c:v>3.826540740773124E-28</c:v>
                </c:pt>
                <c:pt idx="55">
                  <c:v>4.6294576346319278E-28</c:v>
                </c:pt>
                <c:pt idx="56">
                  <c:v>5.6007842018122355E-28</c:v>
                </c:pt>
                <c:pt idx="57">
                  <c:v>6.775829175716227E-28</c:v>
                </c:pt>
                <c:pt idx="58">
                  <c:v>8.1973007685891413E-28</c:v>
                </c:pt>
                <c:pt idx="59">
                  <c:v>9.9168565863459684E-28</c:v>
                </c:pt>
                <c:pt idx="60">
                  <c:v>1.1996978020826206E-27</c:v>
                </c:pt>
                <c:pt idx="61">
                  <c:v>1.4513237010389185E-27</c:v>
                </c:pt>
                <c:pt idx="62">
                  <c:v>1.7557037255818321E-27</c:v>
                </c:pt>
                <c:pt idx="63">
                  <c:v>2.1238929140960039E-27</c:v>
                </c:pt>
                <c:pt idx="64">
                  <c:v>2.5692618355777628E-27</c:v>
                </c:pt>
                <c:pt idx="65">
                  <c:v>3.1079813302184791E-27</c:v>
                </c:pt>
                <c:pt idx="66">
                  <c:v>3.7596086684911997E-27</c:v>
                </c:pt>
                <c:pt idx="67">
                  <c:v>4.5477963344315197E-27</c:v>
                </c:pt>
                <c:pt idx="68">
                  <c:v>5.5011490696938862E-27</c:v>
                </c:pt>
                <c:pt idx="69">
                  <c:v>6.6542601709994566E-27</c:v>
                </c:pt>
                <c:pt idx="70">
                  <c:v>8.0489645077690388E-27</c:v>
                </c:pt>
                <c:pt idx="71">
                  <c:v>9.7358535522973647E-27</c:v>
                </c:pt>
                <c:pt idx="72">
                  <c:v>1.1776107173616232E-26</c:v>
                </c:pt>
                <c:pt idx="73">
                  <c:v>1.4243708378783122E-26</c:v>
                </c:pt>
                <c:pt idx="74">
                  <c:v>1.722812100325023E-26</c:v>
                </c:pt>
                <c:pt idx="75">
                  <c:v>2.0837527052453617E-26</c:v>
                </c:pt>
                <c:pt idx="76">
                  <c:v>2.5202740580626535E-26</c:v>
                </c:pt>
                <c:pt idx="77">
                  <c:v>3.0481939385976876E-26</c:v>
                </c:pt>
                <c:pt idx="78">
                  <c:v>3.6866385280800673E-26</c:v>
                </c:pt>
                <c:pt idx="79">
                  <c:v>4.4587339320427311E-26</c:v>
                </c:pt>
                <c:pt idx="80">
                  <c:v>5.3924421426151671E-26</c:v>
                </c:pt>
                <c:pt idx="81">
                  <c:v>6.5215715860963508E-26</c:v>
                </c:pt>
                <c:pt idx="82">
                  <c:v>7.8869986881016949E-26</c:v>
                </c:pt>
                <c:pt idx="83">
                  <c:v>9.5381444847094568E-26</c:v>
                </c:pt>
                <c:pt idx="84">
                  <c:v>1.1534759486467433E-25</c:v>
                </c:pt>
                <c:pt idx="85">
                  <c:v>1.3949081092128659E-25</c:v>
                </c:pt>
                <c:pt idx="86">
                  <c:v>1.6868441248267358E-25</c:v>
                </c:pt>
                <c:pt idx="87">
                  <c:v>2.0398418239828603E-25</c:v>
                </c:pt>
                <c:pt idx="88">
                  <c:v>2.4666646055352893E-25</c:v>
                </c:pt>
                <c:pt idx="89">
                  <c:v>2.9827418399731713E-25</c:v>
                </c:pt>
                <c:pt idx="90">
                  <c:v>3.6067252973102151E-25</c:v>
                </c:pt>
                <c:pt idx="91">
                  <c:v>4.36116161186901E-25</c:v>
                </c:pt>
                <c:pt idx="92">
                  <c:v>5.2733049599105007E-25</c:v>
                </c:pt>
                <c:pt idx="93">
                  <c:v>6.3760991579817367E-25</c:v>
                </c:pt>
                <c:pt idx="94">
                  <c:v>7.7093644679537535E-25</c:v>
                </c:pt>
                <c:pt idx="95">
                  <c:v>9.3212317362510064E-25</c:v>
                </c:pt>
                <c:pt idx="96">
                  <c:v>1.1269875362020617E-24</c:v>
                </c:pt>
                <c:pt idx="97">
                  <c:v>1.3625607298650047E-24</c:v>
                </c:pt>
                <c:pt idx="98">
                  <c:v>1.6473407227426904E-24</c:v>
                </c:pt>
                <c:pt idx="99">
                  <c:v>1.9915979662800311E-24</c:v>
                </c:pt>
                <c:pt idx="100">
                  <c:v>2.4077447612816612E-24</c:v>
                </c:pt>
                <c:pt idx="101">
                  <c:v>2.9107815198424059E-24</c:v>
                </c:pt>
                <c:pt idx="102">
                  <c:v>3.5188359143297677E-24</c:v>
                </c:pt>
                <c:pt idx="103">
                  <c:v>4.2538142261502698E-24</c:v>
                </c:pt>
                <c:pt idx="104">
                  <c:v>5.1421882176310345E-24</c:v>
                </c:pt>
                <c:pt idx="105">
                  <c:v>6.2159456927163161E-24</c:v>
                </c:pt>
                <c:pt idx="106">
                  <c:v>7.5137387585624022E-24</c:v>
                </c:pt>
                <c:pt idx="107">
                  <c:v>9.0822708583784325E-24</c:v>
                </c:pt>
                <c:pt idx="108">
                  <c:v>1.0977972166842312E-23</c:v>
                </c:pt>
                <c:pt idx="109">
                  <c:v>1.3269023225767538E-23</c:v>
                </c:pt>
                <c:pt idx="110">
                  <c:v>1.6037799114603999E-23</c:v>
                </c:pt>
                <c:pt idx="111">
                  <c:v>1.9383821438399994E-23</c:v>
                </c:pt>
                <c:pt idx="112">
                  <c:v>2.3427323506585486E-23</c:v>
                </c:pt>
                <c:pt idx="113">
                  <c:v>2.8313555910589264E-23</c:v>
                </c:pt>
                <c:pt idx="114">
                  <c:v>3.4217986060407334E-23</c:v>
                </c:pt>
                <c:pt idx="115">
                  <c:v>4.1352577042825526E-23</c:v>
                </c:pt>
                <c:pt idx="116">
                  <c:v>4.9973369542456425E-23</c:v>
                </c:pt>
                <c:pt idx="117">
                  <c:v>6.0389636878440032E-23</c:v>
                </c:pt>
                <c:pt idx="118">
                  <c:v>7.2974939091417648E-23</c:v>
                </c:pt>
                <c:pt idx="119">
                  <c:v>8.8180469441386069E-23</c:v>
                </c:pt>
                <c:pt idx="120">
                  <c:v>1.0655116802749614E-22</c:v>
                </c:pt>
                <c:pt idx="121">
                  <c:v>1.287451753861895E-22</c:v>
                </c:pt>
                <c:pt idx="122">
                  <c:v>1.555573173246555E-22</c:v>
                </c:pt>
                <c:pt idx="123">
                  <c:v>1.8794745507482827E-22</c:v>
                </c:pt>
                <c:pt idx="124">
                  <c:v>2.2707470713850544E-22</c:v>
                </c:pt>
                <c:pt idx="125">
                  <c:v>2.7433875699975884E-22</c:v>
                </c:pt>
                <c:pt idx="126">
                  <c:v>3.3142971151471413E-22</c:v>
                </c:pt>
                <c:pt idx="127">
                  <c:v>4.0038827705929294E-22</c:v>
                </c:pt>
                <c:pt idx="128">
                  <c:v>4.8367838503805787E-22</c:v>
                </c:pt>
                <c:pt idx="129">
                  <c:v>5.8427483792499441E-22</c:v>
                </c:pt>
                <c:pt idx="130">
                  <c:v>7.0576907703495631E-22</c:v>
                </c:pt>
                <c:pt idx="131">
                  <c:v>8.5249681228655884E-22</c:v>
                </c:pt>
                <c:pt idx="132">
                  <c:v>1.0296920246925819E-21</c:v>
                </c:pt>
                <c:pt idx="133">
                  <c:v>1.2436727811600848E-21</c:v>
                </c:pt>
                <c:pt idx="134">
                  <c:v>1.5020654208779606E-21</c:v>
                </c:pt>
                <c:pt idx="135">
                  <c:v>1.8140750222287296E-21</c:v>
                </c:pt>
                <c:pt idx="136">
                  <c:v>2.1908116859005566E-21</c:v>
                </c:pt>
                <c:pt idx="137">
                  <c:v>2.6456841304320765E-21</c:v>
                </c:pt>
                <c:pt idx="138">
                  <c:v>3.1948744591223384E-21</c:v>
                </c:pt>
                <c:pt idx="139">
                  <c:v>3.857910804351992E-21</c:v>
                </c:pt>
                <c:pt idx="140">
                  <c:v>4.6583579859390427E-21</c:v>
                </c:pt>
                <c:pt idx="141">
                  <c:v>5.6246504534393015E-21</c:v>
                </c:pt>
                <c:pt idx="142">
                  <c:v>6.7910967618401329E-21</c:v>
                </c:pt>
                <c:pt idx="143">
                  <c:v>8.1990908286522023E-21</c:v>
                </c:pt>
                <c:pt idx="144">
                  <c:v>9.8985724459176481E-21</c:v>
                </c:pt>
                <c:pt idx="145">
                  <c:v>1.1949788223342625E-20</c:v>
                </c:pt>
                <c:pt idx="146">
                  <c:v>1.4425414619719847E-20</c:v>
                </c:pt>
                <c:pt idx="147">
                  <c:v>1.7413117341275867E-20</c:v>
                </c:pt>
                <c:pt idx="148">
                  <c:v>2.1018636583373216E-20</c:v>
                </c:pt>
                <c:pt idx="149">
                  <c:v>2.5369505890294819E-20</c:v>
                </c:pt>
                <c:pt idx="150">
                  <c:v>3.0619534437163889E-20</c:v>
                </c:pt>
                <c:pt idx="151">
                  <c:v>3.6954209056626917E-20</c:v>
                </c:pt>
                <c:pt idx="152">
                  <c:v>4.4597204252504762E-20</c:v>
                </c:pt>
                <c:pt idx="153">
                  <c:v>5.381822685946549E-20</c:v>
                </c:pt>
                <c:pt idx="154">
                  <c:v>6.4942468239748822E-20</c:v>
                </c:pt>
                <c:pt idx="155">
                  <c:v>7.8361992539239167E-20</c:v>
                </c:pt>
                <c:pt idx="156">
                  <c:v>9.4549456459741824E-20</c:v>
                </c:pt>
                <c:pt idx="157">
                  <c:v>1.140746365302064E-19</c:v>
                </c:pt>
                <c:pt idx="158">
                  <c:v>1.3762433672619647E-19</c:v>
                </c:pt>
                <c:pt idx="159">
                  <c:v>1.6602636579725408E-19</c:v>
                </c:pt>
                <c:pt idx="160">
                  <c:v>2.0027841378372204E-19</c:v>
                </c:pt>
                <c:pt idx="161">
                  <c:v>2.4158282570392051E-19</c:v>
                </c:pt>
                <c:pt idx="162">
                  <c:v>2.9138847299275409E-19</c:v>
                </c:pt>
                <c:pt idx="163">
                  <c:v>3.514411668458101E-19</c:v>
                </c:pt>
                <c:pt idx="164">
                  <c:v>4.2384435042025911E-19</c:v>
                </c:pt>
                <c:pt idx="165">
                  <c:v>5.1113215876867511E-19</c:v>
                </c:pt>
                <c:pt idx="166">
                  <c:v>6.1635735832239969E-19</c:v>
                </c:pt>
                <c:pt idx="167">
                  <c:v>7.4319718596134129E-19</c:v>
                </c:pt>
                <c:pt idx="168">
                  <c:v>8.9608071832381512E-19</c:v>
                </c:pt>
                <c:pt idx="169">
                  <c:v>1.0803421355546213E-18</c:v>
                </c:pt>
                <c:pt idx="170">
                  <c:v>1.3024051247920513E-18</c:v>
                </c:pt>
                <c:pt idx="171">
                  <c:v>1.5700047268869961E-18</c:v>
                </c:pt>
                <c:pt idx="172">
                  <c:v>1.8924542005473107E-18</c:v>
                </c:pt>
                <c:pt idx="173">
                  <c:v>2.2809660037588248E-18</c:v>
                </c:pt>
                <c:pt idx="174">
                  <c:v>2.749037823842757E-18</c:v>
                </c:pt>
                <c:pt idx="175">
                  <c:v>3.3129167858460558E-18</c:v>
                </c:pt>
                <c:pt idx="176">
                  <c:v>3.9921576072003054E-18</c:v>
                </c:pt>
                <c:pt idx="177">
                  <c:v>4.8102936322535013E-18</c:v>
                </c:pt>
                <c:pt idx="178">
                  <c:v>5.7956434782188915E-18</c:v>
                </c:pt>
                <c:pt idx="179">
                  <c:v>6.9822805798384302E-18</c:v>
                </c:pt>
                <c:pt idx="180">
                  <c:v>8.4111983839241687E-18</c:v>
                </c:pt>
                <c:pt idx="181">
                  <c:v>1.0131710496836766E-17</c:v>
                </c:pt>
                <c:pt idx="182">
                  <c:v>1.22031329431849E-17</c:v>
                </c:pt>
                <c:pt idx="183">
                  <c:v>1.4696805110195132E-17</c:v>
                </c:pt>
                <c:pt idx="184">
                  <c:v>1.7698517237468143E-17</c:v>
                </c:pt>
                <c:pt idx="185">
                  <c:v>2.1311425834725824E-17</c:v>
                </c:pt>
                <c:pt idx="186">
                  <c:v>2.5659554611339887E-17</c:v>
                </c:pt>
                <c:pt idx="187">
                  <c:v>3.0891997907636784E-17</c:v>
                </c:pt>
                <c:pt idx="188">
                  <c:v>3.718796685873867E-17</c:v>
                </c:pt>
                <c:pt idx="189">
                  <c:v>4.4762846349180713E-17</c:v>
                </c:pt>
                <c:pt idx="190">
                  <c:v>5.3875464129202593E-17</c:v>
                </c:pt>
                <c:pt idx="191">
                  <c:v>6.4836813334430174E-17</c:v>
                </c:pt>
                <c:pt idx="192">
                  <c:v>7.8020517360616563E-17</c:v>
                </c:pt>
                <c:pt idx="193">
                  <c:v>9.3875383123259159E-17</c:v>
                </c:pt>
                <c:pt idx="194">
                  <c:v>1.1294045700263898E-16</c:v>
                </c:pt>
                <c:pt idx="195">
                  <c:v>1.3586307941476003E-16</c:v>
                </c:pt>
                <c:pt idx="196">
                  <c:v>1.6342053155327783E-16</c:v>
                </c:pt>
                <c:pt idx="197">
                  <c:v>1.9654598451160797E-16</c:v>
                </c:pt>
                <c:pt idx="198">
                  <c:v>2.3635960040639711E-16</c:v>
                </c:pt>
                <c:pt idx="199">
                  <c:v>2.8420580167826371E-16</c:v>
                </c:pt>
                <c:pt idx="200">
                  <c:v>3.4169792367844828E-16</c:v>
                </c:pt>
                <c:pt idx="201">
                  <c:v>4.1077170319432037E-16</c:v>
                </c:pt>
                <c:pt idx="202">
                  <c:v>4.9374933914355571E-16</c:v>
                </c:pt>
                <c:pt idx="203">
                  <c:v>5.9341620010658722E-16</c:v>
                </c:pt>
                <c:pt idx="204">
                  <c:v>7.1311265717491602E-16</c:v>
                </c:pt>
                <c:pt idx="205">
                  <c:v>8.5684400226157153E-16</c:v>
                </c:pt>
                <c:pt idx="206">
                  <c:v>1.0294119863992516E-15</c:v>
                </c:pt>
                <c:pt idx="207">
                  <c:v>1.2365721972902818E-15</c:v>
                </c:pt>
                <c:pt idx="208">
                  <c:v>1.4852223114326863E-15</c:v>
                </c:pt>
                <c:pt idx="209">
                  <c:v>1.7836272284225904E-15</c:v>
                </c:pt>
                <c:pt idx="210">
                  <c:v>2.1416882530714408E-15</c:v>
                </c:pt>
                <c:pt idx="211">
                  <c:v>2.5712648698375556E-15</c:v>
                </c:pt>
                <c:pt idx="212">
                  <c:v>3.0865592953359766E-15</c:v>
                </c:pt>
                <c:pt idx="213">
                  <c:v>3.7045759476541808E-15</c:v>
                </c:pt>
                <c:pt idx="214">
                  <c:v>4.445670294285196E-15</c:v>
                </c:pt>
                <c:pt idx="215">
                  <c:v>5.3342043028899152E-15</c:v>
                </c:pt>
                <c:pt idx="216">
                  <c:v>6.3993290027488891E-15</c:v>
                </c:pt>
                <c:pt idx="217">
                  <c:v>7.6759185666257119E-15</c:v>
                </c:pt>
                <c:pt idx="218">
                  <c:v>9.2056849575317899E-15</c:v>
                </c:pt>
                <c:pt idx="219">
                  <c:v>1.1038507688177769E-14</c:v>
                </c:pt>
                <c:pt idx="220">
                  <c:v>1.3234019772973276E-14</c:v>
                </c:pt>
                <c:pt idx="221">
                  <c:v>1.5863498702602915E-14</c:v>
                </c:pt>
                <c:pt idx="222">
                  <c:v>1.9012120462943545E-14</c:v>
                </c:pt>
                <c:pt idx="223">
                  <c:v>2.2781645517088638E-14</c:v>
                </c:pt>
                <c:pt idx="224">
                  <c:v>2.7293618582508825E-14</c:v>
                </c:pt>
                <c:pt idx="225">
                  <c:v>3.269317933144095E-14</c:v>
                </c:pt>
                <c:pt idx="226">
                  <c:v>3.9153599253277209E-14</c:v>
                </c:pt>
                <c:pt idx="227">
                  <c:v>4.6881681351363669E-14</c:v>
                </c:pt>
                <c:pt idx="228">
                  <c:v>5.612418470140768E-14</c:v>
                </c:pt>
                <c:pt idx="229">
                  <c:v>6.7175465877990336E-14</c:v>
                </c:pt>
                <c:pt idx="230">
                  <c:v>8.0386564686090567E-14</c:v>
                </c:pt>
                <c:pt idx="231">
                  <c:v>9.6176003486869672E-14</c:v>
                </c:pt>
                <c:pt idx="232">
                  <c:v>1.1504261882054222E-13</c:v>
                </c:pt>
                <c:pt idx="233">
                  <c:v>1.3758080234039065E-13</c:v>
                </c:pt>
                <c:pt idx="234">
                  <c:v>1.6449859684707635E-13</c:v>
                </c:pt>
                <c:pt idx="235">
                  <c:v>1.9663917428581122E-13</c:v>
                </c:pt>
                <c:pt idx="236">
                  <c:v>2.3500631808783316E-13</c:v>
                </c:pt>
                <c:pt idx="237">
                  <c:v>2.8079464471269072E-13</c:v>
                </c:pt>
                <c:pt idx="238">
                  <c:v>3.3542543161380407E-13</c:v>
                </c:pt>
                <c:pt idx="239">
                  <c:v>4.0058907453266399E-13</c:v>
                </c:pt>
                <c:pt idx="240">
                  <c:v>4.7829538002500362E-13</c:v>
                </c:pt>
                <c:pt idx="241">
                  <c:v>5.7093311409575828E-13</c:v>
                </c:pt>
                <c:pt idx="242">
                  <c:v>6.8134048019713547E-13</c:v>
                </c:pt>
                <c:pt idx="243">
                  <c:v>8.128884959436715E-13</c:v>
                </c:pt>
                <c:pt idx="244">
                  <c:v>9.695795850648386E-13</c:v>
                </c:pt>
                <c:pt idx="245">
                  <c:v>1.1561641078834896E-12</c:v>
                </c:pt>
                <c:pt idx="246">
                  <c:v>1.3782780298792223E-12</c:v>
                </c:pt>
                <c:pt idx="247">
                  <c:v>1.6426054851518627E-12</c:v>
                </c:pt>
                <c:pt idx="248">
                  <c:v>1.9570706431394939E-12</c:v>
                </c:pt>
                <c:pt idx="249">
                  <c:v>2.3310640481537695E-12</c:v>
                </c:pt>
                <c:pt idx="250">
                  <c:v>2.7757094899565655E-12</c:v>
                </c:pt>
                <c:pt idx="251">
                  <c:v>3.3041785002460338E-12</c:v>
                </c:pt>
                <c:pt idx="252">
                  <c:v>3.9320607782232508E-12</c:v>
                </c:pt>
                <c:pt idx="253">
                  <c:v>4.6778002556430498E-12</c:v>
                </c:pt>
                <c:pt idx="254">
                  <c:v>5.5632081492873478E-12</c:v>
                </c:pt>
                <c:pt idx="255">
                  <c:v>6.6140662526834557E-12</c:v>
                </c:pt>
                <c:pt idx="256">
                  <c:v>7.8608359304879228E-12</c:v>
                </c:pt>
                <c:pt idx="257">
                  <c:v>9.3394908456713609E-12</c:v>
                </c:pt>
                <c:pt idx="258">
                  <c:v>1.1092494425717201E-11</c:v>
                </c:pt>
                <c:pt idx="259">
                  <c:v>1.3169946521480345E-11</c:v>
                </c:pt>
                <c:pt idx="260">
                  <c:v>1.5630927701868566E-11</c:v>
                </c:pt>
                <c:pt idx="261">
                  <c:v>1.8545074239704372E-11</c:v>
                </c:pt>
                <c:pt idx="262">
                  <c:v>2.1994422170660602E-11</c:v>
                </c:pt>
                <c:pt idx="263">
                  <c:v>2.6075564952128238E-11</c:v>
                </c:pt>
                <c:pt idx="264">
                  <c:v>3.0902176330288489E-11</c:v>
                </c:pt>
                <c:pt idx="265">
                  <c:v>3.6607958175049681E-11</c:v>
                </c:pt>
                <c:pt idx="266">
                  <c:v>4.3350082414699555E-11</c:v>
                </c:pt>
                <c:pt idx="267">
                  <c:v>5.1313206965152714E-11</c:v>
                </c:pt>
                <c:pt idx="268">
                  <c:v>6.0714157893819593E-11</c:v>
                </c:pt>
                <c:pt idx="269">
                  <c:v>7.18073842001159E-11</c:v>
                </c:pt>
                <c:pt idx="270">
                  <c:v>8.4891307774011228E-11</c:v>
                </c:pt>
                <c:pt idx="271">
                  <c:v>1.0031570957958452E-10</c:v>
                </c:pt>
                <c:pt idx="272">
                  <c:v>1.1849031420191162E-10</c:v>
                </c:pt>
                <c:pt idx="273">
                  <c:v>1.3989475892597686E-10</c:v>
                </c:pt>
                <c:pt idx="274">
                  <c:v>1.6509016085506318E-10</c:v>
                </c:pt>
                <c:pt idx="275">
                  <c:v>1.9473252663171249E-10</c:v>
                </c:pt>
                <c:pt idx="276">
                  <c:v>2.2958828454705848E-10</c:v>
                </c:pt>
                <c:pt idx="277">
                  <c:v>2.705522587088285E-10</c:v>
                </c:pt>
                <c:pt idx="278">
                  <c:v>3.1866845002609421E-10</c:v>
                </c:pt>
                <c:pt idx="279">
                  <c:v>3.751540396506398E-10</c:v>
                </c:pt>
                <c:pt idx="280">
                  <c:v>4.4142708783245448E-10</c:v>
                </c:pt>
                <c:pt idx="281">
                  <c:v>5.1913846559434583E-10</c:v>
                </c:pt>
                <c:pt idx="282">
                  <c:v>6.1020862895535857E-10</c:v>
                </c:pt>
                <c:pt idx="283">
                  <c:v>7.1686992643488447E-10</c:v>
                </c:pt>
                <c:pt idx="284">
                  <c:v>8.4171522110125065E-10</c:v>
                </c:pt>
                <c:pt idx="285">
                  <c:v>9.8775370939185372E-10</c:v>
                </c:pt>
                <c:pt idx="286">
                  <c:v>1.1584749312737201E-9</c:v>
                </c:pt>
                <c:pt idx="287">
                  <c:v>1.3579220910213557E-9</c:v>
                </c:pt>
                <c:pt idx="288">
                  <c:v>1.5907759459812275E-9</c:v>
                </c:pt>
                <c:pt idx="289">
                  <c:v>1.8624506732103868E-9</c:v>
                </c:pt>
                <c:pt idx="290">
                  <c:v>2.1792032918693062E-9</c:v>
                </c:pt>
                <c:pt idx="291">
                  <c:v>2.5482584037567863E-9</c:v>
                </c:pt>
                <c:pt idx="292">
                  <c:v>2.9779502164086814E-9</c:v>
                </c:pt>
                <c:pt idx="293">
                  <c:v>3.4778840337025687E-9</c:v>
                </c:pt>
                <c:pt idx="294">
                  <c:v>4.0591196387916136E-9</c:v>
                </c:pt>
                <c:pt idx="295">
                  <c:v>4.7343792541922726E-9</c:v>
                </c:pt>
                <c:pt idx="296">
                  <c:v>5.518283044575545E-9</c:v>
                </c:pt>
                <c:pt idx="297">
                  <c:v>6.4276154296555611E-9</c:v>
                </c:pt>
                <c:pt idx="298">
                  <c:v>7.4816257976792971E-9</c:v>
                </c:pt>
                <c:pt idx="299">
                  <c:v>8.7023675542180169E-9</c:v>
                </c:pt>
                <c:pt idx="300">
                  <c:v>1.0115079805696752E-8</c:v>
                </c:pt>
                <c:pt idx="301">
                  <c:v>1.1748616361350059E-8</c:v>
                </c:pt>
                <c:pt idx="302">
                  <c:v>1.3635927139521524E-8</c:v>
                </c:pt>
                <c:pt idx="303">
                  <c:v>1.5814597482241927E-8</c:v>
                </c:pt>
                <c:pt idx="304">
                  <c:v>1.8327451312936313E-8</c:v>
                </c:pt>
                <c:pt idx="305">
                  <c:v>2.1223224512191403E-8</c:v>
                </c:pt>
                <c:pt idx="306">
                  <c:v>2.4557315331114788E-8</c:v>
                </c:pt>
                <c:pt idx="307">
                  <c:v>2.8392619105224E-8</c:v>
                </c:pt>
                <c:pt idx="308">
                  <c:v>3.2800454967179418E-8</c:v>
                </c:pt>
                <c:pt idx="309">
                  <c:v>3.7861592675880293E-8</c:v>
                </c:pt>
                <c:pt idx="310">
                  <c:v>4.3667388072969633E-8</c:v>
                </c:pt>
                <c:pt idx="311">
                  <c:v>5.0321036034657117E-8</c:v>
                </c:pt>
                <c:pt idx="312">
                  <c:v>5.7938950094357536E-8</c:v>
                </c:pt>
                <c:pt idx="313">
                  <c:v>6.6652278155722623E-8</c:v>
                </c:pt>
                <c:pt idx="314">
                  <c:v>7.6608563880184187E-8</c:v>
                </c:pt>
                <c:pt idx="315">
                  <c:v>8.7973563400365522E-8</c:v>
                </c:pt>
                <c:pt idx="316">
                  <c:v>1.0093322696103766E-7</c:v>
                </c:pt>
                <c:pt idx="317">
                  <c:v>1.1569585490132144E-7</c:v>
                </c:pt>
                <c:pt idx="318">
                  <c:v>1.3249443704250167E-7</c:v>
                </c:pt>
                <c:pt idx="319">
                  <c:v>1.5158918401031983E-7</c:v>
                </c:pt>
                <c:pt idx="320">
                  <c:v>1.7327025827287283E-7</c:v>
                </c:pt>
                <c:pt idx="321">
                  <c:v>1.9786071168782338E-7</c:v>
                </c:pt>
                <c:pt idx="322">
                  <c:v>2.2571963509720665E-7</c:v>
                </c:pt>
                <c:pt idx="323">
                  <c:v>2.5724552395587484E-7</c:v>
                </c:pt>
                <c:pt idx="324">
                  <c:v>2.9287986210162515E-7</c:v>
                </c:pt>
                <c:pt idx="325">
                  <c:v>3.3311092354276872E-7</c:v>
                </c:pt>
                <c:pt idx="326">
                  <c:v>3.7847778952518627E-7</c:v>
                </c:pt>
                <c:pt idx="327">
                  <c:v>4.2957457512003074E-7</c:v>
                </c:pt>
                <c:pt idx="328">
                  <c:v>4.8705485612266911E-7</c:v>
                </c:pt>
                <c:pt idx="329">
                  <c:v>5.5163628315397031E-7</c:v>
                </c:pt>
                <c:pt idx="330">
                  <c:v>6.241053654922341E-7</c:v>
                </c:pt>
                <c:pt idx="331">
                  <c:v>7.053224023292669E-7</c:v>
                </c:pt>
                <c:pt idx="332">
                  <c:v>7.9622653383570515E-7</c:v>
                </c:pt>
                <c:pt idx="333">
                  <c:v>8.9784087864506414E-7</c:v>
                </c:pt>
                <c:pt idx="334">
                  <c:v>1.0112777181395301E-6</c:v>
                </c:pt>
                <c:pt idx="335">
                  <c:v>1.1377436812694463E-6</c:v>
                </c:pt>
                <c:pt idx="336">
                  <c:v>1.2785448766022147E-6</c:v>
                </c:pt>
                <c:pt idx="337">
                  <c:v>1.4350919109267387E-6</c:v>
                </c:pt>
                <c:pt idx="338">
                  <c:v>1.6089047261031595E-6</c:v>
                </c:pt>
                <c:pt idx="339">
                  <c:v>1.8016171780264104E-6</c:v>
                </c:pt>
                <c:pt idx="340">
                  <c:v>2.0149812736643905E-6</c:v>
                </c:pt>
                <c:pt idx="341">
                  <c:v>2.2508709742519663E-6</c:v>
                </c:pt>
                <c:pt idx="342">
                  <c:v>2.5112854650032929E-6</c:v>
                </c:pt>
                <c:pt idx="343">
                  <c:v>2.7983517842955457E-6</c:v>
                </c:pt>
                <c:pt idx="344">
                  <c:v>3.1143266983437561E-6</c:v>
                </c:pt>
                <c:pt idx="345">
                  <c:v>3.4615977011111807E-6</c:v>
                </c:pt>
                <c:pt idx="346">
                  <c:v>3.8426830137774091E-6</c:v>
                </c:pt>
                <c:pt idx="347">
                  <c:v>4.2602304537289088E-6</c:v>
                </c:pt>
                <c:pt idx="348">
                  <c:v>4.7170150399603794E-6</c:v>
                </c:pt>
                <c:pt idx="349">
                  <c:v>5.2159352002105894E-6</c:v>
                </c:pt>
                <c:pt idx="350">
                  <c:v>5.7600074453289001E-6</c:v>
                </c:pt>
                <c:pt idx="351">
                  <c:v>6.3523593785140933E-6</c:v>
                </c:pt>
                <c:pt idx="352">
                  <c:v>6.9962209114042221E-6</c:v>
                </c:pt>
                <c:pt idx="353">
                  <c:v>7.6949135657431145E-6</c:v>
                </c:pt>
                <c:pt idx="354">
                  <c:v>8.4518377487013368E-6</c:v>
                </c:pt>
                <c:pt idx="355">
                  <c:v>9.2704579020599051E-6</c:v>
                </c:pt>
                <c:pt idx="356">
                  <c:v>1.0154285440522785E-5</c:v>
                </c:pt>
                <c:pt idx="357">
                  <c:v>1.1106859412511627E-5</c:v>
                </c:pt>
                <c:pt idx="358">
                  <c:v>1.2131724837984963E-5</c:v>
                </c:pt>
                <c:pt idx="359">
                  <c:v>1.3232408702125504E-5</c:v>
                </c:pt>
                <c:pt idx="360">
                  <c:v>1.4412393611109931E-5</c:v>
                </c:pt>
                <c:pt idx="361">
                  <c:v>1.5675089146521248E-5</c:v>
                </c:pt>
                <c:pt idx="362">
                  <c:v>1.7023800988097385E-5</c:v>
                </c:pt>
                <c:pt idx="363">
                  <c:v>1.8461697910202532E-5</c:v>
                </c:pt>
                <c:pt idx="364">
                  <c:v>1.9991776795328774E-5</c:v>
                </c:pt>
                <c:pt idx="365">
                  <c:v>2.1616825847691798E-5</c:v>
                </c:pt>
                <c:pt idx="366">
                  <c:v>2.3339386231100231E-5</c:v>
                </c:pt>
                <c:pt idx="367">
                  <c:v>2.5161712397201003E-5</c:v>
                </c:pt>
                <c:pt idx="368">
                  <c:v>2.7085731412305541E-5</c:v>
                </c:pt>
                <c:pt idx="369">
                  <c:v>2.9113001632596335E-5</c:v>
                </c:pt>
                <c:pt idx="370">
                  <c:v>3.1244671117841849E-5</c:v>
                </c:pt>
                <c:pt idx="371">
                  <c:v>3.3481436212002412E-5</c:v>
                </c:pt>
                <c:pt idx="372">
                  <c:v>3.5823500754471044E-5</c:v>
                </c:pt>
                <c:pt idx="373">
                  <c:v>3.8270536417256484E-5</c:v>
                </c:pt>
                <c:pt idx="374">
                  <c:v>4.0821644690350462E-5</c:v>
                </c:pt>
                <c:pt idx="375">
                  <c:v>4.3475321058926921E-5</c:v>
                </c:pt>
                <c:pt idx="376">
                  <c:v>4.6229421931087427E-5</c:v>
                </c:pt>
                <c:pt idx="377">
                  <c:v>4.9081134882796182E-5</c:v>
                </c:pt>
                <c:pt idx="378">
                  <c:v>5.2026952786724422E-5</c:v>
                </c:pt>
                <c:pt idx="379">
                  <c:v>5.5062652383341239E-5</c:v>
                </c:pt>
                <c:pt idx="380">
                  <c:v>5.8183277835204233E-5</c:v>
                </c:pt>
                <c:pt idx="381">
                  <c:v>6.1383129778696285E-5</c:v>
                </c:pt>
                <c:pt idx="382">
                  <c:v>6.4655760351122406E-5</c:v>
                </c:pt>
                <c:pt idx="383">
                  <c:v>6.7993974625160739E-5</c:v>
                </c:pt>
                <c:pt idx="384">
                  <c:v>7.1389838827190803E-5</c:v>
                </c:pt>
                <c:pt idx="385">
                  <c:v>7.4834695651389448E-5</c:v>
                </c:pt>
                <c:pt idx="386">
                  <c:v>7.8319186908163134E-5</c:v>
                </c:pt>
                <c:pt idx="387">
                  <c:v>8.1833283664213837E-5</c:v>
                </c:pt>
                <c:pt idx="388">
                  <c:v>8.5366323943233046E-5</c:v>
                </c:pt>
                <c:pt idx="389">
                  <c:v>8.8907057961984802E-5</c:v>
                </c:pt>
                <c:pt idx="390">
                  <c:v>9.2443700777673963E-5</c:v>
                </c:pt>
                <c:pt idx="391">
                  <c:v>9.5963992120438161E-5</c:v>
                </c:pt>
                <c:pt idx="392">
                  <c:v>9.9455263081154669E-5</c:v>
                </c:pt>
                <c:pt idx="393">
                  <c:v>1.029045092212264E-4</c:v>
                </c:pt>
                <c:pt idx="394">
                  <c:v>1.0629846956933995E-4</c:v>
                </c:pt>
                <c:pt idx="395">
                  <c:v>1.0962371087228293E-4</c:v>
                </c:pt>
                <c:pt idx="396">
                  <c:v>1.1286671637453699E-4</c:v>
                </c:pt>
                <c:pt idx="397">
                  <c:v>1.1601397831637092E-4</c:v>
                </c:pt>
                <c:pt idx="398">
                  <c:v>1.1905209326427495E-4</c:v>
                </c:pt>
                <c:pt idx="399">
                  <c:v>1.219678593224232E-4</c:v>
                </c:pt>
                <c:pt idx="400">
                  <c:v>1.2474837422092491E-4</c:v>
                </c:pt>
                <c:pt idx="401">
                  <c:v>1.2738113323716073E-4</c:v>
                </c:pt>
                <c:pt idx="402">
                  <c:v>1.2985412588163521E-4</c:v>
                </c:pt>
                <c:pt idx="403">
                  <c:v>1.3215593027025087E-4</c:v>
                </c:pt>
                <c:pt idx="404">
                  <c:v>1.3427580411131076E-4</c:v>
                </c:pt>
                <c:pt idx="405">
                  <c:v>1.3620377125808907E-4</c:v>
                </c:pt>
                <c:pt idx="406">
                  <c:v>1.3793070281644645E-4</c:v>
                </c:pt>
                <c:pt idx="407">
                  <c:v>1.3944839185127235E-4</c:v>
                </c:pt>
                <c:pt idx="408">
                  <c:v>1.4074962080488039E-4</c:v>
                </c:pt>
                <c:pt idx="409">
                  <c:v>1.4182822082387404E-4</c:v>
                </c:pt>
                <c:pt idx="410">
                  <c:v>1.426791222870706E-4</c:v>
                </c:pt>
                <c:pt idx="411">
                  <c:v>1.4329839593450622E-4</c:v>
                </c:pt>
                <c:pt idx="412">
                  <c:v>1.4368328411432966E-4</c:v>
                </c:pt>
                <c:pt idx="413">
                  <c:v>1.4383222178883124E-4</c:v>
                </c:pt>
                <c:pt idx="414">
                  <c:v>1.4374484707067588E-4</c:v>
                </c:pt>
                <c:pt idx="415">
                  <c:v>1.4342200119351703E-4</c:v>
                </c:pt>
                <c:pt idx="416">
                  <c:v>1.4286571795531371E-4</c:v>
                </c:pt>
                <c:pt idx="417">
                  <c:v>1.4207920280548541E-4</c:v>
                </c:pt>
                <c:pt idx="418">
                  <c:v>1.4106680187649898E-4</c:v>
                </c:pt>
                <c:pt idx="419">
                  <c:v>1.3983396138419923E-4</c:v>
                </c:pt>
                <c:pt idx="420">
                  <c:v>1.3838717793741829E-4</c:v>
                </c:pt>
                <c:pt idx="421">
                  <c:v>1.3673394040410056E-4</c:v>
                </c:pt>
                <c:pt idx="422">
                  <c:v>1.34882664076813E-4</c:v>
                </c:pt>
                <c:pt idx="423">
                  <c:v>1.3284261796373556E-4</c:v>
                </c:pt>
                <c:pt idx="424">
                  <c:v>1.3062384610076051E-4</c:v>
                </c:pt>
                <c:pt idx="425">
                  <c:v>1.2823708383551501E-4</c:v>
                </c:pt>
                <c:pt idx="426">
                  <c:v>1.2569367007423486E-4</c:v>
                </c:pt>
                <c:pt idx="427">
                  <c:v>1.2300545650728833E-4</c:v>
                </c:pt>
                <c:pt idx="428">
                  <c:v>1.2018471483876683E-4</c:v>
                </c:pt>
                <c:pt idx="429">
                  <c:v>1.1724404304024943E-4</c:v>
                </c:pt>
                <c:pt idx="430">
                  <c:v>1.1419627162912543E-4</c:v>
                </c:pt>
                <c:pt idx="431">
                  <c:v>1.110543709386401E-4</c:v>
                </c:pt>
                <c:pt idx="432">
                  <c:v>1.0783136030102101E-4</c:v>
                </c:pt>
                <c:pt idx="433">
                  <c:v>1.0454022000797341E-4</c:v>
                </c:pt>
                <c:pt idx="434">
                  <c:v>1.011938068458116E-4</c:v>
                </c:pt>
                <c:pt idx="435">
                  <c:v>9.7804773927031728E-5</c:v>
                </c:pt>
                <c:pt idx="436">
                  <c:v>9.4385495457828991E-5</c:v>
                </c:pt>
                <c:pt idx="437">
                  <c:v>9.094799699351625E-5</c:v>
                </c:pt>
                <c:pt idx="438">
                  <c:v>8.7503891642684077E-5</c:v>
                </c:pt>
                <c:pt idx="439">
                  <c:v>8.4064322587840297E-5</c:v>
                </c:pt>
                <c:pt idx="440">
                  <c:v>8.0639912196803741E-5</c:v>
                </c:pt>
                <c:pt idx="441">
                  <c:v>7.724071790674646E-5</c:v>
                </c:pt>
                <c:pt idx="442">
                  <c:v>7.3876194972879024E-5</c:v>
                </c:pt>
                <c:pt idx="443">
                  <c:v>7.0555166087658781E-5</c:v>
                </c:pt>
                <c:pt idx="444">
                  <c:v>6.7285797795126257E-5</c:v>
                </c:pt>
                <c:pt idx="445">
                  <c:v>6.4075583549561766E-5</c:v>
                </c:pt>
                <c:pt idx="446">
                  <c:v>6.0931333198879122E-5</c:v>
                </c:pt>
                <c:pt idx="447">
                  <c:v>5.7859168611672282E-5</c:v>
                </c:pt>
                <c:pt idx="448">
                  <c:v>5.486452511307399E-5</c:v>
                </c:pt>
                <c:pt idx="449">
                  <c:v>5.1952158348887035E-5</c:v>
                </c:pt>
                <c:pt idx="450">
                  <c:v>4.9126156159907945E-5</c:v>
                </c:pt>
                <c:pt idx="451">
                  <c:v>4.6389955019025863E-5</c:v>
                </c:pt>
                <c:pt idx="452">
                  <c:v>4.3746360562357895E-5</c:v>
                </c:pt>
                <c:pt idx="453">
                  <c:v>4.1197571732107816E-5</c:v>
                </c:pt>
                <c:pt idx="454">
                  <c:v>3.8745208042655466E-5</c:v>
                </c:pt>
                <c:pt idx="455">
                  <c:v>3.6390339482076784E-5</c:v>
                </c:pt>
                <c:pt idx="456">
                  <c:v>3.4133518568341025E-5</c:v>
                </c:pt>
                <c:pt idx="457">
                  <c:v>3.1974814092201504E-5</c:v>
                </c:pt>
                <c:pt idx="458">
                  <c:v>2.9913846096632602E-5</c:v>
                </c:pt>
                <c:pt idx="459">
                  <c:v>2.7949821664881418E-5</c:v>
                </c:pt>
                <c:pt idx="460">
                  <c:v>2.6081571115104298E-5</c:v>
                </c:pt>
                <c:pt idx="461">
                  <c:v>2.4307584228432887E-5</c:v>
                </c:pt>
                <c:pt idx="462">
                  <c:v>2.2626046168497692E-5</c:v>
                </c:pt>
                <c:pt idx="463">
                  <c:v>2.1034872783246522E-5</c:v>
                </c:pt>
                <c:pt idx="464">
                  <c:v>1.9531745013726888E-5</c:v>
                </c:pt>
                <c:pt idx="465">
                  <c:v>1.811414216875301E-5</c:v>
                </c:pt>
                <c:pt idx="466">
                  <c:v>1.6779373858532324E-5</c:v>
                </c:pt>
                <c:pt idx="467">
                  <c:v>1.5524610413886788E-5</c:v>
                </c:pt>
                <c:pt idx="468">
                  <c:v>1.4346911650266018E-5</c:v>
                </c:pt>
                <c:pt idx="469">
                  <c:v>1.3243253866924161E-5</c:v>
                </c:pt>
                <c:pt idx="470">
                  <c:v>1.2210555001135834E-5</c:v>
                </c:pt>
                <c:pt idx="471">
                  <c:v>1.124569788489721E-5</c:v>
                </c:pt>
                <c:pt idx="472">
                  <c:v>1.0345551577008514E-5</c:v>
                </c:pt>
                <c:pt idx="473">
                  <c:v>9.5069907666264914E-6</c:v>
                </c:pt>
                <c:pt idx="474">
                  <c:v>8.7269132652233765E-6</c:v>
                </c:pt>
                <c:pt idx="475">
                  <c:v>8.0022556223477762E-6</c:v>
                </c:pt>
                <c:pt idx="476">
                  <c:v>7.3300069166563788E-6</c:v>
                </c:pt>
                <c:pt idx="477">
                  <c:v>6.7072207874121231E-6</c:v>
                </c:pt>
                <c:pt idx="478">
                  <c:v>6.1310257830885042E-6</c:v>
                </c:pt>
                <c:pt idx="479">
                  <c:v>5.5986341129880251E-6</c:v>
                </c:pt>
                <c:pt idx="480">
                  <c:v>5.1073488949849773E-6</c:v>
                </c:pt>
                <c:pt idx="481">
                  <c:v>4.6545699977842269E-6</c:v>
                </c:pt>
                <c:pt idx="482">
                  <c:v>4.2377985795947776E-6</c:v>
                </c:pt>
                <c:pt idx="483">
                  <c:v>3.8546404270110348E-6</c:v>
                </c:pt>
                <c:pt idx="484">
                  <c:v>3.5028081983416529E-6</c:v>
                </c:pt>
                <c:pt idx="485">
                  <c:v>3.1801226747905661E-6</c:v>
                </c:pt>
                <c:pt idx="486">
                  <c:v>2.8845131209466798E-6</c:v>
                </c:pt>
                <c:pt idx="487">
                  <c:v>2.6140168531355087E-6</c:v>
                </c:pt>
                <c:pt idx="488">
                  <c:v>2.3667781104876211E-6</c:v>
                </c:pt>
                <c:pt idx="489">
                  <c:v>2.1410463192308088E-6</c:v>
                </c:pt>
                <c:pt idx="490">
                  <c:v>1.9351738358551447E-6</c:v>
                </c:pt>
                <c:pt idx="491">
                  <c:v>1.7476132495614917E-6</c:v>
                </c:pt>
                <c:pt idx="492">
                  <c:v>1.5769143189008743E-6</c:v>
                </c:pt>
                <c:pt idx="493">
                  <c:v>1.4217206118506686E-6</c:v>
                </c:pt>
                <c:pt idx="494">
                  <c:v>1.280765912848758E-6</c:v>
                </c:pt>
                <c:pt idx="495">
                  <c:v>1.1528704545995911E-6</c:v>
                </c:pt>
                <c:pt idx="496">
                  <c:v>1.0369370268484704E-6</c:v>
                </c:pt>
                <c:pt idx="497">
                  <c:v>9.3194700885201242E-7</c:v>
                </c:pt>
                <c:pt idx="498">
                  <c:v>8.3695636700377544E-7</c:v>
                </c:pt>
                <c:pt idx="499">
                  <c:v>7.5109165404361331E-7</c:v>
                </c:pt>
                <c:pt idx="500">
                  <c:v>6.7354604151901989E-7</c:v>
                </c:pt>
                <c:pt idx="501">
                  <c:v>6.035754126989882E-7</c:v>
                </c:pt>
                <c:pt idx="502">
                  <c:v>5.4049453898135103E-7</c:v>
                </c:pt>
                <c:pt idx="503">
                  <c:v>4.8367335899159494E-7</c:v>
                </c:pt>
                <c:pt idx="504">
                  <c:v>4.3253337604843068E-7</c:v>
                </c:pt>
                <c:pt idx="505">
                  <c:v>3.8654418646659181E-7</c:v>
                </c:pt>
                <c:pt idx="506">
                  <c:v>3.4522014827498414E-7</c:v>
                </c:pt>
                <c:pt idx="507">
                  <c:v>3.0811719733849896E-7</c:v>
                </c:pt>
                <c:pt idx="508">
                  <c:v>2.7482981557269962E-7</c:v>
                </c:pt>
                <c:pt idx="509">
                  <c:v>2.4498815391768587E-7</c:v>
                </c:pt>
                <c:pt idx="510">
                  <c:v>2.1825531097474059E-7</c:v>
                </c:pt>
                <c:pt idx="511">
                  <c:v>1.9432476668967613E-7</c:v>
                </c:pt>
                <c:pt idx="512">
                  <c:v>1.7291796917259033E-7</c:v>
                </c:pt>
                <c:pt idx="513">
                  <c:v>1.5378207165646987E-7</c:v>
                </c:pt>
                <c:pt idx="514">
                  <c:v>1.3668781569898446E-7</c:v>
                </c:pt>
                <c:pt idx="515">
                  <c:v>1.2142755600489082E-7</c:v>
                </c:pt>
                <c:pt idx="516">
                  <c:v>1.0781342167326033E-7</c:v>
                </c:pt>
                <c:pt idx="517">
                  <c:v>9.5675608237858866E-8</c:v>
                </c:pt>
                <c:pt idx="518">
                  <c:v>8.4860794554249976E-8</c:v>
                </c:pt>
                <c:pt idx="519">
                  <c:v>7.5230678378858055E-8</c:v>
                </c:pt>
                <c:pt idx="520">
                  <c:v>6.6660624369217112E-8</c:v>
                </c:pt>
                <c:pt idx="521">
                  <c:v>5.9038418197990196E-8</c:v>
                </c:pt>
                <c:pt idx="522">
                  <c:v>5.2263120504294116E-8</c:v>
                </c:pt>
                <c:pt idx="523">
                  <c:v>4.6244014493345306E-8</c:v>
                </c:pt>
                <c:pt idx="524">
                  <c:v>4.0899641129834021E-8</c:v>
                </c:pt>
                <c:pt idx="525">
                  <c:v>3.6156916042715266E-8</c:v>
                </c:pt>
                <c:pt idx="526">
                  <c:v>3.1950322461546647E-8</c:v>
                </c:pt>
                <c:pt idx="527">
                  <c:v>2.8221174729977382E-8</c:v>
                </c:pt>
                <c:pt idx="528">
                  <c:v>2.4916947184525003E-8</c:v>
                </c:pt>
                <c:pt idx="529">
                  <c:v>2.1990663440915417E-8</c:v>
                </c:pt>
                <c:pt idx="530">
                  <c:v>1.9400341391456351E-8</c:v>
                </c:pt>
                <c:pt idx="531">
                  <c:v>1.7108489481261268E-8</c:v>
                </c:pt>
                <c:pt idx="532">
                  <c:v>1.5081650095261524E-8</c:v>
                </c:pt>
                <c:pt idx="533">
                  <c:v>1.3289986149123667E-8</c:v>
                </c:pt>
                <c:pt idx="534">
                  <c:v>1.1706907233154256E-8</c:v>
                </c:pt>
                <c:pt idx="535">
                  <c:v>1.0308731907149814E-8</c:v>
                </c:pt>
                <c:pt idx="536">
                  <c:v>9.0743829845611044E-9</c:v>
                </c:pt>
                <c:pt idx="537">
                  <c:v>7.9851128751430948E-9</c:v>
                </c:pt>
                <c:pt idx="538">
                  <c:v>7.0242562756508943E-9</c:v>
                </c:pt>
                <c:pt idx="539">
                  <c:v>6.1770077076190486E-9</c:v>
                </c:pt>
                <c:pt idx="540">
                  <c:v>5.4302215994250888E-9</c:v>
                </c:pt>
                <c:pt idx="541">
                  <c:v>4.7722327966099568E-9</c:v>
                </c:pt>
                <c:pt idx="542">
                  <c:v>4.1926955597780743E-9</c:v>
                </c:pt>
                <c:pt idx="543">
                  <c:v>3.682439273483132E-9</c:v>
                </c:pt>
                <c:pt idx="544">
                  <c:v>3.2333392425536408E-9</c:v>
                </c:pt>
                <c:pt idx="545">
                  <c:v>2.8382010946545214E-9</c:v>
                </c:pt>
                <c:pt idx="546">
                  <c:v>2.4906574399027227E-9</c:v>
                </c:pt>
                <c:pt idx="547">
                  <c:v>2.1850755604825666E-9</c:v>
                </c:pt>
                <c:pt idx="548">
                  <c:v>1.9164750159197237E-9</c:v>
                </c:pt>
                <c:pt idx="549">
                  <c:v>1.6804541534499625E-9</c:v>
                </c:pt>
                <c:pt idx="550">
                  <c:v>1.4731246082739276E-9</c:v>
                </c:pt>
                <c:pt idx="551">
                  <c:v>1.2910529659141469E-9</c:v>
                </c:pt>
                <c:pt idx="552">
                  <c:v>1.1312088389057979E-9</c:v>
                </c:pt>
                <c:pt idx="553">
                  <c:v>9.90918683139818E-10</c:v>
                </c:pt>
                <c:pt idx="554">
                  <c:v>8.6782474582345546E-10</c:v>
                </c:pt>
                <c:pt idx="555">
                  <c:v>7.5984859770111431E-10</c:v>
                </c:pt>
                <c:pt idx="556">
                  <c:v>6.6515875732479891E-10</c:v>
                </c:pt>
                <c:pt idx="557">
                  <c:v>5.8214196521617888E-10</c:v>
                </c:pt>
                <c:pt idx="558">
                  <c:v>5.0937771111979574E-10</c:v>
                </c:pt>
                <c:pt idx="559">
                  <c:v>4.4561565859717867E-10</c:v>
                </c:pt>
                <c:pt idx="560">
                  <c:v>3.8975564831028597E-10</c:v>
                </c:pt>
                <c:pt idx="561">
                  <c:v>3.4082999483243717E-10</c:v>
                </c:pt>
                <c:pt idx="562">
                  <c:v>2.9798782201415334E-10</c:v>
                </c:pt>
                <c:pt idx="563">
                  <c:v>2.6048120911966691E-10</c:v>
                </c:pt>
                <c:pt idx="564">
                  <c:v>2.2765294440218881E-10</c:v>
                </c:pt>
                <c:pt idx="565">
                  <c:v>1.9892570475844972E-10</c:v>
                </c:pt>
                <c:pt idx="566">
                  <c:v>1.7379249982367296E-10</c:v>
                </c:pt>
                <c:pt idx="567">
                  <c:v>1.518082365510608E-10</c:v>
                </c:pt>
                <c:pt idx="568">
                  <c:v>1.3258227616024876E-10</c:v>
                </c:pt>
                <c:pt idx="569">
                  <c:v>1.1577186951558534E-10</c:v>
                </c:pt>
                <c:pt idx="570">
                  <c:v>1.0107636967111135E-10</c:v>
                </c:pt>
                <c:pt idx="571">
                  <c:v>8.8232131643082337E-11</c:v>
                </c:pt>
                <c:pt idx="572">
                  <c:v>7.7008019579751777E-11</c:v>
                </c:pt>
                <c:pt idx="573">
                  <c:v>6.7201450513525519E-11</c:v>
                </c:pt>
                <c:pt idx="574">
                  <c:v>5.8634911915620638E-11</c:v>
                </c:pt>
                <c:pt idx="575">
                  <c:v>5.1152897428804811E-11</c:v>
                </c:pt>
                <c:pt idx="576">
                  <c:v>4.461921152088066E-11</c:v>
                </c:pt>
                <c:pt idx="577">
                  <c:v>3.8914599464140428E-11</c:v>
                </c:pt>
                <c:pt idx="578">
                  <c:v>3.3934664077491285E-11</c:v>
                </c:pt>
                <c:pt idx="579">
                  <c:v>2.9588035136390019E-11</c:v>
                </c:pt>
                <c:pt idx="580">
                  <c:v>2.5794761321416651E-11</c:v>
                </c:pt>
                <c:pt idx="581">
                  <c:v>2.2484898093561009E-11</c:v>
                </c:pt>
                <c:pt idx="582">
                  <c:v>1.9597268001918793E-11</c:v>
                </c:pt>
                <c:pt idx="583">
                  <c:v>1.7078372691470096E-11</c:v>
                </c:pt>
                <c:pt idx="584">
                  <c:v>1.4881438323926843E-11</c:v>
                </c:pt>
                <c:pt idx="585">
                  <c:v>1.2965578288456409E-11</c:v>
                </c:pt>
                <c:pt idx="586">
                  <c:v>1.1295058992894401E-11</c:v>
                </c:pt>
                <c:pt idx="587">
                  <c:v>9.8386562177866901E-12</c:v>
                </c:pt>
                <c:pt idx="588">
                  <c:v>8.5690910102239471E-12</c:v>
                </c:pt>
                <c:pt idx="589">
                  <c:v>7.4625354143940308E-12</c:v>
                </c:pt>
                <c:pt idx="590">
                  <c:v>6.4981795008794976E-12</c:v>
                </c:pt>
                <c:pt idx="591">
                  <c:v>5.657852184617527E-12</c:v>
                </c:pt>
                <c:pt idx="592">
                  <c:v>4.9256892279727544E-12</c:v>
                </c:pt>
                <c:pt idx="593">
                  <c:v>4.2878426244580367E-12</c:v>
                </c:pt>
                <c:pt idx="594">
                  <c:v>3.732226262761713E-12</c:v>
                </c:pt>
                <c:pt idx="595">
                  <c:v>3.248293390878591E-12</c:v>
                </c:pt>
                <c:pt idx="596">
                  <c:v>2.8268419461593673E-12</c:v>
                </c:pt>
                <c:pt idx="597">
                  <c:v>2.4598442976407486E-12</c:v>
                </c:pt>
                <c:pt idx="598">
                  <c:v>2.1402983697563453E-12</c:v>
                </c:pt>
                <c:pt idx="599">
                  <c:v>1.8620974883160142E-12</c:v>
                </c:pt>
                <c:pt idx="600">
                  <c:v>1.6199166165069512E-12</c:v>
                </c:pt>
                <c:pt idx="601">
                  <c:v>1.4091129358980922E-12</c:v>
                </c:pt>
                <c:pt idx="602">
                  <c:v>1.2256389797895186E-12</c:v>
                </c:pt>
                <c:pt idx="603">
                  <c:v>1.0659667478769231E-12</c:v>
                </c:pt>
                <c:pt idx="604">
                  <c:v>9.2702142578502594E-13</c:v>
                </c:pt>
                <c:pt idx="605">
                  <c:v>8.0612350380932747E-13</c:v>
                </c:pt>
                <c:pt idx="606">
                  <c:v>7.0093823905727204E-13</c:v>
                </c:pt>
                <c:pt idx="607">
                  <c:v>6.0943153663474256E-13</c:v>
                </c:pt>
                <c:pt idx="608">
                  <c:v>5.2983144078676591E-13</c:v>
                </c:pt>
                <c:pt idx="609">
                  <c:v>4.6059452796832031E-13</c:v>
                </c:pt>
                <c:pt idx="610">
                  <c:v>4.0037658238477482E-13</c:v>
                </c:pt>
                <c:pt idx="611">
                  <c:v>3.4800701215646785E-13</c:v>
                </c:pt>
                <c:pt idx="612">
                  <c:v>3.0246653224412689E-13</c:v>
                </c:pt>
                <c:pt idx="613">
                  <c:v>2.6286769981375088E-13</c:v>
                </c:pt>
                <c:pt idx="614">
                  <c:v>2.2843793985032153E-13</c:v>
                </c:pt>
                <c:pt idx="615">
                  <c:v>1.985047444650181E-13</c:v>
                </c:pt>
                <c:pt idx="616">
                  <c:v>1.7248276927649263E-13</c:v>
                </c:pt>
                <c:pt idx="617">
                  <c:v>1.498625851919583E-13</c:v>
                </c:pt>
                <c:pt idx="618">
                  <c:v>1.3020087448041068E-13</c:v>
                </c:pt>
                <c:pt idx="619">
                  <c:v>1.1311188676500012E-13</c:v>
                </c:pt>
                <c:pt idx="620">
                  <c:v>9.8259993938523619E-14</c:v>
                </c:pt>
                <c:pt idx="621">
                  <c:v>8.5353203441139836E-14</c:v>
                </c:pt>
                <c:pt idx="622">
                  <c:v>7.4137507203269123E-14</c:v>
                </c:pt>
                <c:pt idx="623">
                  <c:v>6.4391959165740798E-14</c:v>
                </c:pt>
                <c:pt idx="624">
                  <c:v>5.5924387927565266E-14</c:v>
                </c:pt>
                <c:pt idx="625">
                  <c:v>4.8567662986739273E-14</c:v>
                </c:pt>
                <c:pt idx="626">
                  <c:v>4.2176443444449333E-14</c:v>
                </c:pt>
                <c:pt idx="627">
                  <c:v>3.6624347130429485E-14</c:v>
                </c:pt>
                <c:pt idx="628">
                  <c:v>3.1801486041035034E-14</c:v>
                </c:pt>
                <c:pt idx="629">
                  <c:v>2.7612320907345337E-14</c:v>
                </c:pt>
                <c:pt idx="630">
                  <c:v>2.3973793755622989E-14</c:v>
                </c:pt>
                <c:pt idx="631">
                  <c:v>2.0813702597735175E-14</c:v>
                </c:pt>
                <c:pt idx="632">
                  <c:v>1.80692869923441E-14</c:v>
                </c:pt>
                <c:pt idx="633">
                  <c:v>1.5685997232880655E-14</c:v>
                </c:pt>
                <c:pt idx="634">
                  <c:v>1.3616423421428969E-14</c:v>
                </c:pt>
                <c:pt idx="635">
                  <c:v>1.181936374238283E-14</c:v>
                </c:pt>
                <c:pt idx="636">
                  <c:v>1.0259013913769352E-14</c:v>
                </c:pt>
                <c:pt idx="637">
                  <c:v>8.9042621169738393E-15</c:v>
                </c:pt>
                <c:pt idx="638">
                  <c:v>7.7280757303589269E-15</c:v>
                </c:pt>
                <c:pt idx="639">
                  <c:v>6.7069679576153774E-15</c:v>
                </c:pt>
                <c:pt idx="640">
                  <c:v>5.8205339799163516E-15</c:v>
                </c:pt>
                <c:pt idx="641">
                  <c:v>5.0510476016011371E-15</c:v>
                </c:pt>
                <c:pt idx="642">
                  <c:v>4.3831105274200314E-15</c:v>
                </c:pt>
                <c:pt idx="643">
                  <c:v>3.8033474268974308E-15</c:v>
                </c:pt>
                <c:pt idx="644">
                  <c:v>3.3001408282400831E-15</c:v>
                </c:pt>
                <c:pt idx="645">
                  <c:v>2.8634006561954992E-15</c:v>
                </c:pt>
                <c:pt idx="646">
                  <c:v>2.4843639011643836E-15</c:v>
                </c:pt>
                <c:pt idx="647">
                  <c:v>2.1554204922831655E-15</c:v>
                </c:pt>
                <c:pt idx="648">
                  <c:v>1.8699619575179799E-15</c:v>
                </c:pt>
                <c:pt idx="649">
                  <c:v>1.622249897619027E-15</c:v>
                </c:pt>
                <c:pt idx="650">
                  <c:v>1.4073016874893077E-15</c:v>
                </c:pt>
                <c:pt idx="651">
                  <c:v>1.2207911550298022E-15</c:v>
                </c:pt>
                <c:pt idx="652">
                  <c:v>1.0589622803452272E-15</c:v>
                </c:pt>
                <c:pt idx="653">
                  <c:v>9.1855421317403958E-16</c:v>
                </c:pt>
                <c:pt idx="654">
                  <c:v>7.9673612819238431E-16</c:v>
                </c:pt>
                <c:pt idx="655">
                  <c:v>6.910506308889958E-16</c:v>
                </c:pt>
                <c:pt idx="656">
                  <c:v>5.9936459462146115E-16</c:v>
                </c:pt>
                <c:pt idx="657">
                  <c:v>5.1982645560570294E-16</c:v>
                </c:pt>
                <c:pt idx="658">
                  <c:v>4.5082911965741016E-16</c:v>
                </c:pt>
                <c:pt idx="659">
                  <c:v>3.9097774508443317E-16</c:v>
                </c:pt>
                <c:pt idx="660">
                  <c:v>3.3906176228091283E-16</c:v>
                </c:pt>
                <c:pt idx="661">
                  <c:v>2.9403057419354411E-16</c:v>
                </c:pt>
                <c:pt idx="662">
                  <c:v>2.5497245456665334E-16</c:v>
                </c:pt>
                <c:pt idx="663">
                  <c:v>2.2109622410472102E-16</c:v>
                </c:pt>
                <c:pt idx="664">
                  <c:v>1.9171533967954235E-16</c:v>
                </c:pt>
                <c:pt idx="665">
                  <c:v>1.6623407950749123E-16</c:v>
                </c:pt>
                <c:pt idx="666">
                  <c:v>1.4413554878932508E-16</c:v>
                </c:pt>
                <c:pt idx="667">
                  <c:v>1.2497126643026333E-16</c:v>
                </c:pt>
                <c:pt idx="668">
                  <c:v>1.0835212485457142E-16</c:v>
                </c:pt>
                <c:pt idx="669">
                  <c:v>9.3940542236158868E-17</c:v>
                </c:pt>
                <c:pt idx="670">
                  <c:v>8.1443650172993333E-17</c:v>
                </c:pt>
                <c:pt idx="671">
                  <c:v>7.0607380464429415E-17</c:v>
                </c:pt>
                <c:pt idx="672">
                  <c:v>6.1211332551648628E-17</c:v>
                </c:pt>
                <c:pt idx="673">
                  <c:v>5.306431875832616E-17</c:v>
                </c:pt>
                <c:pt idx="674">
                  <c:v>4.6000497987437423E-17</c:v>
                </c:pt>
                <c:pt idx="675">
                  <c:v>3.9876020286724329E-17</c:v>
                </c:pt>
                <c:pt idx="676">
                  <c:v>3.4566114900838295E-17</c:v>
                </c:pt>
                <c:pt idx="677">
                  <c:v>2.9962563299733885E-17</c:v>
                </c:pt>
                <c:pt idx="678">
                  <c:v>2.5971506375694557E-17</c:v>
                </c:pt>
                <c:pt idx="679">
                  <c:v>2.2511541695243656E-17</c:v>
                </c:pt>
                <c:pt idx="680">
                  <c:v>1.9512072502802719E-17</c:v>
                </c:pt>
                <c:pt idx="681">
                  <c:v>1.691187522263408E-17</c:v>
                </c:pt>
                <c:pt idx="682">
                  <c:v>1.4657856589567837E-17</c:v>
                </c:pt>
                <c:pt idx="683">
                  <c:v>1.2703975346651837E-17</c:v>
                </c:pt>
                <c:pt idx="684">
                  <c:v>1.1010306753927809E-17</c:v>
                </c:pt>
                <c:pt idx="685">
                  <c:v>9.5422310236847539E-18</c:v>
                </c:pt>
                <c:pt idx="686">
                  <c:v>8.2697292908266194E-18</c:v>
                </c:pt>
                <c:pt idx="687">
                  <c:v>7.1667728907648438E-18</c:v>
                </c:pt>
                <c:pt idx="688">
                  <c:v>6.2107935969104415E-18</c:v>
                </c:pt>
                <c:pt idx="689">
                  <c:v>5.3822241009951465E-18</c:v>
                </c:pt>
                <c:pt idx="690">
                  <c:v>4.6640994360791955E-18</c:v>
                </c:pt>
                <c:pt idx="691">
                  <c:v>4.0417112709993942E-18</c:v>
                </c:pt>
                <c:pt idx="692">
                  <c:v>3.5023080728488041E-18</c:v>
                </c:pt>
                <c:pt idx="693">
                  <c:v>3.0348350598624033E-18</c:v>
                </c:pt>
                <c:pt idx="694">
                  <c:v>2.6297086714797598E-18</c:v>
                </c:pt>
                <c:pt idx="695">
                  <c:v>2.2786209799708934E-18</c:v>
                </c:pt>
                <c:pt idx="696">
                  <c:v>1.9743700738019961E-18</c:v>
                </c:pt>
                <c:pt idx="697">
                  <c:v>1.7107129683967402E-18</c:v>
                </c:pt>
                <c:pt idx="698">
                  <c:v>1.4822380561717036E-18</c:v>
                </c:pt>
                <c:pt idx="699">
                  <c:v>1.284254503422715E-18</c:v>
                </c:pt>
                <c:pt idx="700">
                  <c:v>1.1126963452509329E-18</c:v>
                </c:pt>
                <c:pt idx="701">
                  <c:v>9.6403932763996814E-19</c:v>
                </c:pt>
                <c:pt idx="702">
                  <c:v>8.3522880444250999E-19</c:v>
                </c:pt>
                <c:pt idx="703">
                  <c:v>7.2361722129997214E-19</c:v>
                </c:pt>
                <c:pt idx="704">
                  <c:v>6.2690991339337445E-19</c:v>
                </c:pt>
                <c:pt idx="705">
                  <c:v>5.4311811251873726E-19</c:v>
                </c:pt>
                <c:pt idx="706">
                  <c:v>4.7051820576185965E-19</c:v>
                </c:pt>
                <c:pt idx="707">
                  <c:v>4.0761641497990897E-19</c:v>
                </c:pt>
                <c:pt idx="708">
                  <c:v>3.5311817660329373E-19</c:v>
                </c:pt>
                <c:pt idx="709">
                  <c:v>3.059015969509777E-19</c:v>
                </c:pt>
                <c:pt idx="710">
                  <c:v>2.6499444117418024E-19</c:v>
                </c:pt>
                <c:pt idx="711">
                  <c:v>2.2955418592505542E-19</c:v>
                </c:pt>
                <c:pt idx="712">
                  <c:v>1.9885072824469944E-19</c:v>
                </c:pt>
                <c:pt idx="713">
                  <c:v>1.7225139734332649E-19</c:v>
                </c:pt>
                <c:pt idx="714">
                  <c:v>1.4920796285626257E-19</c:v>
                </c:pt>
                <c:pt idx="715">
                  <c:v>1.2924537390050467E-19</c:v>
                </c:pt>
                <c:pt idx="716">
                  <c:v>1.1195199858117215E-19</c:v>
                </c:pt>
                <c:pt idx="717">
                  <c:v>9.6971164197824252E-20</c:v>
                </c:pt>
                <c:pt idx="718">
                  <c:v>8.3993824996971558E-20</c:v>
                </c:pt>
                <c:pt idx="719">
                  <c:v>7.2752207315146815E-20</c:v>
                </c:pt>
                <c:pt idx="720">
                  <c:v>6.3014301949044305E-20</c:v>
                </c:pt>
                <c:pt idx="721">
                  <c:v>5.4579090904568971E-20</c:v>
                </c:pt>
                <c:pt idx="722">
                  <c:v>4.7272410687648172E-20</c:v>
                </c:pt>
                <c:pt idx="723">
                  <c:v>4.0943367323626413E-20</c:v>
                </c:pt>
                <c:pt idx="724">
                  <c:v>3.5461229589385172E-20</c:v>
                </c:pt>
                <c:pt idx="725">
                  <c:v>3.0712736711404497E-20</c:v>
                </c:pt>
                <c:pt idx="726">
                  <c:v>2.6599765294041808E-20</c:v>
                </c:pt>
                <c:pt idx="727">
                  <c:v>2.3037307579164421E-20</c:v>
                </c:pt>
                <c:pt idx="728">
                  <c:v>1.9951719527182347E-20</c:v>
                </c:pt>
                <c:pt idx="729">
                  <c:v>1.7279202742422053E-20</c:v>
                </c:pt>
                <c:pt idx="730">
                  <c:v>1.4964489048304583E-20</c:v>
                </c:pt>
                <c:pt idx="731">
                  <c:v>1.2959700685964914E-20</c:v>
                </c:pt>
                <c:pt idx="732">
                  <c:v>1.1223362704506118E-20</c:v>
                </c:pt>
                <c:pt idx="733">
                  <c:v>9.7195472387806406E-21</c:v>
                </c:pt>
                <c:pt idx="734">
                  <c:v>8.4171320735691452E-21</c:v>
                </c:pt>
                <c:pt idx="735">
                  <c:v>7.2891582429408327E-21</c:v>
                </c:pt>
                <c:pt idx="736">
                  <c:v>6.3122734467430611E-21</c:v>
                </c:pt>
                <c:pt idx="737">
                  <c:v>5.4662498268872819E-21</c:v>
                </c:pt>
                <c:pt idx="738">
                  <c:v>4.7335661768921274E-21</c:v>
                </c:pt>
                <c:pt idx="739">
                  <c:v>4.0990459816807663E-21</c:v>
                </c:pt>
                <c:pt idx="740">
                  <c:v>3.5495438310695109E-21</c:v>
                </c:pt>
                <c:pt idx="741">
                  <c:v>3.073673747739627E-21</c:v>
                </c:pt>
                <c:pt idx="742">
                  <c:v>2.6615738300225609E-21</c:v>
                </c:pt>
                <c:pt idx="743">
                  <c:v>2.3047023592668409E-21</c:v>
                </c:pt>
                <c:pt idx="744">
                  <c:v>1.9956611677494589E-21</c:v>
                </c:pt>
                <c:pt idx="745">
                  <c:v>1.7280426247882933E-21</c:v>
                </c:pt>
                <c:pt idx="746">
                  <c:v>1.4962970851382378E-21</c:v>
                </c:pt>
                <c:pt idx="747">
                  <c:v>1.2956180648140252E-21</c:v>
                </c:pt>
                <c:pt idx="748">
                  <c:v>1.1218427750603376E-21</c:v>
                </c:pt>
                <c:pt idx="749">
                  <c:v>9.713659617068302E-22</c:v>
                </c:pt>
                <c:pt idx="750">
                  <c:v>8.4106527072674374E-22</c:v>
                </c:pt>
                <c:pt idx="751">
                  <c:v>7.2823659945754662E-22</c:v>
                </c:pt>
                <c:pt idx="752">
                  <c:v>6.3053809793913921E-22</c:v>
                </c:pt>
                <c:pt idx="753">
                  <c:v>5.4594166387737688E-22</c:v>
                </c:pt>
                <c:pt idx="754">
                  <c:v>4.7269092875006416E-22</c:v>
                </c:pt>
                <c:pt idx="755">
                  <c:v>4.0926486722906607E-22</c:v>
                </c:pt>
                <c:pt idx="756">
                  <c:v>3.5434627738537528E-22</c:v>
                </c:pt>
                <c:pt idx="757">
                  <c:v>3.0679448028239703E-22</c:v>
                </c:pt>
                <c:pt idx="758">
                  <c:v>2.6562167436688962E-22</c:v>
                </c:pt>
                <c:pt idx="759">
                  <c:v>2.2997245570951908E-22</c:v>
                </c:pt>
                <c:pt idx="760">
                  <c:v>1.9910608032708036E-22</c:v>
                </c:pt>
                <c:pt idx="761">
                  <c:v>1.7238110178204367E-22</c:v>
                </c:pt>
                <c:pt idx="762">
                  <c:v>1.4924206608373556E-22</c:v>
                </c:pt>
                <c:pt idx="763">
                  <c:v>1.2920798848702039E-22</c:v>
                </c:pt>
                <c:pt idx="764">
                  <c:v>1.1186237375535205E-22</c:v>
                </c:pt>
                <c:pt idx="765">
                  <c:v>9.6844573168446959E-23</c:v>
                </c:pt>
                <c:pt idx="766">
                  <c:v>8.3842299371485908E-23</c:v>
                </c:pt>
                <c:pt idx="767">
                  <c:v>7.2585144010462573E-23</c:v>
                </c:pt>
                <c:pt idx="768">
                  <c:v>6.2838963871377482E-23</c:v>
                </c:pt>
                <c:pt idx="769">
                  <c:v>5.4401019224724342E-23</c:v>
                </c:pt>
                <c:pt idx="770">
                  <c:v>4.7095763655161542E-23</c:v>
                </c:pt>
                <c:pt idx="771">
                  <c:v>4.0771198055924378E-23</c:v>
                </c:pt>
                <c:pt idx="772">
                  <c:v>3.5295713300937716E-23</c:v>
                </c:pt>
                <c:pt idx="773">
                  <c:v>3.0555356060996882E-23</c:v>
                </c:pt>
                <c:pt idx="774">
                  <c:v>2.6451461122796331E-23</c:v>
                </c:pt>
                <c:pt idx="775">
                  <c:v>2.2898601086869313E-23</c:v>
                </c:pt>
                <c:pt idx="776">
                  <c:v>1.9822810914292999E-23</c:v>
                </c:pt>
                <c:pt idx="777">
                  <c:v>1.7160050511748703E-23</c:v>
                </c:pt>
                <c:pt idx="778">
                  <c:v>1.4854873441117624E-23</c:v>
                </c:pt>
                <c:pt idx="779">
                  <c:v>1.2859274131570802E-23</c:v>
                </c:pt>
                <c:pt idx="780">
                  <c:v>1.1131689673990328E-23</c:v>
                </c:pt>
                <c:pt idx="781">
                  <c:v>9.636135475053317E-24</c:v>
                </c:pt>
                <c:pt idx="782">
                  <c:v>8.3414568270926051E-24</c:v>
                </c:pt>
                <c:pt idx="783">
                  <c:v>7.220680859550995E-24</c:v>
                </c:pt>
                <c:pt idx="784">
                  <c:v>6.250455404803904E-24</c:v>
                </c:pt>
                <c:pt idx="785">
                  <c:v>5.4105631361235467E-24</c:v>
                </c:pt>
                <c:pt idx="786">
                  <c:v>4.6835008790861518E-24</c:v>
                </c:pt>
                <c:pt idx="787">
                  <c:v>4.0541153566421592E-24</c:v>
                </c:pt>
                <c:pt idx="788">
                  <c:v>3.509287805522026E-24</c:v>
                </c:pt>
                <c:pt idx="789">
                  <c:v>3.0376609030145735E-24</c:v>
                </c:pt>
                <c:pt idx="790">
                  <c:v>2.6294023345808529E-24</c:v>
                </c:pt>
                <c:pt idx="791">
                  <c:v>2.2760000872247457E-24</c:v>
                </c:pt>
                <c:pt idx="792">
                  <c:v>1.9700852105121791E-24</c:v>
                </c:pt>
                <c:pt idx="793">
                  <c:v>1.7052783632769471E-24</c:v>
                </c:pt>
                <c:pt idx="794">
                  <c:v>1.4760569544232846E-24</c:v>
                </c:pt>
                <c:pt idx="795">
                  <c:v>1.2776401149005377E-24</c:v>
                </c:pt>
                <c:pt idx="796">
                  <c:v>1.1058891080941704E-24</c:v>
                </c:pt>
                <c:pt idx="797">
                  <c:v>9.5722110835267526E-25</c:v>
                </c:pt>
                <c:pt idx="798">
                  <c:v>8.2853455261781266E-25</c:v>
                </c:pt>
                <c:pt idx="799">
                  <c:v>7.1714451340365409E-25</c:v>
                </c:pt>
                <c:pt idx="800">
                  <c:v>6.2072674715443891E-25</c:v>
                </c:pt>
              </c:numCache>
            </c:numRef>
          </c:yVal>
          <c:smooth val="0"/>
          <c:extLst>
            <c:ext xmlns:c16="http://schemas.microsoft.com/office/drawing/2014/chart" uri="{C3380CC4-5D6E-409C-BE32-E72D297353CC}">
              <c16:uniqueId val="{00000006-1D62-4DE3-8E9D-34C68BC76380}"/>
            </c:ext>
          </c:extLst>
        </c:ser>
        <c:ser>
          <c:idx val="7"/>
          <c:order val="7"/>
          <c:tx>
            <c:strRef>
              <c:f>Calc!$K$6</c:f>
              <c:strCache>
                <c:ptCount val="1"/>
                <c:pt idx="0">
                  <c:v>8</c:v>
                </c:pt>
              </c:strCache>
            </c:strRef>
          </c:tx>
          <c:spPr>
            <a:ln w="28575">
              <a:noFill/>
            </a:ln>
          </c:spPr>
          <c:marker>
            <c:symbol val="dot"/>
            <c:size val="5"/>
            <c:spPr>
              <a:noFill/>
              <a:ln>
                <a:solidFill>
                  <a:srgbClr val="0000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K$7:$K$807</c:f>
              <c:numCache>
                <c:formatCode>000,000,000</c:formatCode>
                <c:ptCount val="801"/>
                <c:pt idx="0">
                  <c:v>3.0227438580621569E-40</c:v>
                </c:pt>
                <c:pt idx="1">
                  <c:v>3.7884893545226748E-40</c:v>
                </c:pt>
                <c:pt idx="2">
                  <c:v>4.7481923613135789E-40</c:v>
                </c:pt>
                <c:pt idx="3">
                  <c:v>5.9509735118514926E-40</c:v>
                </c:pt>
                <c:pt idx="4">
                  <c:v>7.4583914929556887E-40</c:v>
                </c:pt>
                <c:pt idx="5">
                  <c:v>9.3475920079932528E-40</c:v>
                </c:pt>
                <c:pt idx="6">
                  <c:v>1.1715253825193618E-39</c:v>
                </c:pt>
                <c:pt idx="7">
                  <c:v>1.4682533635699584E-39</c:v>
                </c:pt>
                <c:pt idx="8">
                  <c:v>1.840126248755004E-39</c:v>
                </c:pt>
                <c:pt idx="9">
                  <c:v>2.3061710515450646E-39</c:v>
                </c:pt>
                <c:pt idx="10">
                  <c:v>2.8902316817568171E-39</c:v>
                </c:pt>
                <c:pt idx="11">
                  <c:v>3.6221881730965466E-39</c:v>
                </c:pt>
                <c:pt idx="12">
                  <c:v>4.5394844552511174E-39</c:v>
                </c:pt>
                <c:pt idx="13">
                  <c:v>5.68904273637657E-39</c:v>
                </c:pt>
                <c:pt idx="14">
                  <c:v>7.1296623091774641E-39</c:v>
                </c:pt>
                <c:pt idx="15">
                  <c:v>8.9350253351583712E-39</c:v>
                </c:pt>
                <c:pt idx="16">
                  <c:v>1.1197463159765965E-38</c:v>
                </c:pt>
                <c:pt idx="17">
                  <c:v>1.403267554781693E-38</c:v>
                </c:pt>
                <c:pt idx="18">
                  <c:v>1.7585643885512386E-38</c:v>
                </c:pt>
                <c:pt idx="19">
                  <c:v>2.203804035489781E-38</c:v>
                </c:pt>
                <c:pt idx="20">
                  <c:v>2.7617511458746458E-38</c:v>
                </c:pt>
                <c:pt idx="21">
                  <c:v>3.4609309954214909E-38</c:v>
                </c:pt>
                <c:pt idx="22">
                  <c:v>4.3370869122413498E-38</c:v>
                </c:pt>
                <c:pt idx="23">
                  <c:v>5.4350063471530013E-38</c:v>
                </c:pt>
                <c:pt idx="24">
                  <c:v>6.8108088101106146E-38</c:v>
                </c:pt>
                <c:pt idx="25">
                  <c:v>8.5348124637101836E-38</c:v>
                </c:pt>
                <c:pt idx="26">
                  <c:v>1.0695125689725883E-37</c:v>
                </c:pt>
                <c:pt idx="27">
                  <c:v>1.3402146931539551E-37</c:v>
                </c:pt>
                <c:pt idx="28">
                  <c:v>1.6794202449431759E-37</c:v>
                </c:pt>
                <c:pt idx="29">
                  <c:v>2.104460966854789E-37</c:v>
                </c:pt>
                <c:pt idx="30">
                  <c:v>2.63705265087874E-37</c:v>
                </c:pt>
                <c:pt idx="31">
                  <c:v>3.3044038166838925E-37</c:v>
                </c:pt>
                <c:pt idx="32">
                  <c:v>4.1406046913584595E-37</c:v>
                </c:pt>
                <c:pt idx="33">
                  <c:v>5.1883673387315823E-37</c:v>
                </c:pt>
                <c:pt idx="34">
                  <c:v>6.5012056884522156E-37</c:v>
                </c:pt>
                <c:pt idx="35">
                  <c:v>8.1461666392948818E-37</c:v>
                </c:pt>
                <c:pt idx="36">
                  <c:v>1.0207251499589303E-36</c:v>
                </c:pt>
                <c:pt idx="37">
                  <c:v>1.2789702210407373E-36</c:v>
                </c:pt>
                <c:pt idx="38">
                  <c:v>1.6025370865447233E-36</c:v>
                </c:pt>
                <c:pt idx="39">
                  <c:v>2.0079446238678839E-36</c:v>
                </c:pt>
                <c:pt idx="40">
                  <c:v>2.5158880166282069E-36</c:v>
                </c:pt>
                <c:pt idx="41">
                  <c:v>3.1522943221573548E-36</c:v>
                </c:pt>
                <c:pt idx="42">
                  <c:v>3.9496447576792042E-36</c:v>
                </c:pt>
                <c:pt idx="43">
                  <c:v>4.948631078177005E-36</c:v>
                </c:pt>
                <c:pt idx="44">
                  <c:v>6.2002304316769209E-36</c:v>
                </c:pt>
                <c:pt idx="45">
                  <c:v>7.7683043848510824E-36</c:v>
                </c:pt>
                <c:pt idx="46">
                  <c:v>9.7328544970804969E-36</c:v>
                </c:pt>
                <c:pt idx="47">
                  <c:v>1.2194100241347416E-35</c:v>
                </c:pt>
                <c:pt idx="48">
                  <c:v>1.5277586924704214E-35</c:v>
                </c:pt>
                <c:pt idx="49">
                  <c:v>1.9140583677246444E-35</c:v>
                </c:pt>
                <c:pt idx="50">
                  <c:v>2.3980097220626077E-35</c:v>
                </c:pt>
                <c:pt idx="51">
                  <c:v>3.0042909331110309E-35</c:v>
                </c:pt>
                <c:pt idx="52">
                  <c:v>3.7638148854849043E-35</c:v>
                </c:pt>
                <c:pt idx="53">
                  <c:v>4.7153038044223462E-35</c:v>
                </c:pt>
                <c:pt idx="54">
                  <c:v>5.9072614412035816E-35</c:v>
                </c:pt>
                <c:pt idx="55">
                  <c:v>7.4004431443170346E-35</c:v>
                </c:pt>
                <c:pt idx="56">
                  <c:v>9.2709494625957526E-35</c:v>
                </c:pt>
                <c:pt idx="57">
                  <c:v>1.161410062187671E-34</c:v>
                </c:pt>
                <c:pt idx="58">
                  <c:v>1.4549288904041252E-34</c:v>
                </c:pt>
                <c:pt idx="59">
                  <c:v>1.8226055650856298E-34</c:v>
                </c:pt>
                <c:pt idx="60">
                  <c:v>2.2831701836451898E-34</c:v>
                </c:pt>
                <c:pt idx="61">
                  <c:v>2.8600819058443368E-34</c:v>
                </c:pt>
                <c:pt idx="62">
                  <c:v>3.5827225340414114E-34</c:v>
                </c:pt>
                <c:pt idx="63">
                  <c:v>4.4878912264904813E-34</c:v>
                </c:pt>
                <c:pt idx="64">
                  <c:v>5.6216762858781985E-34</c:v>
                </c:pt>
                <c:pt idx="65">
                  <c:v>7.041799108393482E-34</c:v>
                </c:pt>
                <c:pt idx="66">
                  <c:v>8.8205493448848747E-34</c:v>
                </c:pt>
                <c:pt idx="67">
                  <c:v>1.1048460329657E-33</c:v>
                </c:pt>
                <c:pt idx="68">
                  <c:v>1.3838911394459116E-33</c:v>
                </c:pt>
                <c:pt idx="69">
                  <c:v>1.7333890708044965E-33</c:v>
                </c:pt>
                <c:pt idx="70">
                  <c:v>2.1711211146988186E-33</c:v>
                </c:pt>
                <c:pt idx="71">
                  <c:v>2.7193545392018919E-33</c:v>
                </c:pt>
                <c:pt idx="72">
                  <c:v>3.4059738686676177E-33</c:v>
                </c:pt>
                <c:pt idx="73">
                  <c:v>4.2658973160558151E-33</c:v>
                </c:pt>
                <c:pt idx="74">
                  <c:v>5.3428502151135861E-33</c:v>
                </c:pt>
                <c:pt idx="75">
                  <c:v>6.691585386850153E-33</c:v>
                </c:pt>
                <c:pt idx="76">
                  <c:v>8.3806630187649733E-33</c:v>
                </c:pt>
                <c:pt idx="77">
                  <c:v>1.0495930977459288E-32</c:v>
                </c:pt>
                <c:pt idx="78">
                  <c:v>1.3144881948561381E-32</c:v>
                </c:pt>
                <c:pt idx="79">
                  <c:v>1.646210819547954E-32</c:v>
                </c:pt>
                <c:pt idx="80">
                  <c:v>2.061613029408047E-32</c:v>
                </c:pt>
                <c:pt idx="81">
                  <c:v>2.5817945741402184E-32</c:v>
                </c:pt>
                <c:pt idx="82">
                  <c:v>3.2331730365690794E-32</c:v>
                </c:pt>
                <c:pt idx="83">
                  <c:v>4.0488234377331345E-32</c:v>
                </c:pt>
                <c:pt idx="84">
                  <c:v>5.0701551194357301E-32</c:v>
                </c:pt>
                <c:pt idx="85">
                  <c:v>6.3490107731609654E-32</c:v>
                </c:pt>
                <c:pt idx="86">
                  <c:v>7.9502938265636971E-32</c:v>
                </c:pt>
                <c:pt idx="87">
                  <c:v>9.9552571045031906E-32</c:v>
                </c:pt>
                <c:pt idx="88">
                  <c:v>1.2465619097703948E-31</c:v>
                </c:pt>
                <c:pt idx="89">
                  <c:v>1.5608715983464311E-31</c:v>
                </c:pt>
                <c:pt idx="90">
                  <c:v>1.9543949856991244E-31</c:v>
                </c:pt>
                <c:pt idx="91">
                  <c:v>2.4470859085200205E-31</c:v>
                </c:pt>
                <c:pt idx="92">
                  <c:v>3.0639218584587609E-31</c:v>
                </c:pt>
                <c:pt idx="93">
                  <c:v>3.8361680275429839E-31</c:v>
                </c:pt>
                <c:pt idx="94">
                  <c:v>4.8029592134351476E-31</c:v>
                </c:pt>
                <c:pt idx="95">
                  <c:v>6.013279460755889E-31</c:v>
                </c:pt>
                <c:pt idx="96">
                  <c:v>7.528439372597057E-31</c:v>
                </c:pt>
                <c:pt idx="97">
                  <c:v>9.4251761170816006E-31</c:v>
                </c:pt>
                <c:pt idx="98">
                  <c:v>1.179953253915884E-30</c:v>
                </c:pt>
                <c:pt idx="99">
                  <c:v>1.4771711045539895E-30</c:v>
                </c:pt>
                <c:pt idx="100">
                  <c:v>1.849214703369265E-30</c:v>
                </c:pt>
                <c:pt idx="101">
                  <c:v>2.3149108050982722E-30</c:v>
                </c:pt>
                <c:pt idx="102">
                  <c:v>2.8978201681779341E-30</c:v>
                </c:pt>
                <c:pt idx="103">
                  <c:v>3.6274271224913174E-30</c:v>
                </c:pt>
                <c:pt idx="104">
                  <c:v>4.5406278362554731E-30</c:v>
                </c:pt>
                <c:pt idx="105">
                  <c:v>5.6835922261649703E-30</c:v>
                </c:pt>
                <c:pt idx="106">
                  <c:v>7.1140932425326743E-30</c:v>
                </c:pt>
                <c:pt idx="107">
                  <c:v>8.9044207543071117E-30</c:v>
                </c:pt>
                <c:pt idx="108">
                  <c:v>1.1145026634845859E-29</c:v>
                </c:pt>
                <c:pt idx="109">
                  <c:v>1.3949084379816802E-29</c:v>
                </c:pt>
                <c:pt idx="110">
                  <c:v>1.7458192512919556E-29</c:v>
                </c:pt>
                <c:pt idx="111">
                  <c:v>2.1849508452125485E-29</c:v>
                </c:pt>
                <c:pt idx="112">
                  <c:v>2.7344671291842184E-29</c:v>
                </c:pt>
                <c:pt idx="113">
                  <c:v>3.4220961695169944E-29</c:v>
                </c:pt>
                <c:pt idx="114">
                  <c:v>4.2825259271941536E-29</c:v>
                </c:pt>
                <c:pt idx="115">
                  <c:v>5.3591498048869096E-29</c:v>
                </c:pt>
                <c:pt idx="116">
                  <c:v>6.7062495923115041E-29</c:v>
                </c:pt>
                <c:pt idx="117">
                  <c:v>8.3917253082478386E-29</c:v>
                </c:pt>
                <c:pt idx="118">
                  <c:v>1.0500508820944071E-28</c:v>
                </c:pt>
                <c:pt idx="119">
                  <c:v>1.3138832352375478E-28</c:v>
                </c:pt>
                <c:pt idx="120">
                  <c:v>1.6439565742550934E-28</c:v>
                </c:pt>
                <c:pt idx="121">
                  <c:v>2.0568889799591421E-28</c:v>
                </c:pt>
                <c:pt idx="122">
                  <c:v>2.573463985252169E-28</c:v>
                </c:pt>
                <c:pt idx="123">
                  <c:v>3.2196737082564893E-28</c:v>
                </c:pt>
                <c:pt idx="124">
                  <c:v>4.0280229489144965E-28</c:v>
                </c:pt>
                <c:pt idx="125">
                  <c:v>5.0391594636462796E-28</c:v>
                </c:pt>
                <c:pt idx="126">
                  <c:v>6.3039119103744068E-28</c:v>
                </c:pt>
                <c:pt idx="127">
                  <c:v>7.885837291658375E-28</c:v>
                </c:pt>
                <c:pt idx="128">
                  <c:v>9.8644051269078689E-28</c:v>
                </c:pt>
                <c:pt idx="129">
                  <c:v>1.2338977316792029E-27</c:v>
                </c:pt>
                <c:pt idx="130">
                  <c:v>1.5433782298522683E-27</c:v>
                </c:pt>
                <c:pt idx="131">
                  <c:v>1.9304131595201484E-27</c:v>
                </c:pt>
                <c:pt idx="132">
                  <c:v>2.4144188689464667E-27</c:v>
                </c:pt>
                <c:pt idx="133">
                  <c:v>3.0196677363823931E-27</c:v>
                </c:pt>
                <c:pt idx="134">
                  <c:v>3.776501306980915E-27</c:v>
                </c:pt>
                <c:pt idx="135">
                  <c:v>4.7228461285804096E-27</c:v>
                </c:pt>
                <c:pt idx="136">
                  <c:v>5.9061077152602177E-27</c:v>
                </c:pt>
                <c:pt idx="137">
                  <c:v>7.3855368364948253E-27</c:v>
                </c:pt>
                <c:pt idx="138">
                  <c:v>9.2351857615794321E-27</c:v>
                </c:pt>
                <c:pt idx="139">
                  <c:v>1.1547601340241221E-26</c:v>
                </c:pt>
                <c:pt idx="140">
                  <c:v>1.4438438313714781E-26</c:v>
                </c:pt>
                <c:pt idx="141">
                  <c:v>1.8052221825808316E-26</c:v>
                </c:pt>
                <c:pt idx="142">
                  <c:v>2.2569544985494893E-26</c:v>
                </c:pt>
                <c:pt idx="143">
                  <c:v>2.8216058321270548E-26</c:v>
                </c:pt>
                <c:pt idx="144">
                  <c:v>3.5273696554777122E-26</c:v>
                </c:pt>
                <c:pt idx="145">
                  <c:v>4.4094698661442025E-26</c:v>
                </c:pt>
                <c:pt idx="146">
                  <c:v>5.511911510873272E-26</c:v>
                </c:pt>
                <c:pt idx="147">
                  <c:v>6.8896668237682704E-26</c:v>
                </c:pt>
                <c:pt idx="148">
                  <c:v>8.6114046420179621E-26</c:v>
                </c:pt>
                <c:pt idx="149">
                  <c:v>1.0762898040366004E-25</c:v>
                </c:pt>
                <c:pt idx="150">
                  <c:v>1.3451278425948288E-25</c:v>
                </c:pt>
                <c:pt idx="151">
                  <c:v>1.6810345992492063E-25</c:v>
                </c:pt>
                <c:pt idx="152">
                  <c:v>2.1007198383836664E-25</c:v>
                </c:pt>
                <c:pt idx="153">
                  <c:v>2.6250504199238582E-25</c:v>
                </c:pt>
                <c:pt idx="154">
                  <c:v>3.2800828749031975E-25</c:v>
                </c:pt>
                <c:pt idx="155">
                  <c:v>4.0983520178377095E-25</c:v>
                </c:pt>
                <c:pt idx="156">
                  <c:v>5.1204789626242349E-25</c:v>
                </c:pt>
                <c:pt idx="157">
                  <c:v>6.3971775588724215E-25</c:v>
                </c:pt>
                <c:pt idx="158">
                  <c:v>7.9917577722472724E-25</c:v>
                </c:pt>
                <c:pt idx="159">
                  <c:v>9.9832488434684866E-25</c:v>
                </c:pt>
                <c:pt idx="160">
                  <c:v>1.2470295356372861E-24</c:v>
                </c:pt>
                <c:pt idx="161">
                  <c:v>1.5576017095326787E-24</c:v>
                </c:pt>
                <c:pt idx="162">
                  <c:v>1.9454070605490473E-24</c:v>
                </c:pt>
                <c:pt idx="163">
                  <c:v>2.4296208962714477E-24</c:v>
                </c:pt>
                <c:pt idx="164">
                  <c:v>3.0341709246723192E-24</c:v>
                </c:pt>
                <c:pt idx="165">
                  <c:v>3.788912811752748E-24</c:v>
                </c:pt>
                <c:pt idx="166">
                  <c:v>4.7310959107710581E-24</c:v>
                </c:pt>
                <c:pt idx="167">
                  <c:v>5.9071906219781043E-24</c:v>
                </c:pt>
                <c:pt idx="168">
                  <c:v>7.3751663946661406E-24</c:v>
                </c:pt>
                <c:pt idx="169">
                  <c:v>9.2073312357380283E-24</c:v>
                </c:pt>
                <c:pt idx="170">
                  <c:v>1.1493870790800879E-23</c:v>
                </c:pt>
                <c:pt idx="171">
                  <c:v>1.4347258920350637E-23</c:v>
                </c:pt>
                <c:pt idx="172">
                  <c:v>1.7907753827769981E-23</c:v>
                </c:pt>
                <c:pt idx="173">
                  <c:v>2.2350246224693208E-23</c:v>
                </c:pt>
                <c:pt idx="174">
                  <c:v>2.7892791249720192E-23</c:v>
                </c:pt>
                <c:pt idx="175">
                  <c:v>3.4807237003500166E-23</c:v>
                </c:pt>
                <c:pt idx="176">
                  <c:v>4.3432463497083642E-23</c:v>
                </c:pt>
                <c:pt idx="177">
                  <c:v>5.41908713386891E-23</c:v>
                </c:pt>
                <c:pt idx="178">
                  <c:v>6.7608915577767874E-23</c:v>
                </c:pt>
                <c:pt idx="179">
                  <c:v>8.4342674199312636E-23</c:v>
                </c:pt>
                <c:pt idx="180">
                  <c:v>1.0520968202195917E-22</c:v>
                </c:pt>
                <c:pt idx="181">
                  <c:v>1.3122856062904113E-22</c:v>
                </c:pt>
                <c:pt idx="182">
                  <c:v>1.6366834763659553E-22</c:v>
                </c:pt>
                <c:pt idx="183">
                  <c:v>2.0410989167845959E-22</c:v>
                </c:pt>
                <c:pt idx="184">
                  <c:v>2.5452225480438375E-22</c:v>
                </c:pt>
                <c:pt idx="185">
                  <c:v>3.1735777863295127E-22</c:v>
                </c:pt>
                <c:pt idx="186">
                  <c:v>3.9567035817481564E-22</c:v>
                </c:pt>
                <c:pt idx="187">
                  <c:v>4.9326256940451317E-22</c:v>
                </c:pt>
                <c:pt idx="188">
                  <c:v>6.1486866506002894E-22</c:v>
                </c:pt>
                <c:pt idx="189">
                  <c:v>7.6638215180644714E-22</c:v>
                </c:pt>
                <c:pt idx="190">
                  <c:v>9.5513877014667086E-22</c:v>
                </c:pt>
                <c:pt idx="191">
                  <c:v>1.1902683145899955E-21</c:v>
                </c:pt>
                <c:pt idx="192">
                  <c:v>1.4831319773516861E-21</c:v>
                </c:pt>
                <c:pt idx="193">
                  <c:v>1.847865925035021E-21</c:v>
                </c:pt>
                <c:pt idx="194">
                  <c:v>2.3020568110342459E-21</c:v>
                </c:pt>
                <c:pt idx="195">
                  <c:v>2.8675811178861867E-21</c:v>
                </c:pt>
                <c:pt idx="196">
                  <c:v>3.5716478994919061E-21</c:v>
                </c:pt>
                <c:pt idx="197">
                  <c:v>4.4480940068814661E-21</c:v>
                </c:pt>
                <c:pt idx="198">
                  <c:v>5.5389926707209343E-21</c:v>
                </c:pt>
                <c:pt idx="199">
                  <c:v>6.8966509203554558E-21</c:v>
                </c:pt>
                <c:pt idx="200">
                  <c:v>8.5860894120873539E-21</c:v>
                </c:pt>
                <c:pt idx="201">
                  <c:v>1.0688120645781527E-20</c:v>
                </c:pt>
                <c:pt idx="202">
                  <c:v>1.3303169290937905E-20</c:v>
                </c:pt>
                <c:pt idx="203">
                  <c:v>1.6556012683777813E-20</c:v>
                </c:pt>
                <c:pt idx="204">
                  <c:v>2.0601662055159999E-20</c:v>
                </c:pt>
                <c:pt idx="205">
                  <c:v>2.5632657630700223E-20</c:v>
                </c:pt>
                <c:pt idx="206">
                  <c:v>3.1888115785913762E-20</c:v>
                </c:pt>
                <c:pt idx="207">
                  <c:v>3.9664946873105321E-20</c:v>
                </c:pt>
                <c:pt idx="208">
                  <c:v>4.9331761780670011E-20</c:v>
                </c:pt>
                <c:pt idx="209">
                  <c:v>6.1346108200534577E-20</c:v>
                </c:pt>
                <c:pt idx="210">
                  <c:v>7.6275829465448081E-20</c:v>
                </c:pt>
                <c:pt idx="211">
                  <c:v>9.4825526452521183E-20</c:v>
                </c:pt>
                <c:pt idx="212">
                  <c:v>1.1786933478335865E-19</c:v>
                </c:pt>
                <c:pt idx="213">
                  <c:v>1.4649151566842611E-19</c:v>
                </c:pt>
                <c:pt idx="214">
                  <c:v>1.8203671190588413E-19</c:v>
                </c:pt>
                <c:pt idx="215">
                  <c:v>2.2617215633600087E-19</c:v>
                </c:pt>
                <c:pt idx="216">
                  <c:v>2.8096465764384717E-19</c:v>
                </c:pt>
                <c:pt idx="217">
                  <c:v>3.4897585137371513E-19</c:v>
                </c:pt>
                <c:pt idx="218">
                  <c:v>4.333800213565601E-19</c:v>
                </c:pt>
                <c:pt idx="219">
                  <c:v>5.3810980408014751E-19</c:v>
                </c:pt>
                <c:pt idx="220">
                  <c:v>6.6803632961204723E-19</c:v>
                </c:pt>
                <c:pt idx="221">
                  <c:v>8.2919188125572669E-19</c:v>
                </c:pt>
                <c:pt idx="222">
                  <c:v>1.0290450381399869E-18</c:v>
                </c:pt>
                <c:pt idx="223">
                  <c:v>1.2768405813420501E-18</c:v>
                </c:pt>
                <c:pt idx="224">
                  <c:v>1.5840192941783988E-18</c:v>
                </c:pt>
                <c:pt idx="225">
                  <c:v>1.9647362926427333E-18</c:v>
                </c:pt>
                <c:pt idx="226">
                  <c:v>2.4365008317196628E-18</c:v>
                </c:pt>
                <c:pt idx="227">
                  <c:v>3.0209658300707814E-18</c:v>
                </c:pt>
                <c:pt idx="228">
                  <c:v>3.7449018629305495E-18</c:v>
                </c:pt>
                <c:pt idx="229">
                  <c:v>4.641398364524433E-18</c:v>
                </c:pt>
                <c:pt idx="230">
                  <c:v>5.751344591498177E-18</c:v>
                </c:pt>
                <c:pt idx="231">
                  <c:v>7.1252549367340339E-18</c:v>
                </c:pt>
                <c:pt idx="232">
                  <c:v>8.8255179482473737E-18</c:v>
                </c:pt>
                <c:pt idx="233">
                  <c:v>1.0929166510880962E-17</c:v>
                </c:pt>
                <c:pt idx="234">
                  <c:v>1.3531288834106686E-17</c:v>
                </c:pt>
                <c:pt idx="235">
                  <c:v>1.6749227066052847E-17</c:v>
                </c:pt>
                <c:pt idx="236">
                  <c:v>2.0727743629761626E-17</c:v>
                </c:pt>
                <c:pt idx="237">
                  <c:v>2.5645376102556364E-17</c:v>
                </c:pt>
                <c:pt idx="238">
                  <c:v>3.1722251277278714E-17</c:v>
                </c:pt>
                <c:pt idx="239">
                  <c:v>3.9229689955892438E-17</c:v>
                </c:pt>
                <c:pt idx="240">
                  <c:v>4.8502008465379517E-17</c:v>
                </c:pt>
                <c:pt idx="241">
                  <c:v>5.9951013811507012E-17</c:v>
                </c:pt>
                <c:pt idx="242">
                  <c:v>7.4083800392068116E-17</c:v>
                </c:pt>
                <c:pt idx="243">
                  <c:v>9.1524591641116441E-17</c:v>
                </c:pt>
                <c:pt idx="244">
                  <c:v>1.1304153516339045E-16</c:v>
                </c:pt>
                <c:pt idx="245">
                  <c:v>1.3957956126217432E-16</c:v>
                </c:pt>
                <c:pt idx="246">
                  <c:v>1.7230066004059593E-16</c:v>
                </c:pt>
                <c:pt idx="247">
                  <c:v>2.1263323088101492E-16</c:v>
                </c:pt>
                <c:pt idx="248">
                  <c:v>2.6233252147028823E-16</c:v>
                </c:pt>
                <c:pt idx="249">
                  <c:v>3.2355461541082703E-16</c:v>
                </c:pt>
                <c:pt idx="250">
                  <c:v>3.9894696447322276E-16</c:v>
                </c:pt>
                <c:pt idx="251">
                  <c:v>4.9175911378508261E-16</c:v>
                </c:pt>
                <c:pt idx="252">
                  <c:v>6.0597805993008059E-16</c:v>
                </c:pt>
                <c:pt idx="253">
                  <c:v>7.4649364223545753E-16</c:v>
                </c:pt>
                <c:pt idx="254">
                  <c:v>9.1930053159649933E-16</c:v>
                </c:pt>
                <c:pt idx="255">
                  <c:v>1.1317447912994157E-15</c:v>
                </c:pt>
                <c:pt idx="256">
                  <c:v>1.3928246912758283E-15</c:v>
                </c:pt>
                <c:pt idx="257">
                  <c:v>1.713557522078967E-15</c:v>
                </c:pt>
                <c:pt idx="258">
                  <c:v>2.1074266508332487E-15</c:v>
                </c:pt>
                <c:pt idx="259">
                  <c:v>2.590926076239519E-15</c:v>
                </c:pt>
                <c:pt idx="260">
                  <c:v>3.184223378517975E-15</c:v>
                </c:pt>
                <c:pt idx="261">
                  <c:v>3.9119663486694049E-15</c:v>
                </c:pt>
                <c:pt idx="262">
                  <c:v>4.8042638698914896E-15</c:v>
                </c:pt>
                <c:pt idx="263">
                  <c:v>5.8978779917843007E-15</c:v>
                </c:pt>
                <c:pt idx="264">
                  <c:v>7.2376717990417947E-15</c:v>
                </c:pt>
                <c:pt idx="265">
                  <c:v>8.8783668854873809E-15</c:v>
                </c:pt>
                <c:pt idx="266">
                  <c:v>1.0886675304794926E-14</c:v>
                </c:pt>
                <c:pt idx="267">
                  <c:v>1.3343884141423496E-14</c:v>
                </c:pt>
                <c:pt idx="268">
                  <c:v>1.6348986756998284E-14</c:v>
                </c:pt>
                <c:pt idx="269">
                  <c:v>2.0022473825803958E-14</c:v>
                </c:pt>
                <c:pt idx="270">
                  <c:v>2.4510920078863491E-14</c:v>
                </c:pt>
                <c:pt idx="271">
                  <c:v>2.9992529939561926E-14</c:v>
                </c:pt>
                <c:pt idx="272">
                  <c:v>3.6683837793861032E-14</c:v>
                </c:pt>
                <c:pt idx="273">
                  <c:v>4.4847797484293516E-14</c:v>
                </c:pt>
                <c:pt idx="274">
                  <c:v>5.4803541914507279E-14</c:v>
                </c:pt>
                <c:pt idx="275">
                  <c:v>6.6938148770684435E-14</c:v>
                </c:pt>
                <c:pt idx="276">
                  <c:v>8.1720813917283046E-14</c:v>
                </c:pt>
                <c:pt idx="277">
                  <c:v>9.9719911894413259E-14</c:v>
                </c:pt>
                <c:pt idx="278">
                  <c:v>1.2162351534225534E-13</c:v>
                </c:pt>
                <c:pt idx="279">
                  <c:v>1.4826405468656698E-13</c:v>
                </c:pt>
                <c:pt idx="280">
                  <c:v>1.806479290518317E-13</c:v>
                </c:pt>
                <c:pt idx="281">
                  <c:v>2.1999103263494856E-13</c:v>
                </c:pt>
                <c:pt idx="282">
                  <c:v>2.6776134175376376E-13</c:v>
                </c:pt>
                <c:pt idx="283">
                  <c:v>3.2572992121837659E-13</c:v>
                </c:pt>
                <c:pt idx="284">
                  <c:v>3.960319600461314E-13</c:v>
                </c:pt>
                <c:pt idx="285">
                  <c:v>4.8123974219817184E-13</c:v>
                </c:pt>
                <c:pt idx="286">
                  <c:v>5.8444980527637791E-13</c:v>
                </c:pt>
                <c:pt idx="287">
                  <c:v>7.0938694741309071E-13</c:v>
                </c:pt>
                <c:pt idx="288">
                  <c:v>8.6052821959525141E-13</c:v>
                </c:pt>
                <c:pt idx="289">
                  <c:v>1.0432505984890566E-12</c:v>
                </c:pt>
                <c:pt idx="290">
                  <c:v>1.2640066861647571E-12</c:v>
                </c:pt>
                <c:pt idx="291">
                  <c:v>1.5305335424432079E-12</c:v>
                </c:pt>
                <c:pt idx="292">
                  <c:v>1.8521006393744237E-12</c:v>
                </c:pt>
                <c:pt idx="293">
                  <c:v>2.2398039543103142E-12</c:v>
                </c:pt>
                <c:pt idx="294">
                  <c:v>2.7069144093128294E-12</c:v>
                </c:pt>
                <c:pt idx="295">
                  <c:v>3.2692902441198431E-12</c:v>
                </c:pt>
                <c:pt idx="296">
                  <c:v>3.9458645044394263E-12</c:v>
                </c:pt>
                <c:pt idx="297">
                  <c:v>4.7592206670772843E-12</c:v>
                </c:pt>
                <c:pt idx="298">
                  <c:v>5.7362715419839412E-12</c:v>
                </c:pt>
                <c:pt idx="299">
                  <c:v>6.9090590262251376E-12</c:v>
                </c:pt>
                <c:pt idx="300">
                  <c:v>8.3156950777045662E-12</c:v>
                </c:pt>
                <c:pt idx="301">
                  <c:v>1.0001467473150289E-11</c:v>
                </c:pt>
                <c:pt idx="302">
                  <c:v>1.2020137565947977E-11</c:v>
                </c:pt>
                <c:pt idx="303">
                  <c:v>1.4435461420196598E-11</c:v>
                </c:pt>
                <c:pt idx="304">
                  <c:v>1.7322970428174224E-11</c:v>
                </c:pt>
                <c:pt idx="305">
                  <c:v>2.0772052884537286E-11</c:v>
                </c:pt>
                <c:pt idx="306">
                  <c:v>2.4888384062422492E-11</c:v>
                </c:pt>
                <c:pt idx="307">
                  <c:v>2.9796759189443243E-11</c:v>
                </c:pt>
                <c:pt idx="308">
                  <c:v>3.5644391435372002E-11</c:v>
                </c:pt>
                <c:pt idx="309">
                  <c:v>4.2604745682355174E-11</c:v>
                </c:pt>
                <c:pt idx="310">
                  <c:v>5.0881988540745325E-11</c:v>
                </c:pt>
                <c:pt idx="311">
                  <c:v>6.0716145889956398E-11</c:v>
                </c:pt>
                <c:pt idx="312">
                  <c:v>7.2389071256716132E-11</c:v>
                </c:pt>
                <c:pt idx="313">
                  <c:v>8.6231341685734073E-11</c:v>
                </c:pt>
                <c:pt idx="314">
                  <c:v>1.0263021250178439E-10</c:v>
                </c:pt>
                <c:pt idx="315">
                  <c:v>1.2203877859564858E-10</c:v>
                </c:pt>
                <c:pt idx="316">
                  <c:v>1.4498650767137154E-10</c:v>
                </c:pt>
                <c:pt idx="317">
                  <c:v>1.7209133034173688E-10</c:v>
                </c:pt>
                <c:pt idx="318">
                  <c:v>2.0407349311303619E-10</c:v>
                </c:pt>
                <c:pt idx="319">
                  <c:v>2.4177140320228293E-10</c:v>
                </c:pt>
                <c:pt idx="320">
                  <c:v>2.8615971880172829E-10</c:v>
                </c:pt>
                <c:pt idx="321">
                  <c:v>3.3836996484121698E-10</c:v>
                </c:pt>
                <c:pt idx="322">
                  <c:v>3.9971398246030227E-10</c:v>
                </c:pt>
                <c:pt idx="323">
                  <c:v>4.7171055021021274E-10</c:v>
                </c:pt>
                <c:pt idx="324">
                  <c:v>5.5611554633541749E-10</c:v>
                </c:pt>
                <c:pt idx="325">
                  <c:v>6.5495605415469398E-10</c:v>
                </c:pt>
                <c:pt idx="326">
                  <c:v>7.7056884632736006E-10</c:v>
                </c:pt>
                <c:pt idx="327">
                  <c:v>9.0564371833476219E-10</c:v>
                </c:pt>
                <c:pt idx="328">
                  <c:v>1.0632721764302551E-9</c:v>
                </c:pt>
                <c:pt idx="329">
                  <c:v>1.2470020201214788E-9</c:v>
                </c:pt>
                <c:pt idx="330">
                  <c:v>1.4608983933542189E-9</c:v>
                </c:pt>
                <c:pt idx="331">
                  <c:v>1.7096119112636647E-9</c:v>
                </c:pt>
                <c:pt idx="332">
                  <c:v>1.9984544998227956E-9</c:v>
                </c:pt>
                <c:pt idx="333">
                  <c:v>2.33348361299852E-9</c:v>
                </c:pt>
                <c:pt idx="334">
                  <c:v>2.7215955150361405E-9</c:v>
                </c:pt>
                <c:pt idx="335">
                  <c:v>3.1706283330066597E-9</c:v>
                </c:pt>
                <c:pt idx="336">
                  <c:v>3.6894755953983221E-9</c:v>
                </c:pt>
                <c:pt idx="337">
                  <c:v>4.2882109747997602E-9</c:v>
                </c:pt>
                <c:pt idx="338">
                  <c:v>4.9782249449500703E-9</c:v>
                </c:pt>
                <c:pt idx="339">
                  <c:v>5.7723740428321827E-9</c:v>
                </c:pt>
                <c:pt idx="340">
                  <c:v>6.6851433931397894E-9</c:v>
                </c:pt>
                <c:pt idx="341">
                  <c:v>7.7328231033344365E-9</c:v>
                </c:pt>
                <c:pt idx="342">
                  <c:v>8.9336990705105637E-9</c:v>
                </c:pt>
                <c:pt idx="343">
                  <c:v>1.0308258654231018E-8</c:v>
                </c:pt>
                <c:pt idx="344">
                  <c:v>1.1879411560184964E-8</c:v>
                </c:pt>
                <c:pt idx="345">
                  <c:v>1.3672726145765178E-8</c:v>
                </c:pt>
                <c:pt idx="346">
                  <c:v>1.5716681198346193E-8</c:v>
                </c:pt>
                <c:pt idx="347">
                  <c:v>1.8042933048164858E-8</c:v>
                </c:pt>
                <c:pt idx="348">
                  <c:v>2.0686597658442464E-8</c:v>
                </c:pt>
                <c:pt idx="349">
                  <c:v>2.3686547084187535E-8</c:v>
                </c:pt>
                <c:pt idx="350">
                  <c:v>2.7085719406747059E-8</c:v>
                </c:pt>
                <c:pt idx="351">
                  <c:v>3.0931440932835474E-8</c:v>
                </c:pt>
                <c:pt idx="352">
                  <c:v>3.5275759094154896E-8</c:v>
                </c:pt>
                <c:pt idx="353">
                  <c:v>4.0175784097155168E-8</c:v>
                </c:pt>
                <c:pt idx="354">
                  <c:v>4.5694036952959556E-8</c:v>
                </c:pt>
                <c:pt idx="355">
                  <c:v>5.1898801066825473E-8</c:v>
                </c:pt>
                <c:pt idx="356">
                  <c:v>5.886447408740336E-8</c:v>
                </c:pt>
                <c:pt idx="357">
                  <c:v>6.6671916212218496E-8</c:v>
                </c:pt>
                <c:pt idx="358">
                  <c:v>7.5408790621913947E-8</c:v>
                </c:pt>
                <c:pt idx="359">
                  <c:v>8.5169891177821586E-8</c:v>
                </c:pt>
                <c:pt idx="360">
                  <c:v>9.6057451972348129E-8</c:v>
                </c:pt>
                <c:pt idx="361">
                  <c:v>1.0818143277783221E-7</c:v>
                </c:pt>
                <c:pt idx="362">
                  <c:v>1.2165977390639729E-7</c:v>
                </c:pt>
                <c:pt idx="363">
                  <c:v>1.3661861348167485E-7</c:v>
                </c:pt>
                <c:pt idx="364">
                  <c:v>1.5319245964494315E-7</c:v>
                </c:pt>
                <c:pt idx="365">
                  <c:v>1.7152430978621765E-7</c:v>
                </c:pt>
                <c:pt idx="366">
                  <c:v>1.91765708519022E-7</c:v>
                </c:pt>
                <c:pt idx="367">
                  <c:v>2.1407673582076385E-7</c:v>
                </c:pt>
                <c:pt idx="368">
                  <c:v>2.3862591655398556E-7</c:v>
                </c:pt>
                <c:pt idx="369">
                  <c:v>2.6559004248307414E-7</c:v>
                </c:pt>
                <c:pt idx="370">
                  <c:v>2.9515389792177148E-7</c:v>
                </c:pt>
                <c:pt idx="371">
                  <c:v>3.2750988030463316E-7</c:v>
                </c:pt>
                <c:pt idx="372">
                  <c:v>3.6285750728489055E-7</c:v>
                </c:pt>
                <c:pt idx="373">
                  <c:v>4.0140280243584142E-7</c:v>
                </c:pt>
                <c:pt idx="374">
                  <c:v>4.4335755228492413E-7</c:v>
                </c:pt>
                <c:pt idx="375">
                  <c:v>4.8893842824912928E-7</c:v>
                </c:pt>
                <c:pt idx="376">
                  <c:v>5.3836596807527551E-7</c:v>
                </c:pt>
                <c:pt idx="377">
                  <c:v>5.9186341262343949E-7</c:v>
                </c:pt>
                <c:pt idx="378">
                  <c:v>6.4965539526822387E-7</c:v>
                </c:pt>
                <c:pt idx="379">
                  <c:v>7.1196648282795817E-7</c:v>
                </c:pt>
                <c:pt idx="380">
                  <c:v>7.7901956876022882E-7</c:v>
                </c:pt>
                <c:pt idx="381">
                  <c:v>8.51034121371744E-7</c:v>
                </c:pt>
                <c:pt idx="382">
                  <c:v>9.2822429196643895E-7</c:v>
                </c:pt>
                <c:pt idx="383">
                  <c:v>1.0107968901765461E-6</c:v>
                </c:pt>
                <c:pt idx="384">
                  <c:v>1.0989492361620199E-6</c:v>
                </c:pt>
                <c:pt idx="385">
                  <c:v>1.1928669018929469E-6</c:v>
                </c:pt>
                <c:pt idx="386">
                  <c:v>1.2927213563130813E-6</c:v>
                </c:pt>
                <c:pt idx="387">
                  <c:v>1.398667531779133E-6</c:v>
                </c:pt>
                <c:pt idx="388">
                  <c:v>1.5108413317375536E-6</c:v>
                </c:pt>
                <c:pt idx="389">
                  <c:v>1.6293571020900151E-6</c:v>
                </c:pt>
                <c:pt idx="390">
                  <c:v>1.7543050910609256E-6</c:v>
                </c:pt>
                <c:pt idx="391">
                  <c:v>1.885748924563725E-6</c:v>
                </c:pt>
                <c:pt idx="392">
                  <c:v>2.0237231260136635E-6</c:v>
                </c:pt>
                <c:pt idx="393">
                  <c:v>2.1682307112024794E-6</c:v>
                </c:pt>
                <c:pt idx="394">
                  <c:v>2.3192408901815408E-6</c:v>
                </c:pt>
                <c:pt idx="395">
                  <c:v>2.4766869090488871E-6</c:v>
                </c:pt>
                <c:pt idx="396">
                  <c:v>2.640464065054515E-6</c:v>
                </c:pt>
                <c:pt idx="397">
                  <c:v>2.8104279284908445E-6</c:v>
                </c:pt>
                <c:pt idx="398">
                  <c:v>2.986392804386184E-6</c:v>
                </c:pt>
                <c:pt idx="399">
                  <c:v>3.1681304660433227E-6</c:v>
                </c:pt>
                <c:pt idx="400">
                  <c:v>3.3553691909474524E-6</c:v>
                </c:pt>
                <c:pt idx="401">
                  <c:v>3.5477931274973565E-6</c:v>
                </c:pt>
                <c:pt idx="402">
                  <c:v>3.7450420183966413E-6</c:v>
                </c:pt>
                <c:pt idx="403">
                  <c:v>3.9467113033901449E-6</c:v>
                </c:pt>
                <c:pt idx="404">
                  <c:v>4.1523526203682102E-6</c:v>
                </c:pt>
                <c:pt idx="405">
                  <c:v>4.3614747197268423E-6</c:v>
                </c:pt>
                <c:pt idx="406">
                  <c:v>4.5735448023086478E-6</c:v>
                </c:pt>
                <c:pt idx="407">
                  <c:v>4.7879902863174504E-6</c:v>
                </c:pt>
                <c:pt idx="408">
                  <c:v>5.0042010033646297E-6</c:v>
                </c:pt>
                <c:pt idx="409">
                  <c:v>5.221531818342889E-6</c:v>
                </c:pt>
                <c:pt idx="410">
                  <c:v>5.4393056622184965E-6</c:v>
                </c:pt>
                <c:pt idx="411">
                  <c:v>5.6568169611721533E-6</c:v>
                </c:pt>
                <c:pt idx="412">
                  <c:v>5.8733354398982942E-6</c:v>
                </c:pt>
                <c:pt idx="413">
                  <c:v>6.0881102713855777E-6</c:v>
                </c:pt>
                <c:pt idx="414">
                  <c:v>6.3003745402473533E-6</c:v>
                </c:pt>
                <c:pt idx="415">
                  <c:v>6.5093499817401158E-6</c:v>
                </c:pt>
                <c:pt idx="416">
                  <c:v>6.7142519540969016E-6</c:v>
                </c:pt>
                <c:pt idx="417">
                  <c:v>6.9142945977929175E-6</c:v>
                </c:pt>
                <c:pt idx="418">
                  <c:v>7.108696131930153E-6</c:v>
                </c:pt>
                <c:pt idx="419">
                  <c:v>7.2966842351494535E-6</c:v>
                </c:pt>
                <c:pt idx="420">
                  <c:v>7.4775014564046346E-6</c:v>
                </c:pt>
                <c:pt idx="421">
                  <c:v>7.6504105996119513E-6</c:v>
                </c:pt>
                <c:pt idx="422">
                  <c:v>7.814700025653809E-6</c:v>
                </c:pt>
                <c:pt idx="423">
                  <c:v>7.9696888154796755E-6</c:v>
                </c:pt>
                <c:pt idx="424">
                  <c:v>8.1147317391215548E-6</c:v>
                </c:pt>
                <c:pt idx="425">
                  <c:v>8.2492239773061488E-6</c:v>
                </c:pt>
                <c:pt idx="426">
                  <c:v>8.3726055449816458E-6</c:v>
                </c:pt>
                <c:pt idx="427">
                  <c:v>8.4843653694400223E-6</c:v>
                </c:pt>
                <c:pt idx="428">
                  <c:v>8.5840449797536502E-6</c:v>
                </c:pt>
                <c:pt idx="429">
                  <c:v>8.6712417688918605E-6</c:v>
                </c:pt>
                <c:pt idx="430">
                  <c:v>8.7456117950656225E-6</c:v>
                </c:pt>
                <c:pt idx="431">
                  <c:v>8.8068720944749772E-6</c:v>
                </c:pt>
                <c:pt idx="432">
                  <c:v>8.854802483620406E-6</c:v>
                </c:pt>
                <c:pt idx="433">
                  <c:v>8.8892468355794376E-6</c:v>
                </c:pt>
                <c:pt idx="434">
                  <c:v>8.9101138210492784E-6</c:v>
                </c:pt>
                <c:pt idx="435">
                  <c:v>8.9173771114067292E-6</c:v>
                </c:pt>
                <c:pt idx="436">
                  <c:v>8.9110750474413227E-6</c:v>
                </c:pt>
                <c:pt idx="437">
                  <c:v>8.8913097836727266E-6</c:v>
                </c:pt>
                <c:pt idx="438">
                  <c:v>8.8582459241783795E-6</c:v>
                </c:pt>
                <c:pt idx="439">
                  <c:v>8.8121086715400196E-6</c:v>
                </c:pt>
                <c:pt idx="440">
                  <c:v>8.7531815157927418E-6</c:v>
                </c:pt>
                <c:pt idx="441">
                  <c:v>8.6818034950498124E-6</c:v>
                </c:pt>
                <c:pt idx="442">
                  <c:v>8.5983660637256607E-6</c:v>
                </c:pt>
                <c:pt idx="443">
                  <c:v>8.5033096079360495E-6</c:v>
                </c:pt>
                <c:pt idx="444">
                  <c:v>8.397119650678506E-6</c:v>
                </c:pt>
                <c:pt idx="445">
                  <c:v>8.280322791765099E-6</c:v>
                </c:pt>
                <c:pt idx="446">
                  <c:v>8.153482429176761E-6</c:v>
                </c:pt>
                <c:pt idx="447">
                  <c:v>8.0171943095330748E-6</c:v>
                </c:pt>
                <c:pt idx="448">
                  <c:v>7.8720819557313387E-6</c:v>
                </c:pt>
                <c:pt idx="449">
                  <c:v>7.7187920195255438E-6</c:v>
                </c:pt>
                <c:pt idx="450">
                  <c:v>7.5579896059192109E-6</c:v>
                </c:pt>
                <c:pt idx="451">
                  <c:v>7.3903536147725424E-6</c:v>
                </c:pt>
                <c:pt idx="452">
                  <c:v>7.2165721430244588E-6</c:v>
                </c:pt>
                <c:pt idx="453">
                  <c:v>7.0373379884547573E-6</c:v>
                </c:pt>
                <c:pt idx="454">
                  <c:v>6.8533442930173952E-6</c:v>
                </c:pt>
                <c:pt idx="455">
                  <c:v>6.6652803605319734E-6</c:v>
                </c:pt>
                <c:pt idx="456">
                  <c:v>6.4738276799817077E-6</c:v>
                </c:pt>
                <c:pt idx="457">
                  <c:v>6.2796561819103558E-6</c:v>
                </c:pt>
                <c:pt idx="458">
                  <c:v>6.083420751492894E-6</c:v>
                </c:pt>
                <c:pt idx="459">
                  <c:v>5.8857580178494547E-6</c:v>
                </c:pt>
                <c:pt idx="460">
                  <c:v>5.6872834351349466E-6</c:v>
                </c:pt>
                <c:pt idx="461">
                  <c:v>5.4885886669334096E-6</c:v>
                </c:pt>
                <c:pt idx="462">
                  <c:v>5.2902392815657802E-6</c:v>
                </c:pt>
                <c:pt idx="463">
                  <c:v>5.0927727621386634E-6</c:v>
                </c:pt>
                <c:pt idx="464">
                  <c:v>4.8966968315610959E-6</c:v>
                </c:pt>
                <c:pt idx="465">
                  <c:v>4.7024880893772199E-6</c:v>
                </c:pt>
                <c:pt idx="466">
                  <c:v>4.5105909541374943E-6</c:v>
                </c:pt>
                <c:pt idx="467">
                  <c:v>4.3214169021881594E-6</c:v>
                </c:pt>
                <c:pt idx="468">
                  <c:v>4.135343991215381E-6</c:v>
                </c:pt>
                <c:pt idx="469">
                  <c:v>3.9527166546553493E-6</c:v>
                </c:pt>
                <c:pt idx="470">
                  <c:v>3.773845751179326E-6</c:v>
                </c:pt>
                <c:pt idx="471">
                  <c:v>3.5990088518871796E-6</c:v>
                </c:pt>
                <c:pt idx="472">
                  <c:v>3.4284507465934755E-6</c:v>
                </c:pt>
                <c:pt idx="473">
                  <c:v>3.2623841496553743E-6</c:v>
                </c:pt>
                <c:pt idx="474">
                  <c:v>3.1009905851636854E-6</c:v>
                </c:pt>
                <c:pt idx="475">
                  <c:v>2.944421430978684E-6</c:v>
                </c:pt>
                <c:pt idx="476">
                  <c:v>2.7927991010247043E-6</c:v>
                </c:pt>
                <c:pt idx="477">
                  <c:v>2.646218345438418E-6</c:v>
                </c:pt>
                <c:pt idx="478">
                  <c:v>2.5047476485738517E-6</c:v>
                </c:pt>
                <c:pt idx="479">
                  <c:v>2.3684307054765267E-6</c:v>
                </c:pt>
                <c:pt idx="480">
                  <c:v>2.2372879582242654E-6</c:v>
                </c:pt>
                <c:pt idx="481">
                  <c:v>2.1113181744684775E-6</c:v>
                </c:pt>
                <c:pt idx="482">
                  <c:v>1.990500051569244E-6</c:v>
                </c:pt>
                <c:pt idx="483">
                  <c:v>1.874793830876791E-6</c:v>
                </c:pt>
                <c:pt idx="484">
                  <c:v>1.7641429079452745E-6</c:v>
                </c:pt>
                <c:pt idx="485">
                  <c:v>1.6584754257501614E-6</c:v>
                </c:pt>
                <c:pt idx="486">
                  <c:v>1.5577058392946868E-6</c:v>
                </c:pt>
                <c:pt idx="487">
                  <c:v>1.4617364413157075E-6</c:v>
                </c:pt>
                <c:pt idx="488">
                  <c:v>1.3704588401147844E-6</c:v>
                </c:pt>
                <c:pt idx="489">
                  <c:v>1.2837553818316124E-6</c:v>
                </c:pt>
                <c:pt idx="490">
                  <c:v>1.2015005107293621E-6</c:v>
                </c:pt>
                <c:pt idx="491">
                  <c:v>1.1235620622623781E-6</c:v>
                </c:pt>
                <c:pt idx="492">
                  <c:v>1.0498024848372277E-6</c:v>
                </c:pt>
                <c:pt idx="493">
                  <c:v>9.8007998724847635E-7</c:v>
                </c:pt>
                <c:pt idx="494">
                  <c:v>9.1424960976609761E-7</c:v>
                </c:pt>
                <c:pt idx="495">
                  <c:v>8.521642177660697E-7</c:v>
                </c:pt>
                <c:pt idx="496">
                  <c:v>7.936754176280565E-7</c:v>
                </c:pt>
                <c:pt idx="497">
                  <c:v>7.386343953714906E-7</c:v>
                </c:pt>
                <c:pt idx="498">
                  <c:v>6.8689267916449725E-7</c:v>
                </c:pt>
                <c:pt idx="499">
                  <c:v>6.3830282742030387E-7</c:v>
                </c:pt>
                <c:pt idx="500">
                  <c:v>5.9271904469413164E-7</c:v>
                </c:pt>
                <c:pt idx="501">
                  <c:v>5.4999772801481825E-7</c:v>
                </c:pt>
                <c:pt idx="502">
                  <c:v>5.0999794663163093E-7</c:v>
                </c:pt>
                <c:pt idx="503">
                  <c:v>4.7258185843364088E-7</c:v>
                </c:pt>
                <c:pt idx="504">
                  <c:v>4.3761506651048602E-7</c:v>
                </c:pt>
                <c:pt idx="505">
                  <c:v>4.0496691947503942E-7</c:v>
                </c:pt>
                <c:pt idx="506">
                  <c:v>3.7451075926541702E-7</c:v>
                </c:pt>
                <c:pt idx="507">
                  <c:v>3.4612412019136565E-7</c:v>
                </c:pt>
                <c:pt idx="508">
                  <c:v>3.1968888299374286E-7</c:v>
                </c:pt>
                <c:pt idx="509">
                  <c:v>2.9509138765087285E-7</c:v>
                </c:pt>
                <c:pt idx="510">
                  <c:v>2.7222250859704523E-7</c:v>
                </c:pt>
                <c:pt idx="511">
                  <c:v>2.5097769592137157E-7</c:v>
                </c:pt>
                <c:pt idx="512">
                  <c:v>2.3125698599409358E-7</c:v>
                </c:pt>
                <c:pt idx="513">
                  <c:v>2.1296498482700556E-7</c:v>
                </c:pt>
                <c:pt idx="514">
                  <c:v>1.9601082731847629E-7</c:v>
                </c:pt>
                <c:pt idx="515">
                  <c:v>1.8030811536563712E-7</c:v>
                </c:pt>
                <c:pt idx="516">
                  <c:v>1.6577483765024692E-7</c:v>
                </c:pt>
                <c:pt idx="517">
                  <c:v>1.5233327372290512E-7</c:v>
                </c:pt>
                <c:pt idx="518">
                  <c:v>1.3990988482625615E-7</c:v>
                </c:pt>
                <c:pt idx="519">
                  <c:v>1.2843519371316978E-7</c:v>
                </c:pt>
                <c:pt idx="520">
                  <c:v>1.1784365553321261E-7</c:v>
                </c:pt>
                <c:pt idx="521">
                  <c:v>1.0807352168157347E-7</c:v>
                </c:pt>
                <c:pt idx="522">
                  <c:v>9.9066698330353993E-8</c:v>
                </c:pt>
                <c:pt idx="523">
                  <c:v>9.0768601194219975E-8</c:v>
                </c:pt>
                <c:pt idx="524">
                  <c:v>8.3128007921660547E-8</c:v>
                </c:pt>
                <c:pt idx="525">
                  <c:v>7.609690935014567E-8</c:v>
                </c:pt>
                <c:pt idx="526">
                  <c:v>6.9630360719218022E-8</c:v>
                </c:pt>
                <c:pt idx="527">
                  <c:v>6.3686333799877917E-8</c:v>
                </c:pt>
                <c:pt idx="528">
                  <c:v>5.8225570772197126E-8</c:v>
                </c:pt>
                <c:pt idx="529">
                  <c:v>5.3211440565667112E-8</c:v>
                </c:pt>
                <c:pt idx="530">
                  <c:v>4.8609798268470678E-8</c:v>
                </c:pt>
                <c:pt idx="531">
                  <c:v>4.4388848112501916E-8</c:v>
                </c:pt>
                <c:pt idx="532">
                  <c:v>4.0519010450265996E-8</c:v>
                </c:pt>
                <c:pt idx="533">
                  <c:v>3.6972793057531735E-8</c:v>
                </c:pt>
                <c:pt idx="534">
                  <c:v>3.372466702140565E-8</c:v>
                </c:pt>
                <c:pt idx="535">
                  <c:v>3.0750947406989545E-8</c:v>
                </c:pt>
                <c:pt idx="536">
                  <c:v>2.8029678836516401E-8</c:v>
                </c:pt>
                <c:pt idx="537">
                  <c:v>2.554052606243611E-8</c:v>
                </c:pt>
                <c:pt idx="538">
                  <c:v>2.326466956984402E-8</c:v>
                </c:pt>
                <c:pt idx="539">
                  <c:v>2.1184706203539651E-8</c:v>
                </c:pt>
                <c:pt idx="540">
                  <c:v>1.928455478028736E-8</c:v>
                </c:pt>
                <c:pt idx="541">
                  <c:v>1.7549366617249295E-8</c:v>
                </c:pt>
                <c:pt idx="542">
                  <c:v>1.5965440882473139E-8</c:v>
                </c:pt>
                <c:pt idx="543">
                  <c:v>1.452014465245141E-8</c:v>
                </c:pt>
                <c:pt idx="544">
                  <c:v>1.320183754464539E-8</c:v>
                </c:pt>
                <c:pt idx="545">
                  <c:v>1.1999800779165733E-8</c:v>
                </c:pt>
                <c:pt idx="546">
                  <c:v>1.0904170513098452E-8</c:v>
                </c:pt>
                <c:pt idx="547">
                  <c:v>9.9058752829858306E-9</c:v>
                </c:pt>
                <c:pt idx="548">
                  <c:v>8.9965773853599259E-9</c:v>
                </c:pt>
                <c:pt idx="549">
                  <c:v>8.1686180216993786E-9</c:v>
                </c:pt>
                <c:pt idx="550">
                  <c:v>7.4149660324876489E-9</c:v>
                </c:pt>
                <c:pt idx="551">
                  <c:v>6.7291700449209397E-9</c:v>
                </c:pt>
                <c:pt idx="552">
                  <c:v>6.1053138600148947E-9</c:v>
                </c:pt>
                <c:pt idx="553">
                  <c:v>5.5379749072467837E-9</c:v>
                </c:pt>
                <c:pt idx="554">
                  <c:v>5.0221855981565923E-9</c:v>
                </c:pt>
                <c:pt idx="555">
                  <c:v>4.5533974144479969E-9</c:v>
                </c:pt>
                <c:pt idx="556">
                  <c:v>4.1274475708699893E-9</c:v>
                </c:pt>
                <c:pt idx="557">
                  <c:v>3.7405280984068116E-9</c:v>
                </c:pt>
                <c:pt idx="558">
                  <c:v>3.3891571989464029E-9</c:v>
                </c:pt>
                <c:pt idx="559">
                  <c:v>3.0701527285149115E-9</c:v>
                </c:pt>
                <c:pt idx="560">
                  <c:v>2.7806076722904546E-9</c:v>
                </c:pt>
                <c:pt idx="561">
                  <c:v>2.517867480841969E-9</c:v>
                </c:pt>
                <c:pt idx="562">
                  <c:v>2.2795091433184456E-9</c:v>
                </c:pt>
                <c:pt idx="563">
                  <c:v>2.0633218795985163E-9</c:v>
                </c:pt>
                <c:pt idx="564">
                  <c:v>1.8672893396165667E-9</c:v>
                </c:pt>
                <c:pt idx="565">
                  <c:v>1.689573204206488E-9</c:v>
                </c:pt>
                <c:pt idx="566">
                  <c:v>1.5284980877833609E-9</c:v>
                </c:pt>
                <c:pt idx="567">
                  <c:v>1.3825376490111324E-9</c:v>
                </c:pt>
                <c:pt idx="568">
                  <c:v>1.2503018212420495E-9</c:v>
                </c:pt>
                <c:pt idx="569">
                  <c:v>1.1305250799559959E-9</c:v>
                </c:pt>
                <c:pt idx="570">
                  <c:v>1.0220556696597244E-9</c:v>
                </c:pt>
                <c:pt idx="571">
                  <c:v>9.2384571770909768E-10</c:v>
                </c:pt>
                <c:pt idx="572">
                  <c:v>8.3494216730444778E-10</c:v>
                </c:pt>
                <c:pt idx="573">
                  <c:v>7.5447846645829466E-10</c:v>
                </c:pt>
                <c:pt idx="574">
                  <c:v>6.8166695405687334E-10</c:v>
                </c:pt>
                <c:pt idx="575">
                  <c:v>6.1579188823348388E-10</c:v>
                </c:pt>
                <c:pt idx="576">
                  <c:v>5.5620306613713512E-10</c:v>
                </c:pt>
                <c:pt idx="577">
                  <c:v>5.0230998783229933E-10</c:v>
                </c:pt>
                <c:pt idx="578">
                  <c:v>4.535765204965588E-10</c:v>
                </c:pt>
                <c:pt idx="579">
                  <c:v>4.0951602231078421E-10</c:v>
                </c:pt>
                <c:pt idx="580">
                  <c:v>3.696868884615276E-10</c:v>
                </c:pt>
                <c:pt idx="581">
                  <c:v>3.3368848450697733E-10</c:v>
                </c:pt>
                <c:pt idx="582">
                  <c:v>3.0115743500706358E-10</c:v>
                </c:pt>
                <c:pt idx="583">
                  <c:v>2.7176423778877021E-10</c:v>
                </c:pt>
                <c:pt idx="584">
                  <c:v>2.4521017652284533E-10</c:v>
                </c:pt>
                <c:pt idx="585">
                  <c:v>2.2122450643201748E-10</c:v>
                </c:pt>
                <c:pt idx="586">
                  <c:v>1.9956188994566553E-10</c:v>
                </c:pt>
                <c:pt idx="587">
                  <c:v>1.8000006096800321E-10</c:v>
                </c:pt>
                <c:pt idx="588">
                  <c:v>1.6233769814447044E-10</c:v>
                </c:pt>
                <c:pt idx="589">
                  <c:v>1.463924891035746E-10</c:v>
                </c:pt>
                <c:pt idx="590">
                  <c:v>1.3199936912455329E-10</c:v>
                </c:pt>
                <c:pt idx="591">
                  <c:v>1.1900891904452229E-10</c:v>
                </c:pt>
                <c:pt idx="592">
                  <c:v>1.072859084777022E-10</c:v>
                </c:pt>
                <c:pt idx="593">
                  <c:v>9.6707971581782265E-11</c:v>
                </c:pt>
                <c:pt idx="594">
                  <c:v>8.716440367827041E-11</c:v>
                </c:pt>
                <c:pt idx="595">
                  <c:v>7.855506802181117E-11</c:v>
                </c:pt>
                <c:pt idx="596">
                  <c:v>7.078940292295011E-11</c:v>
                </c:pt>
                <c:pt idx="597">
                  <c:v>6.3785520265778086E-11</c:v>
                </c:pt>
                <c:pt idx="598">
                  <c:v>5.7469387231583751E-11</c:v>
                </c:pt>
                <c:pt idx="599">
                  <c:v>5.1774083746591686E-11</c:v>
                </c:pt>
                <c:pt idx="600">
                  <c:v>4.663912882104641E-11</c:v>
                </c:pt>
                <c:pt idx="601">
                  <c:v>4.2009869542720652E-11</c:v>
                </c:pt>
                <c:pt idx="602">
                  <c:v>3.7836927034045008E-11</c:v>
                </c:pt>
                <c:pt idx="603">
                  <c:v>3.4075694182776635E-11</c:v>
                </c:pt>
                <c:pt idx="604">
                  <c:v>3.0685880414525181E-11</c:v>
                </c:pt>
                <c:pt idx="605">
                  <c:v>2.7631099195410318E-11</c:v>
                </c:pt>
                <c:pt idx="606">
                  <c:v>2.4878494336838013E-11</c:v>
                </c:pt>
                <c:pt idx="607">
                  <c:v>2.2398401525836081E-11</c:v>
                </c:pt>
                <c:pt idx="608">
                  <c:v>2.0164041825157362E-11</c:v>
                </c:pt>
                <c:pt idx="609">
                  <c:v>1.8151244180646265E-11</c:v>
                </c:pt>
                <c:pt idx="610">
                  <c:v>1.6338194240995905E-11</c:v>
                </c:pt>
                <c:pt idx="611">
                  <c:v>1.470520703950484E-11</c:v>
                </c:pt>
                <c:pt idx="612">
                  <c:v>1.3234521310150458E-11</c:v>
                </c:pt>
                <c:pt idx="613">
                  <c:v>1.1910113413795576E-11</c:v>
                </c:pt>
                <c:pt idx="614">
                  <c:v>1.0717529035373501E-11</c:v>
                </c:pt>
                <c:pt idx="615">
                  <c:v>9.6437309819365035E-12</c:v>
                </c:pt>
                <c:pt idx="616">
                  <c:v>8.6769615650367443E-12</c:v>
                </c:pt>
                <c:pt idx="617">
                  <c:v>7.8066181910133429E-12</c:v>
                </c:pt>
                <c:pt idx="618">
                  <c:v>7.0231409100911447E-12</c:v>
                </c:pt>
                <c:pt idx="619">
                  <c:v>6.3179107911382919E-12</c:v>
                </c:pt>
                <c:pt idx="620">
                  <c:v>5.6831580943535762E-12</c:v>
                </c:pt>
                <c:pt idx="621">
                  <c:v>5.1118793099831845E-12</c:v>
                </c:pt>
                <c:pt idx="622">
                  <c:v>4.597762218296078E-12</c:v>
                </c:pt>
                <c:pt idx="623">
                  <c:v>4.1351182051911416E-12</c:v>
                </c:pt>
                <c:pt idx="624">
                  <c:v>3.7188211397116366E-12</c:v>
                </c:pt>
                <c:pt idx="625">
                  <c:v>3.3442521850204761E-12</c:v>
                </c:pt>
                <c:pt idx="626">
                  <c:v>3.0072499736564068E-12</c:v>
                </c:pt>
                <c:pt idx="627">
                  <c:v>2.7040656317003218E-12</c:v>
                </c:pt>
                <c:pt idx="628">
                  <c:v>2.4313221852443627E-12</c:v>
                </c:pt>
                <c:pt idx="629">
                  <c:v>2.185977926854097E-12</c:v>
                </c:pt>
                <c:pt idx="630">
                  <c:v>1.9652933598521758E-12</c:v>
                </c:pt>
                <c:pt idx="631">
                  <c:v>1.7668013746202483E-12</c:v>
                </c:pt>
                <c:pt idx="632">
                  <c:v>1.588280344135742E-12</c:v>
                </c:pt>
                <c:pt idx="633">
                  <c:v>1.4277298558273844E-12</c:v>
                </c:pt>
                <c:pt idx="634">
                  <c:v>1.2833488239237961E-12</c:v>
                </c:pt>
                <c:pt idx="635">
                  <c:v>1.1535157509946963E-12</c:v>
                </c:pt>
                <c:pt idx="636">
                  <c:v>1.0367709295931283E-12</c:v>
                </c:pt>
                <c:pt idx="637">
                  <c:v>9.3180039503364674E-13</c:v>
                </c:pt>
                <c:pt idx="638">
                  <c:v>8.3742145851602747E-13</c:v>
                </c:pt>
                <c:pt idx="639">
                  <c:v>7.525696663085844E-13</c:v>
                </c:pt>
                <c:pt idx="640">
                  <c:v>6.7628704559039401E-13</c:v>
                </c:pt>
                <c:pt idx="641">
                  <c:v>6.0771151104971692E-13</c:v>
                </c:pt>
                <c:pt idx="642">
                  <c:v>5.4606731852653045E-13</c:v>
                </c:pt>
                <c:pt idx="643">
                  <c:v>4.9065646301821899E-13</c:v>
                </c:pt>
                <c:pt idx="644">
                  <c:v>4.4085092834664045E-13</c:v>
                </c:pt>
                <c:pt idx="645">
                  <c:v>3.9608570479132992E-13</c:v>
                </c:pt>
                <c:pt idx="646">
                  <c:v>3.5585249915324587E-13</c:v>
                </c:pt>
                <c:pt idx="647">
                  <c:v>3.1969406906861958E-13</c:v>
                </c:pt>
                <c:pt idx="648">
                  <c:v>2.8719912005343311E-13</c:v>
                </c:pt>
                <c:pt idx="649">
                  <c:v>2.5799770977004433E-13</c:v>
                </c:pt>
                <c:pt idx="650">
                  <c:v>2.3175710943329868E-13</c:v>
                </c:pt>
                <c:pt idx="651">
                  <c:v>2.0817807718479274E-13</c:v>
                </c:pt>
                <c:pt idx="652">
                  <c:v>1.8699150268807963E-13</c:v>
                </c:pt>
                <c:pt idx="653">
                  <c:v>1.6795538619750281E-13</c:v>
                </c:pt>
                <c:pt idx="654">
                  <c:v>1.508521189657144E-13</c:v>
                </c:pt>
                <c:pt idx="655">
                  <c:v>1.354860351104276E-13</c:v>
                </c:pt>
                <c:pt idx="656">
                  <c:v>1.2168120800454942E-13</c:v>
                </c:pt>
                <c:pt idx="657">
                  <c:v>1.0927946690662015E-13</c:v>
                </c:pt>
                <c:pt idx="658">
                  <c:v>9.8138611943778574E-14</c:v>
                </c:pt>
                <c:pt idx="659">
                  <c:v>8.8130807720298542E-14</c:v>
                </c:pt>
                <c:pt idx="660">
                  <c:v>7.9141137772872659E-14</c:v>
                </c:pt>
                <c:pt idx="661">
                  <c:v>7.1066303853371423E-14</c:v>
                </c:pt>
                <c:pt idx="662">
                  <c:v>6.381345560401571E-14</c:v>
                </c:pt>
                <c:pt idx="663">
                  <c:v>5.7299137619650497E-14</c:v>
                </c:pt>
                <c:pt idx="664">
                  <c:v>5.1448342182676015E-14</c:v>
                </c:pt>
                <c:pt idx="665">
                  <c:v>4.6193657116246481E-14</c:v>
                </c:pt>
                <c:pt idx="666">
                  <c:v>4.147449925087837E-14</c:v>
                </c:pt>
                <c:pt idx="667">
                  <c:v>3.7236424943586525E-14</c:v>
                </c:pt>
                <c:pt idx="668">
                  <c:v>3.3430509939590154E-14</c:v>
                </c:pt>
                <c:pt idx="669">
                  <c:v>3.0012791634424784E-14</c:v>
                </c:pt>
                <c:pt idx="670">
                  <c:v>2.6943767485269178E-14</c:v>
                </c:pt>
                <c:pt idx="671">
                  <c:v>2.4187943943567008E-14</c:v>
                </c:pt>
                <c:pt idx="672">
                  <c:v>2.171343084175833E-14</c:v>
                </c:pt>
                <c:pt idx="673">
                  <c:v>1.9491576673185312E-14</c:v>
                </c:pt>
                <c:pt idx="674">
                  <c:v>1.7496640659081375E-14</c:v>
                </c:pt>
                <c:pt idx="675">
                  <c:v>1.5705497907377824E-14</c:v>
                </c:pt>
                <c:pt idx="676">
                  <c:v>1.4097374337109341E-14</c:v>
                </c:pt>
                <c:pt idx="677">
                  <c:v>1.2653608375146043E-14</c:v>
                </c:pt>
                <c:pt idx="678">
                  <c:v>1.1357436731666208E-14</c:v>
                </c:pt>
                <c:pt idx="679">
                  <c:v>1.0193801830400818E-14</c:v>
                </c:pt>
                <c:pt idx="680">
                  <c:v>9.1491787128783392E-15</c:v>
                </c:pt>
                <c:pt idx="681">
                  <c:v>8.2114194543666691E-15</c:v>
                </c:pt>
                <c:pt idx="682">
                  <c:v>7.3696133261586131E-15</c:v>
                </c:pt>
                <c:pt idx="683">
                  <c:v>6.6139611162225732E-15</c:v>
                </c:pt>
                <c:pt idx="684">
                  <c:v>5.9356621794526089E-15</c:v>
                </c:pt>
                <c:pt idx="685">
                  <c:v>5.3268129326676662E-15</c:v>
                </c:pt>
                <c:pt idx="686">
                  <c:v>4.7803156384934866E-15</c:v>
                </c:pt>
                <c:pt idx="687">
                  <c:v>4.2897964385588942E-15</c:v>
                </c:pt>
                <c:pt idx="688">
                  <c:v>3.8495317011887974E-15</c:v>
                </c:pt>
                <c:pt idx="689">
                  <c:v>3.4543818428103706E-15</c:v>
                </c:pt>
                <c:pt idx="690">
                  <c:v>3.0997318670226331E-15</c:v>
                </c:pt>
                <c:pt idx="691">
                  <c:v>2.7814379415390227E-15</c:v>
                </c:pt>
                <c:pt idx="692">
                  <c:v>2.4957794016902538E-15</c:v>
                </c:pt>
                <c:pt idx="693">
                  <c:v>2.2394156308967664E-15</c:v>
                </c:pt>
                <c:pt idx="694">
                  <c:v>2.0093473239891669E-15</c:v>
                </c:pt>
                <c:pt idx="695">
                  <c:v>1.8028816891785208E-15</c:v>
                </c:pt>
                <c:pt idx="696">
                  <c:v>1.6176011892499667E-15</c:v>
                </c:pt>
                <c:pt idx="697">
                  <c:v>1.4513354630858738E-15</c:v>
                </c:pt>
                <c:pt idx="698">
                  <c:v>1.3021361047583853E-15</c:v>
                </c:pt>
                <c:pt idx="699">
                  <c:v>1.1682540101734773E-15</c:v>
                </c:pt>
                <c:pt idx="700">
                  <c:v>1.048119030552756E-15</c:v>
                </c:pt>
                <c:pt idx="701">
                  <c:v>9.403216984619963E-16</c:v>
                </c:pt>
                <c:pt idx="702">
                  <c:v>8.4359681579810894E-16</c:v>
                </c:pt>
                <c:pt idx="703">
                  <c:v>7.568087144767031E-16</c:v>
                </c:pt>
                <c:pt idx="704">
                  <c:v>6.7893801978536959E-16</c:v>
                </c:pt>
                <c:pt idx="705">
                  <c:v>6.0906976354356673E-16</c:v>
                </c:pt>
                <c:pt idx="706">
                  <c:v>5.4638270977894167E-16</c:v>
                </c:pt>
                <c:pt idx="707">
                  <c:v>4.9013976950487634E-16</c:v>
                </c:pt>
                <c:pt idx="708">
                  <c:v>4.3967939374344653E-16</c:v>
                </c:pt>
                <c:pt idx="709">
                  <c:v>3.9440784518289541E-16</c:v>
                </c:pt>
                <c:pt idx="710">
                  <c:v>3.5379225896861975E-16</c:v>
                </c:pt>
                <c:pt idx="711">
                  <c:v>3.1735441223641664E-16</c:v>
                </c:pt>
                <c:pt idx="712">
                  <c:v>2.8466513014498286E-16</c:v>
                </c:pt>
                <c:pt idx="713">
                  <c:v>2.5533926353310965E-16</c:v>
                </c:pt>
                <c:pt idx="714">
                  <c:v>2.290311799052462E-16</c:v>
                </c:pt>
                <c:pt idx="715">
                  <c:v>2.0543071538441255E-16</c:v>
                </c:pt>
                <c:pt idx="716">
                  <c:v>1.8425954061420793E-16</c:v>
                </c:pt>
                <c:pt idx="717">
                  <c:v>1.6526789835166898E-16</c:v>
                </c:pt>
                <c:pt idx="718">
                  <c:v>1.4823167481693143E-16</c:v>
                </c:pt>
                <c:pt idx="719">
                  <c:v>1.3294977072053908E-16</c:v>
                </c:pt>
                <c:pt idx="720">
                  <c:v>1.192417413618407E-16</c:v>
                </c:pt>
                <c:pt idx="721">
                  <c:v>1.0694567831044373E-16</c:v>
                </c:pt>
                <c:pt idx="722">
                  <c:v>9.5916307986880945E-17</c:v>
                </c:pt>
                <c:pt idx="723">
                  <c:v>8.6023284976725217E-17</c:v>
                </c:pt>
                <c:pt idx="724">
                  <c:v>7.7149660164543153E-17</c:v>
                </c:pt>
                <c:pt idx="725">
                  <c:v>6.9190505818638338E-17</c:v>
                </c:pt>
                <c:pt idx="726">
                  <c:v>6.2051681571149439E-17</c:v>
                </c:pt>
                <c:pt idx="727">
                  <c:v>5.5648726879807106E-17</c:v>
                </c:pt>
                <c:pt idx="728">
                  <c:v>4.9905867030651999E-17</c:v>
                </c:pt>
                <c:pt idx="729">
                  <c:v>4.4755121060448326E-17</c:v>
                </c:pt>
                <c:pt idx="730">
                  <c:v>4.0135501168749515E-17</c:v>
                </c:pt>
                <c:pt idx="731">
                  <c:v>3.5992294245800731E-17</c:v>
                </c:pt>
                <c:pt idx="732">
                  <c:v>3.2276417114504595E-17</c:v>
                </c:pt>
                <c:pt idx="733">
                  <c:v>2.8943837930463407E-17</c:v>
                </c:pt>
                <c:pt idx="734">
                  <c:v>2.5955056964167651E-17</c:v>
                </c:pt>
                <c:pt idx="735">
                  <c:v>2.3274640679996036E-17</c:v>
                </c:pt>
                <c:pt idx="736">
                  <c:v>2.0870803650106849E-17</c:v>
                </c:pt>
                <c:pt idx="737">
                  <c:v>1.8715033398306299E-17</c:v>
                </c:pt>
                <c:pt idx="738">
                  <c:v>1.6781753773731364E-17</c:v>
                </c:pt>
                <c:pt idx="739">
                  <c:v>1.5048022901673525E-17</c:v>
                </c:pt>
                <c:pt idx="740">
                  <c:v>1.3493262165754112E-17</c:v>
                </c:pt>
                <c:pt idx="741">
                  <c:v>1.2099013037957907E-17</c:v>
                </c:pt>
                <c:pt idx="742">
                  <c:v>1.0848718898602842E-17</c:v>
                </c:pt>
                <c:pt idx="743">
                  <c:v>9.7275292822423784E-18</c:v>
                </c:pt>
                <c:pt idx="744">
                  <c:v>8.7221242470723478E-18</c:v>
                </c:pt>
                <c:pt idx="745">
                  <c:v>7.8205568021126727E-18</c:v>
                </c:pt>
                <c:pt idx="746">
                  <c:v>7.0121115383315029E-18</c:v>
                </c:pt>
                <c:pt idx="747">
                  <c:v>6.2871777987378185E-18</c:v>
                </c:pt>
                <c:pt idx="748">
                  <c:v>5.6371358949602307E-18</c:v>
                </c:pt>
                <c:pt idx="749">
                  <c:v>5.0542550297270751E-18</c:v>
                </c:pt>
                <c:pt idx="750">
                  <c:v>4.5316017221160074E-18</c:v>
                </c:pt>
                <c:pt idx="751">
                  <c:v>4.0629576567415757E-18</c:v>
                </c:pt>
                <c:pt idx="752">
                  <c:v>3.6427459881687756E-18</c:v>
                </c:pt>
                <c:pt idx="753">
                  <c:v>3.2659652310685919E-18</c:v>
                </c:pt>
                <c:pt idx="754">
                  <c:v>2.9281299565818047E-18</c:v>
                </c:pt>
                <c:pt idx="755">
                  <c:v>2.6252175947794823E-18</c:v>
                </c:pt>
                <c:pt idx="756">
                  <c:v>2.3536207154201272E-18</c:v>
                </c:pt>
                <c:pt idx="757">
                  <c:v>2.1101042232277698E-18</c:v>
                </c:pt>
                <c:pt idx="758">
                  <c:v>1.8917669624668079E-18</c:v>
                </c:pt>
                <c:pt idx="759">
                  <c:v>1.6960072767690014E-18</c:v>
                </c:pt>
                <c:pt idx="760">
                  <c:v>1.5204921175368817E-18</c:v>
                </c:pt>
                <c:pt idx="761">
                  <c:v>1.3631293355078067E-18</c:v>
                </c:pt>
                <c:pt idx="762">
                  <c:v>1.22204282779838E-18</c:v>
                </c:pt>
                <c:pt idx="763">
                  <c:v>1.0955502466337826E-18</c:v>
                </c:pt>
                <c:pt idx="764">
                  <c:v>9.8214300585287333E-19</c:v>
                </c:pt>
                <c:pt idx="765">
                  <c:v>8.8046834866343792E-19</c:v>
                </c:pt>
                <c:pt idx="766">
                  <c:v>7.8931326428194756E-19</c:v>
                </c:pt>
                <c:pt idx="767">
                  <c:v>7.0759006313833709E-19</c:v>
                </c:pt>
                <c:pt idx="768">
                  <c:v>6.3432343962076779E-19</c:v>
                </c:pt>
                <c:pt idx="769">
                  <c:v>5.6863886925881689E-19</c:v>
                </c:pt>
                <c:pt idx="770">
                  <c:v>5.0975220279658853E-19</c:v>
                </c:pt>
                <c:pt idx="771">
                  <c:v>4.5696033370218621E-19</c:v>
                </c:pt>
                <c:pt idx="772">
                  <c:v>4.0963282864514105E-19</c:v>
                </c:pt>
                <c:pt idx="773">
                  <c:v>3.6720442159183268E-19</c:v>
                </c:pt>
                <c:pt idx="774">
                  <c:v>3.2916828245305947E-19</c:v>
                </c:pt>
                <c:pt idx="775">
                  <c:v>2.9506998051248569E-19</c:v>
                </c:pt>
                <c:pt idx="776">
                  <c:v>2.6450207092476476E-19</c:v>
                </c:pt>
                <c:pt idx="777">
                  <c:v>2.3709924006961849E-19</c:v>
                </c:pt>
                <c:pt idx="778">
                  <c:v>2.1253395205918434E-19</c:v>
                </c:pt>
                <c:pt idx="779">
                  <c:v>1.9051254481990338E-19</c:v>
                </c:pt>
                <c:pt idx="780">
                  <c:v>1.7077172922608741E-19</c:v>
                </c:pt>
                <c:pt idx="781">
                  <c:v>1.530754498098022E-19</c:v>
                </c:pt>
                <c:pt idx="782">
                  <c:v>1.372120697009072E-19</c:v>
                </c:pt>
                <c:pt idx="783">
                  <c:v>1.2299184632423711E-19</c:v>
                </c:pt>
                <c:pt idx="784">
                  <c:v>1.1024466785646002E-19</c:v>
                </c:pt>
                <c:pt idx="785">
                  <c:v>9.8818023555426045E-20</c:v>
                </c:pt>
                <c:pt idx="786">
                  <c:v>8.8575183758464862E-20</c:v>
                </c:pt>
                <c:pt idx="787">
                  <c:v>7.9393567974073077E-20</c:v>
                </c:pt>
                <c:pt idx="788">
                  <c:v>7.1163281586310504E-20</c:v>
                </c:pt>
                <c:pt idx="789">
                  <c:v>6.3785803803120549E-20</c:v>
                </c:pt>
                <c:pt idx="790">
                  <c:v>5.7172811205506872E-20</c:v>
                </c:pt>
                <c:pt idx="791">
                  <c:v>5.1245122904747441E-20</c:v>
                </c:pt>
                <c:pt idx="792">
                  <c:v>4.5931754743703114E-20</c:v>
                </c:pt>
                <c:pt idx="793">
                  <c:v>4.1169071274309836E-20</c:v>
                </c:pt>
                <c:pt idx="794">
                  <c:v>3.6900025414202601E-20</c:v>
                </c:pt>
                <c:pt idx="795">
                  <c:v>3.3073476726299788E-20</c:v>
                </c:pt>
                <c:pt idx="796">
                  <c:v>2.9643580190714659E-20</c:v>
                </c:pt>
                <c:pt idx="797">
                  <c:v>2.6569238189909474E-20</c:v>
                </c:pt>
                <c:pt idx="798">
                  <c:v>2.3813609167830264E-20</c:v>
                </c:pt>
                <c:pt idx="799">
                  <c:v>2.1343667117355807E-20</c:v>
                </c:pt>
                <c:pt idx="800">
                  <c:v>1.912980662958616E-20</c:v>
                </c:pt>
              </c:numCache>
            </c:numRef>
          </c:yVal>
          <c:smooth val="0"/>
          <c:extLst>
            <c:ext xmlns:c16="http://schemas.microsoft.com/office/drawing/2014/chart" uri="{C3380CC4-5D6E-409C-BE32-E72D297353CC}">
              <c16:uniqueId val="{00000007-1D62-4DE3-8E9D-34C68BC76380}"/>
            </c:ext>
          </c:extLst>
        </c:ser>
        <c:ser>
          <c:idx val="8"/>
          <c:order val="8"/>
          <c:tx>
            <c:strRef>
              <c:f>Calc!$L$6</c:f>
              <c:strCache>
                <c:ptCount val="1"/>
                <c:pt idx="0">
                  <c:v>9</c:v>
                </c:pt>
              </c:strCache>
            </c:strRef>
          </c:tx>
          <c:spPr>
            <a:ln w="28575">
              <a:noFill/>
            </a:ln>
          </c:spPr>
          <c:marker>
            <c:symbol val="dash"/>
            <c:size val="3"/>
            <c:spPr>
              <a:noFill/>
              <a:ln>
                <a:solidFill>
                  <a:srgbClr val="00CC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L$7:$L$807</c:f>
              <c:numCache>
                <c:formatCode>000,000,000</c:formatCode>
                <c:ptCount val="801"/>
                <c:pt idx="0">
                  <c:v>7.9244176124624515E-14</c:v>
                </c:pt>
                <c:pt idx="1">
                  <c:v>8.6006931842604302E-14</c:v>
                </c:pt>
                <c:pt idx="2">
                  <c:v>9.3346290847283401E-14</c:v>
                </c:pt>
                <c:pt idx="3">
                  <c:v>1.0131136219251432E-13</c:v>
                </c:pt>
                <c:pt idx="4">
                  <c:v>1.0995543226130228E-13</c:v>
                </c:pt>
                <c:pt idx="5">
                  <c:v>1.1933631957513886E-13</c:v>
                </c:pt>
                <c:pt idx="6">
                  <c:v>1.2951675968754405E-13</c:v>
                </c:pt>
                <c:pt idx="7">
                  <c:v>1.4056482270742442E-13</c:v>
                </c:pt>
                <c:pt idx="8">
                  <c:v>1.5255436621276222E-13</c:v>
                </c:pt>
                <c:pt idx="9">
                  <c:v>1.6556552654809933E-13</c:v>
                </c:pt>
                <c:pt idx="10">
                  <c:v>1.7968525175184767E-13</c:v>
                </c:pt>
                <c:pt idx="11">
                  <c:v>1.9500787963328714E-13</c:v>
                </c:pt>
                <c:pt idx="12">
                  <c:v>2.1163576481595377E-13</c:v>
                </c:pt>
                <c:pt idx="13">
                  <c:v>2.2967995888589913E-13</c:v>
                </c:pt>
                <c:pt idx="14">
                  <c:v>2.492609481321995E-13</c:v>
                </c:pt>
                <c:pt idx="15">
                  <c:v>2.7050945374520225E-13</c:v>
                </c:pt>
                <c:pt idx="16">
                  <c:v>2.9356729974796259E-13</c:v>
                </c:pt>
                <c:pt idx="17">
                  <c:v>3.1858835438068725E-13</c:v>
                </c:pt>
                <c:pt idx="18">
                  <c:v>3.4573955113958487E-13</c:v>
                </c:pt>
                <c:pt idx="19">
                  <c:v>3.7520199619375209E-13</c:v>
                </c:pt>
                <c:pt idx="20">
                  <c:v>4.0717216946942758E-13</c:v>
                </c:pt>
                <c:pt idx="21">
                  <c:v>4.4186322730446318E-13</c:v>
                </c:pt>
                <c:pt idx="22">
                  <c:v>4.7950641524053105E-13</c:v>
                </c:pt>
                <c:pt idx="23">
                  <c:v>5.2035260024111455E-13</c:v>
                </c:pt>
                <c:pt idx="24">
                  <c:v>5.646739324042015E-13</c:v>
                </c:pt>
                <c:pt idx="25">
                  <c:v>6.1276564708492165E-13</c:v>
                </c:pt>
                <c:pt idx="26">
                  <c:v>6.6494801926034881E-13</c:v>
                </c:pt>
                <c:pt idx="27">
                  <c:v>7.2156848296285311E-13</c:v>
                </c:pt>
                <c:pt idx="28">
                  <c:v>7.8300392968516547E-13</c:v>
                </c:pt>
                <c:pt idx="29">
                  <c:v>8.4966320082773674E-13</c:v>
                </c:pt>
                <c:pt idx="30">
                  <c:v>9.219897905235413E-13</c:v>
                </c:pt>
                <c:pt idx="31">
                  <c:v>1.0004647765460713E-12</c:v>
                </c:pt>
                <c:pt idx="32">
                  <c:v>1.0856099984910879E-12</c:v>
                </c:pt>
                <c:pt idx="33">
                  <c:v>1.1779915040318903E-12</c:v>
                </c:pt>
                <c:pt idx="34">
                  <c:v>1.2782232857909044E-12</c:v>
                </c:pt>
                <c:pt idx="35">
                  <c:v>1.3869713332595087E-12</c:v>
                </c:pt>
                <c:pt idx="36">
                  <c:v>1.5049580262441091E-12</c:v>
                </c:pt>
                <c:pt idx="37">
                  <c:v>1.6329668985335771E-12</c:v>
                </c:pt>
                <c:pt idx="38">
                  <c:v>1.7718478028849951E-12</c:v>
                </c:pt>
                <c:pt idx="39">
                  <c:v>1.9225225110264807E-12</c:v>
                </c:pt>
                <c:pt idx="40">
                  <c:v>2.0859907851942742E-12</c:v>
                </c:pt>
                <c:pt idx="41">
                  <c:v>2.2633369607749352E-12</c:v>
                </c:pt>
                <c:pt idx="42">
                  <c:v>2.4557370829298491E-12</c:v>
                </c:pt>
                <c:pt idx="43">
                  <c:v>2.6644666436627027E-12</c:v>
                </c:pt>
                <c:pt idx="44">
                  <c:v>2.8909089696692063E-12</c:v>
                </c:pt>
                <c:pt idx="45">
                  <c:v>3.1365643155122911E-12</c:v>
                </c:pt>
                <c:pt idx="46">
                  <c:v>3.4030597212159129E-12</c:v>
                </c:pt>
                <c:pt idx="47">
                  <c:v>3.6921596983013395E-12</c:v>
                </c:pt>
                <c:pt idx="48">
                  <c:v>4.0057778136265904E-12</c:v>
                </c:pt>
                <c:pt idx="49">
                  <c:v>4.345989246171643E-12</c:v>
                </c:pt>
                <c:pt idx="50">
                  <c:v>4.7150443981715526E-12</c:v>
                </c:pt>
                <c:pt idx="51">
                  <c:v>5.1153836487777987E-12</c:v>
                </c:pt>
                <c:pt idx="52">
                  <c:v>5.5496533457692941E-12</c:v>
                </c:pt>
                <c:pt idx="53">
                  <c:v>6.0207231387795773E-12</c:v>
                </c:pt>
                <c:pt idx="54">
                  <c:v>6.5317047661134606E-12</c:v>
                </c:pt>
                <c:pt idx="55">
                  <c:v>7.085972416539905E-12</c:v>
                </c:pt>
                <c:pt idx="56">
                  <c:v>7.6871847975347965E-12</c:v>
                </c:pt>
                <c:pt idx="57">
                  <c:v>8.3393090523640909E-12</c:v>
                </c:pt>
                <c:pt idx="58">
                  <c:v>9.0466466802164798E-12</c:v>
                </c:pt>
                <c:pt idx="59">
                  <c:v>9.8138616263898315E-12</c:v>
                </c:pt>
                <c:pt idx="60">
                  <c:v>1.0646010723379809E-11</c:v>
                </c:pt>
                <c:pt idx="61">
                  <c:v>1.1548576678712209E-11</c:v>
                </c:pt>
                <c:pt idx="62">
                  <c:v>1.2527503821576539E-11</c:v>
                </c:pt>
                <c:pt idx="63">
                  <c:v>1.3589236837881139E-11</c:v>
                </c:pt>
                <c:pt idx="64">
                  <c:v>1.474076274234281E-11</c:v>
                </c:pt>
                <c:pt idx="65">
                  <c:v>1.5989656356790317E-11</c:v>
                </c:pt>
                <c:pt idx="66">
                  <c:v>1.7344129586103803E-11</c:v>
                </c:pt>
                <c:pt idx="67">
                  <c:v>1.8813084807288839E-11</c:v>
                </c:pt>
                <c:pt idx="68">
                  <c:v>2.0406172713227728E-11</c:v>
                </c:pt>
                <c:pt idx="69">
                  <c:v>2.2133854980833208E-11</c:v>
                </c:pt>
                <c:pt idx="70">
                  <c:v>2.4007472163811825E-11</c:v>
                </c:pt>
                <c:pt idx="71">
                  <c:v>2.6039317243231352E-11</c:v>
                </c:pt>
                <c:pt idx="72">
                  <c:v>2.824271530475448E-11</c:v>
                </c:pt>
                <c:pt idx="73">
                  <c:v>3.0632109849997347E-11</c:v>
                </c:pt>
                <c:pt idx="74">
                  <c:v>3.3223156291203954E-11</c:v>
                </c:pt>
                <c:pt idx="75">
                  <c:v>3.6032823223574504E-11</c:v>
                </c:pt>
                <c:pt idx="76">
                  <c:v>3.90795021183971E-11</c:v>
                </c:pt>
                <c:pt idx="77">
                  <c:v>4.2383126132936934E-11</c:v>
                </c:pt>
                <c:pt idx="78">
                  <c:v>4.5965298790107919E-11</c:v>
                </c:pt>
                <c:pt idx="79">
                  <c:v>4.9849433342694055E-11</c:v>
                </c:pt>
                <c:pt idx="80">
                  <c:v>5.4060903703607464E-11</c:v>
                </c:pt>
                <c:pt idx="81">
                  <c:v>5.8627207895836441E-11</c:v>
                </c:pt>
                <c:pt idx="82">
                  <c:v>6.3578145053720221E-11</c:v>
                </c:pt>
                <c:pt idx="83">
                  <c:v>6.8946007091504096E-11</c:v>
                </c:pt>
                <c:pt idx="84">
                  <c:v>7.4765786246257809E-11</c:v>
                </c:pt>
                <c:pt idx="85">
                  <c:v>8.107539980073568E-11</c:v>
                </c:pt>
                <c:pt idx="86">
                  <c:v>8.791593339820086E-11</c:v>
                </c:pt>
                <c:pt idx="87">
                  <c:v>9.5331904476257803E-11</c:v>
                </c:pt>
                <c:pt idx="88">
                  <c:v>1.0337154747104059E-10</c:v>
                </c:pt>
                <c:pt idx="89">
                  <c:v>1.1208712257739425E-10</c:v>
                </c:pt>
                <c:pt idx="90">
                  <c:v>1.2153524999577557E-10</c:v>
                </c:pt>
                <c:pt idx="91">
                  <c:v>1.3177727175334044E-10</c:v>
                </c:pt>
                <c:pt idx="92">
                  <c:v>1.4287964335599311E-10</c:v>
                </c:pt>
                <c:pt idx="93">
                  <c:v>1.5491435771104643E-10</c:v>
                </c:pt>
                <c:pt idx="94">
                  <c:v>1.6795940395763783E-10</c:v>
                </c:pt>
                <c:pt idx="95">
                  <c:v>1.8209926405534356E-10</c:v>
                </c:pt>
                <c:pt idx="96">
                  <c:v>1.9742545021173759E-10</c:v>
                </c:pt>
                <c:pt idx="97">
                  <c:v>2.1403708647829201E-10</c:v>
                </c:pt>
                <c:pt idx="98">
                  <c:v>2.3204153811251601E-10</c:v>
                </c:pt>
                <c:pt idx="99">
                  <c:v>2.515550925940186E-10</c:v>
                </c:pt>
                <c:pt idx="100">
                  <c:v>2.7270369649497067E-10</c:v>
                </c:pt>
                <c:pt idx="101">
                  <c:v>2.9562375274312692E-10</c:v>
                </c:pt>
                <c:pt idx="102">
                  <c:v>3.2046298317986419E-10</c:v>
                </c:pt>
                <c:pt idx="103">
                  <c:v>3.4738136170887197E-10</c:v>
                </c:pt>
                <c:pt idx="104">
                  <c:v>3.76552123755343E-10</c:v>
                </c:pt>
                <c:pt idx="105">
                  <c:v>4.0816285821310633E-10</c:v>
                </c:pt>
                <c:pt idx="106">
                  <c:v>4.4241668855084439E-10</c:v>
                </c:pt>
                <c:pt idx="107">
                  <c:v>4.7953355028097991E-10</c:v>
                </c:pt>
                <c:pt idx="108">
                  <c:v>5.1975157256893725E-10</c:v>
                </c:pt>
                <c:pt idx="109">
                  <c:v>5.6332857237985487E-10</c:v>
                </c:pt>
                <c:pt idx="110">
                  <c:v>6.105436702272762E-10</c:v>
                </c:pt>
                <c:pt idx="111">
                  <c:v>6.6169903730812833E-10</c:v>
                </c:pt>
                <c:pt idx="112">
                  <c:v>7.1712178458412336E-10</c:v>
                </c:pt>
                <c:pt idx="113">
                  <c:v>7.7716600520582219E-10</c:v>
                </c:pt>
                <c:pt idx="114">
                  <c:v>8.4221498257663585E-10</c:v>
                </c:pt>
                <c:pt idx="115">
                  <c:v>9.1268357732504092E-10</c:v>
                </c:pt>
                <c:pt idx="116">
                  <c:v>9.8902080749905318E-10</c:v>
                </c:pt>
                <c:pt idx="117">
                  <c:v>1.0717126374238409E-9</c:v>
                </c:pt>
                <c:pt idx="118">
                  <c:v>1.161284991876786E-9</c:v>
                </c:pt>
                <c:pt idx="119">
                  <c:v>1.2583070135410811E-9</c:v>
                </c:pt>
                <c:pt idx="120">
                  <c:v>1.3633945831057953E-9</c:v>
                </c:pt>
                <c:pt idx="121">
                  <c:v>1.4772141228952002E-9</c:v>
                </c:pt>
                <c:pt idx="122">
                  <c:v>1.6004867065402411E-9</c:v>
                </c:pt>
                <c:pt idx="123">
                  <c:v>1.7339924989596633E-9</c:v>
                </c:pt>
                <c:pt idx="124">
                  <c:v>1.8785755528062199E-9</c:v>
                </c:pt>
                <c:pt idx="125">
                  <c:v>2.0351489895641017E-9</c:v>
                </c:pt>
                <c:pt idx="126">
                  <c:v>2.2047005956685277E-9</c:v>
                </c:pt>
                <c:pt idx="127">
                  <c:v>2.3882988663679126E-9</c:v>
                </c:pt>
                <c:pt idx="128">
                  <c:v>2.5870995325747391E-9</c:v>
                </c:pt>
                <c:pt idx="129">
                  <c:v>2.8023526086673167E-9</c:v>
                </c:pt>
                <c:pt idx="130">
                  <c:v>3.0354100021232547E-9</c:v>
                </c:pt>
                <c:pt idx="131">
                  <c:v>3.2877337290022056E-9</c:v>
                </c:pt>
                <c:pt idx="132">
                  <c:v>3.5609047826654665E-9</c:v>
                </c:pt>
                <c:pt idx="133">
                  <c:v>3.8566327067396416E-9</c:v>
                </c:pt>
                <c:pt idx="134">
                  <c:v>4.1767659272197079E-9</c:v>
                </c:pt>
                <c:pt idx="135">
                  <c:v>4.5233029027803261E-9</c:v>
                </c:pt>
                <c:pt idx="136">
                  <c:v>4.8984041568453307E-9</c:v>
                </c:pt>
                <c:pt idx="137">
                  <c:v>5.3044052597744831E-9</c:v>
                </c:pt>
                <c:pt idx="138">
                  <c:v>5.7438308346851603E-9</c:v>
                </c:pt>
                <c:pt idx="139">
                  <c:v>6.2194096659626064E-9</c:v>
                </c:pt>
                <c:pt idx="140">
                  <c:v>6.7340909954478226E-9</c:v>
                </c:pt>
                <c:pt idx="141">
                  <c:v>7.2910620976551263E-9</c:v>
                </c:pt>
                <c:pt idx="142">
                  <c:v>7.8937672321946847E-9</c:v>
                </c:pt>
                <c:pt idx="143">
                  <c:v>8.5459280788830429E-9</c:v>
                </c:pt>
                <c:pt idx="144">
                  <c:v>9.2515657688578209E-9</c:v>
                </c:pt>
                <c:pt idx="145">
                  <c:v>1.0015024633396934E-8</c:v>
                </c:pt>
                <c:pt idx="146">
                  <c:v>1.0840997801125072E-8</c:v>
                </c:pt>
                <c:pt idx="147">
                  <c:v>1.1734554783898282E-8</c:v>
                </c:pt>
                <c:pt idx="148">
                  <c:v>1.2701171201944535E-8</c:v>
                </c:pt>
                <c:pt idx="149">
                  <c:v>1.3746760809837257E-8</c:v>
                </c:pt>
                <c:pt idx="150">
                  <c:v>1.4877709996641117E-8</c:v>
                </c:pt>
                <c:pt idx="151">
                  <c:v>1.6100914946147808E-8</c:v>
                </c:pt>
                <c:pt idx="152">
                  <c:v>1.7423821656550808E-8</c:v>
                </c:pt>
                <c:pt idx="153">
                  <c:v>1.8854469033268075E-8</c:v>
                </c:pt>
                <c:pt idx="154">
                  <c:v>2.0401535283942491E-8</c:v>
                </c:pt>
                <c:pt idx="155">
                  <c:v>2.2074387861015847E-8</c:v>
                </c:pt>
                <c:pt idx="156">
                  <c:v>2.3883137214722035E-8</c:v>
                </c:pt>
                <c:pt idx="157">
                  <c:v>2.5838694637967467E-8</c:v>
                </c:pt>
                <c:pt idx="158">
                  <c:v>2.7952834504415279E-8</c:v>
                </c:pt>
                <c:pt idx="159">
                  <c:v>3.0238261222235223E-8</c:v>
                </c:pt>
                <c:pt idx="160">
                  <c:v>3.2708681248519949E-8</c:v>
                </c:pt>
                <c:pt idx="161">
                  <c:v>3.5378880533348447E-8</c:v>
                </c:pt>
                <c:pt idx="162">
                  <c:v>3.8264807788007258E-8</c:v>
                </c:pt>
                <c:pt idx="163">
                  <c:v>4.1383663999027223E-8</c:v>
                </c:pt>
                <c:pt idx="164">
                  <c:v>4.4753998638563744E-8</c:v>
                </c:pt>
                <c:pt idx="165">
                  <c:v>4.8395813052310613E-8</c:v>
                </c:pt>
                <c:pt idx="166">
                  <c:v>5.2330671538711106E-8</c:v>
                </c:pt>
                <c:pt idx="167">
                  <c:v>5.6581820667792503E-8</c:v>
                </c:pt>
                <c:pt idx="168">
                  <c:v>6.1174317424621482E-8</c:v>
                </c:pt>
                <c:pt idx="169">
                  <c:v>6.6135166801242197E-8</c:v>
                </c:pt>
                <c:pt idx="170">
                  <c:v>7.1493469502132537E-8</c:v>
                </c:pt>
                <c:pt idx="171">
                  <c:v>7.7280580471814597E-8</c:v>
                </c:pt>
                <c:pt idx="172">
                  <c:v>8.3530278999366579E-8</c:v>
                </c:pt>
                <c:pt idx="173">
                  <c:v>9.0278951203342255E-8</c:v>
                </c:pt>
                <c:pt idx="174">
                  <c:v>9.7565785752118395E-8</c:v>
                </c:pt>
                <c:pt idx="175">
                  <c:v>1.0543298372904285E-7</c:v>
                </c:pt>
                <c:pt idx="176">
                  <c:v>1.139259836091173E-7</c:v>
                </c:pt>
                <c:pt idx="177">
                  <c:v>1.2309370237435898E-7</c:v>
                </c:pt>
                <c:pt idx="178">
                  <c:v>1.329887938586317E-7</c:v>
                </c:pt>
                <c:pt idx="179">
                  <c:v>1.4366792547962476E-7</c:v>
                </c:pt>
                <c:pt idx="180">
                  <c:v>1.5519207458601981E-7</c:v>
                </c:pt>
                <c:pt idx="181">
                  <c:v>1.6762684572167648E-7</c:v>
                </c:pt>
                <c:pt idx="182">
                  <c:v>1.8104281018609254E-7</c:v>
                </c:pt>
                <c:pt idx="183">
                  <c:v>1.9551586935147515E-7</c:v>
                </c:pt>
                <c:pt idx="184">
                  <c:v>2.1112764328155951E-7</c:v>
                </c:pt>
                <c:pt idx="185">
                  <c:v>2.2796588628593733E-7</c:v>
                </c:pt>
                <c:pt idx="186">
                  <c:v>2.4612493113611346E-7</c:v>
                </c:pt>
                <c:pt idx="187">
                  <c:v>2.6570616376582135E-7</c:v>
                </c:pt>
                <c:pt idx="188">
                  <c:v>2.8681853037833509E-7</c:v>
                </c:pt>
                <c:pt idx="189">
                  <c:v>3.0957907898757116E-7</c:v>
                </c:pt>
                <c:pt idx="190">
                  <c:v>3.3411353752764333E-7</c:v>
                </c:pt>
                <c:pt idx="191">
                  <c:v>3.6055693077717748E-7</c:v>
                </c:pt>
                <c:pt idx="192">
                  <c:v>3.890542384599377E-7</c:v>
                </c:pt>
                <c:pt idx="193">
                  <c:v>4.1976109700210022E-7</c:v>
                </c:pt>
                <c:pt idx="194">
                  <c:v>4.5284454754861938E-7</c:v>
                </c:pt>
                <c:pt idx="195">
                  <c:v>4.8848383296624412E-7</c:v>
                </c:pt>
                <c:pt idx="196">
                  <c:v>5.2687124668882654E-7</c:v>
                </c:pt>
                <c:pt idx="197">
                  <c:v>5.6821303639088472E-7</c:v>
                </c:pt>
                <c:pt idx="198">
                  <c:v>6.12730365607974E-7</c:v>
                </c:pt>
                <c:pt idx="199">
                  <c:v>6.6066033655643467E-7</c:v>
                </c:pt>
                <c:pt idx="200">
                  <c:v>7.1225707754015967E-7</c:v>
                </c:pt>
                <c:pt idx="201">
                  <c:v>7.6779289846753852E-7</c:v>
                </c:pt>
                <c:pt idx="202">
                  <c:v>8.2755951813669537E-7</c:v>
                </c:pt>
                <c:pt idx="203">
                  <c:v>8.9186936708114092E-7</c:v>
                </c:pt>
                <c:pt idx="204">
                  <c:v>9.6105696989956876E-7</c:v>
                </c:pt>
                <c:pt idx="205">
                  <c:v>1.0354804111219381E-6</c:v>
                </c:pt>
                <c:pt idx="206">
                  <c:v>1.1155228887880438E-6</c:v>
                </c:pt>
                <c:pt idx="207">
                  <c:v>1.2015943600328695E-6</c:v>
                </c:pt>
                <c:pt idx="208">
                  <c:v>1.2941332830838187E-6</c:v>
                </c:pt>
                <c:pt idx="209">
                  <c:v>1.3936084601767242E-6</c:v>
                </c:pt>
                <c:pt idx="210">
                  <c:v>1.5005209859884397E-6</c:v>
                </c:pt>
                <c:pt idx="211">
                  <c:v>1.6154063062618245E-6</c:v>
                </c:pt>
                <c:pt idx="212">
                  <c:v>1.7388363913616343E-6</c:v>
                </c:pt>
                <c:pt idx="213">
                  <c:v>1.871422029545029E-6</c:v>
                </c:pt>
                <c:pt idx="214">
                  <c:v>2.013815244755048E-6</c:v>
                </c:pt>
                <c:pt idx="215">
                  <c:v>2.16671184374706E-6</c:v>
                </c:pt>
                <c:pt idx="216">
                  <c:v>2.3308540973326186E-6</c:v>
                </c:pt>
                <c:pt idx="217">
                  <c:v>2.5070335604706294E-6</c:v>
                </c:pt>
                <c:pt idx="218">
                  <c:v>2.6960940358461647E-6</c:v>
                </c:pt>
                <c:pt idx="219">
                  <c:v>2.8989346854512126E-6</c:v>
                </c:pt>
                <c:pt idx="220">
                  <c:v>3.1165132945120046E-6</c:v>
                </c:pt>
                <c:pt idx="221">
                  <c:v>3.3498496918924098E-6</c:v>
                </c:pt>
                <c:pt idx="222">
                  <c:v>3.6000293308348456E-6</c:v>
                </c:pt>
                <c:pt idx="223">
                  <c:v>3.868207033575265E-6</c:v>
                </c:pt>
                <c:pt idx="224">
                  <c:v>4.1556109029814194E-6</c:v>
                </c:pt>
                <c:pt idx="225">
                  <c:v>4.4635464039066789E-6</c:v>
                </c:pt>
                <c:pt idx="226">
                  <c:v>4.7934006164200659E-6</c:v>
                </c:pt>
                <c:pt idx="227">
                  <c:v>5.1466466624598204E-6</c:v>
                </c:pt>
                <c:pt idx="228">
                  <c:v>5.5248483067549034E-6</c:v>
                </c:pt>
                <c:pt idx="229">
                  <c:v>5.9296647320612461E-6</c:v>
                </c:pt>
                <c:pt idx="230">
                  <c:v>6.3628554878561331E-6</c:v>
                </c:pt>
                <c:pt idx="231">
                  <c:v>6.8262856106221019E-6</c:v>
                </c:pt>
                <c:pt idx="232">
                  <c:v>7.3219309127169944E-6</c:v>
                </c:pt>
                <c:pt idx="233">
                  <c:v>7.8518834355669576E-6</c:v>
                </c:pt>
                <c:pt idx="234">
                  <c:v>8.418357061521351E-6</c:v>
                </c:pt>
                <c:pt idx="235">
                  <c:v>9.0236932771671227E-6</c:v>
                </c:pt>
                <c:pt idx="236">
                  <c:v>9.6703670792046291E-6</c:v>
                </c:pt>
                <c:pt idx="237">
                  <c:v>1.0360993012131001E-5</c:v>
                </c:pt>
                <c:pt idx="238">
                  <c:v>1.1098331324949553E-5</c:v>
                </c:pt>
                <c:pt idx="239">
                  <c:v>1.1885294231920397E-5</c:v>
                </c:pt>
                <c:pt idx="240">
                  <c:v>1.2724952259975784E-5</c:v>
                </c:pt>
                <c:pt idx="241">
                  <c:v>1.3620540662842689E-5</c:v>
                </c:pt>
                <c:pt idx="242">
                  <c:v>1.4575465879130208E-5</c:v>
                </c:pt>
                <c:pt idx="243">
                  <c:v>1.5593312008654855E-5</c:v>
                </c:pt>
                <c:pt idx="244">
                  <c:v>1.6677847278076556E-5</c:v>
                </c:pt>
                <c:pt idx="245">
                  <c:v>1.7833030463510617E-5</c:v>
                </c:pt>
                <c:pt idx="246">
                  <c:v>1.9063017234151853E-5</c:v>
                </c:pt>
                <c:pt idx="247">
                  <c:v>2.0372166377107601E-5</c:v>
                </c:pt>
                <c:pt idx="248">
                  <c:v>2.1765045859577589E-5</c:v>
                </c:pt>
                <c:pt idx="249">
                  <c:v>2.3246438680251776E-5</c:v>
                </c:pt>
                <c:pt idx="250">
                  <c:v>2.4821348457325218E-5</c:v>
                </c:pt>
                <c:pt idx="251">
                  <c:v>2.6495004695857638E-5</c:v>
                </c:pt>
                <c:pt idx="252">
                  <c:v>2.8272867672355998E-5</c:v>
                </c:pt>
                <c:pt idx="253">
                  <c:v>3.0160632869430167E-5</c:v>
                </c:pt>
                <c:pt idx="254">
                  <c:v>3.2164234888208444E-5</c:v>
                </c:pt>
                <c:pt idx="255">
                  <c:v>3.4289850760890051E-5</c:v>
                </c:pt>
                <c:pt idx="256">
                  <c:v>3.6543902580425281E-5</c:v>
                </c:pt>
                <c:pt idx="257">
                  <c:v>3.893305935884421E-5</c:v>
                </c:pt>
                <c:pt idx="258">
                  <c:v>4.1464238020265445E-5</c:v>
                </c:pt>
                <c:pt idx="259">
                  <c:v>4.4144603429142567E-5</c:v>
                </c:pt>
                <c:pt idx="260">
                  <c:v>4.698156734889649E-5</c:v>
                </c:pt>
                <c:pt idx="261">
                  <c:v>4.9982786220793327E-5</c:v>
                </c:pt>
                <c:pt idx="262">
                  <c:v>5.315615764782553E-5</c:v>
                </c:pt>
                <c:pt idx="263">
                  <c:v>5.6509815463507217E-5</c:v>
                </c:pt>
                <c:pt idx="264">
                  <c:v>6.0052123260972122E-5</c:v>
                </c:pt>
                <c:pt idx="265">
                  <c:v>6.3791666253666928E-5</c:v>
                </c:pt>
                <c:pt idx="266">
                  <c:v>6.7737241335333491E-5</c:v>
                </c:pt>
                <c:pt idx="267">
                  <c:v>7.1897845203989323E-5</c:v>
                </c:pt>
                <c:pt idx="268">
                  <c:v>7.6282660412334044E-5</c:v>
                </c:pt>
                <c:pt idx="269">
                  <c:v>8.0901039205560446E-5</c:v>
                </c:pt>
                <c:pt idx="270">
                  <c:v>8.5762485007054561E-5</c:v>
                </c:pt>
                <c:pt idx="271">
                  <c:v>9.0876631413021276E-5</c:v>
                </c:pt>
                <c:pt idx="272">
                  <c:v>9.6253218558870127E-5</c:v>
                </c:pt>
                <c:pt idx="273">
                  <c:v>1.0190206672328642E-4</c:v>
                </c:pt>
                <c:pt idx="274">
                  <c:v>1.0783304704054713E-4</c:v>
                </c:pt>
                <c:pt idx="275">
                  <c:v>1.1405604919784054E-4</c:v>
                </c:pt>
                <c:pt idx="276">
                  <c:v>1.2058094600237961E-4</c:v>
                </c:pt>
                <c:pt idx="277">
                  <c:v>1.274175547129992E-4</c:v>
                </c:pt>
                <c:pt idx="278">
                  <c:v>1.3457559504292312E-4</c:v>
                </c:pt>
                <c:pt idx="279">
                  <c:v>1.4206464375456001E-4</c:v>
                </c:pt>
                <c:pt idx="280">
                  <c:v>1.4989408578370287E-4</c:v>
                </c:pt>
                <c:pt idx="281">
                  <c:v>1.5807306184945265E-4</c:v>
                </c:pt>
                <c:pt idx="282">
                  <c:v>1.6661041252772393E-4</c:v>
                </c:pt>
                <c:pt idx="283">
                  <c:v>1.7551461879033501E-4</c:v>
                </c:pt>
                <c:pt idx="284">
                  <c:v>1.8479373903860981E-4</c:v>
                </c:pt>
                <c:pt idx="285">
                  <c:v>1.9445534269005269E-4</c:v>
                </c:pt>
                <c:pt idx="286">
                  <c:v>2.0450644040915082E-4</c:v>
                </c:pt>
                <c:pt idx="287">
                  <c:v>2.1495341110862629E-4</c:v>
                </c:pt>
                <c:pt idx="288">
                  <c:v>2.258019258854295E-4</c:v>
                </c:pt>
                <c:pt idx="289">
                  <c:v>2.3705686909650866E-4</c:v>
                </c:pt>
                <c:pt idx="290">
                  <c:v>2.4872225682257075E-4</c:v>
                </c:pt>
                <c:pt idx="291">
                  <c:v>2.6080115301367157E-4</c:v>
                </c:pt>
                <c:pt idx="292">
                  <c:v>2.7329558365824641E-4</c:v>
                </c:pt>
                <c:pt idx="293">
                  <c:v>2.8620644936681362E-4</c:v>
                </c:pt>
                <c:pt idx="294">
                  <c:v>2.9953343681278201E-4</c:v>
                </c:pt>
                <c:pt idx="295">
                  <c:v>3.1327492952512999E-4</c:v>
                </c:pt>
                <c:pt idx="296">
                  <c:v>3.274279185807878E-4</c:v>
                </c:pt>
                <c:pt idx="297">
                  <c:v>3.4198791379773255E-4</c:v>
                </c:pt>
                <c:pt idx="298">
                  <c:v>3.569488560826761E-4</c:v>
                </c:pt>
                <c:pt idx="299">
                  <c:v>3.7230303163897962E-4</c:v>
                </c:pt>
                <c:pt idx="300">
                  <c:v>3.8804098879045889E-4</c:v>
                </c:pt>
                <c:pt idx="301">
                  <c:v>4.0415145822426295E-4</c:v>
                </c:pt>
                <c:pt idx="302">
                  <c:v>4.2062127750017229E-4</c:v>
                </c:pt>
                <c:pt idx="303">
                  <c:v>4.3743532071368392E-4</c:v>
                </c:pt>
                <c:pt idx="304">
                  <c:v>4.5457643423507828E-4</c:v>
                </c:pt>
                <c:pt idx="305">
                  <c:v>4.7202537947554245E-4</c:v>
                </c:pt>
                <c:pt idx="306">
                  <c:v>4.897607836532495E-4</c:v>
                </c:pt>
                <c:pt idx="307">
                  <c:v>5.0775909954617891E-4</c:v>
                </c:pt>
                <c:pt idx="308">
                  <c:v>5.2599457522338705E-4</c:v>
                </c:pt>
                <c:pt idx="309">
                  <c:v>5.4443923474161522E-4</c:v>
                </c:pt>
                <c:pt idx="310">
                  <c:v>5.6306287077837424E-4</c:v>
                </c:pt>
                <c:pt idx="311">
                  <c:v>5.8183305014543384E-4</c:v>
                </c:pt>
                <c:pt idx="312">
                  <c:v>6.0071513308708891E-4</c:v>
                </c:pt>
                <c:pt idx="313">
                  <c:v>6.1967230721482437E-4</c:v>
                </c:pt>
                <c:pt idx="314">
                  <c:v>6.3866563686394988E-4</c:v>
                </c:pt>
                <c:pt idx="315">
                  <c:v>6.5765412857749243E-4</c:v>
                </c:pt>
                <c:pt idx="316">
                  <c:v>6.7659481332833457E-4</c:v>
                </c:pt>
                <c:pt idx="317">
                  <c:v>6.9544284598192687E-4</c:v>
                </c:pt>
                <c:pt idx="318">
                  <c:v>7.1415162237906864E-4</c:v>
                </c:pt>
                <c:pt idx="319">
                  <c:v>7.3267291428176485E-4</c:v>
                </c:pt>
                <c:pt idx="320">
                  <c:v>7.5095702227535757E-4</c:v>
                </c:pt>
                <c:pt idx="321">
                  <c:v>7.689529465581018E-4</c:v>
                </c:pt>
                <c:pt idx="322">
                  <c:v>7.8660857537590334E-4</c:v>
                </c:pt>
                <c:pt idx="323">
                  <c:v>8.0387089067677857E-4</c:v>
                </c:pt>
                <c:pt idx="324">
                  <c:v>8.206861903679568E-4</c:v>
                </c:pt>
                <c:pt idx="325">
                  <c:v>8.3700032636056538E-4</c:v>
                </c:pt>
                <c:pt idx="326">
                  <c:v>8.5275895738452995E-4</c:v>
                </c:pt>
                <c:pt idx="327">
                  <c:v>8.6790781535202267E-4</c:v>
                </c:pt>
                <c:pt idx="328">
                  <c:v>8.8239298384402238E-4</c:v>
                </c:pt>
                <c:pt idx="329">
                  <c:v>8.9616118709411746E-4</c:v>
                </c:pt>
                <c:pt idx="330">
                  <c:v>9.0916008764957662E-4</c:v>
                </c:pt>
                <c:pt idx="331">
                  <c:v>9.2133859070439746E-4</c:v>
                </c:pt>
                <c:pt idx="332">
                  <c:v>9.3264715292658415E-4</c:v>
                </c:pt>
                <c:pt idx="333">
                  <c:v>9.4303809344415247E-4</c:v>
                </c:pt>
                <c:pt idx="334">
                  <c:v>9.5246590451552552E-4</c:v>
                </c:pt>
                <c:pt idx="335">
                  <c:v>9.6088755929219264E-4</c:v>
                </c:pt>
                <c:pt idx="336">
                  <c:v>9.6826281398811585E-4</c:v>
                </c:pt>
                <c:pt idx="337">
                  <c:v>9.7455450170363066E-4</c:v>
                </c:pt>
                <c:pt idx="338">
                  <c:v>9.7972881511421356E-4</c:v>
                </c:pt>
                <c:pt idx="339">
                  <c:v>9.8375557522824546E-4</c:v>
                </c:pt>
                <c:pt idx="340">
                  <c:v>9.8660848344448815E-4</c:v>
                </c:pt>
                <c:pt idx="341">
                  <c:v>9.8826535420093605E-4</c:v>
                </c:pt>
                <c:pt idx="342">
                  <c:v>9.887083256024025E-4</c:v>
                </c:pt>
                <c:pt idx="343">
                  <c:v>9.8792404554500814E-4</c:v>
                </c:pt>
                <c:pt idx="344">
                  <c:v>9.8590383102176377E-4</c:v>
                </c:pt>
                <c:pt idx="345">
                  <c:v>9.8264379849307033E-4</c:v>
                </c:pt>
                <c:pt idx="346">
                  <c:v>9.781449634387472E-4</c:v>
                </c:pt>
                <c:pt idx="347">
                  <c:v>9.7241330747112797E-4</c:v>
                </c:pt>
                <c:pt idx="348">
                  <c:v>9.6545981168019582E-4</c:v>
                </c:pt>
                <c:pt idx="349">
                  <c:v>9.5730045519786726E-4</c:v>
                </c:pt>
                <c:pt idx="350">
                  <c:v>9.4795617830628848E-4</c:v>
                </c:pt>
                <c:pt idx="351">
                  <c:v>9.3745280976977952E-4</c:v>
                </c:pt>
                <c:pt idx="352">
                  <c:v>9.2582095843786547E-4</c:v>
                </c:pt>
                <c:pt idx="353">
                  <c:v>9.1309586954260843E-4</c:v>
                </c:pt>
                <c:pt idx="354">
                  <c:v>8.9931724649186366E-4</c:v>
                </c:pt>
                <c:pt idx="355">
                  <c:v>8.8452903933643233E-4</c:v>
                </c:pt>
                <c:pt idx="356">
                  <c:v>8.6877920145736779E-4</c:v>
                </c:pt>
                <c:pt idx="357">
                  <c:v>8.5211941637505491E-4</c:v>
                </c:pt>
                <c:pt idx="358">
                  <c:v>8.3460479691837652E-4</c:v>
                </c:pt>
                <c:pt idx="359">
                  <c:v>8.1629355930566488E-4</c:v>
                </c:pt>
                <c:pt idx="360">
                  <c:v>7.9724667497416439E-4</c:v>
                </c:pt>
                <c:pt idx="361">
                  <c:v>7.775275032469146E-4</c:v>
                </c:pt>
                <c:pt idx="362">
                  <c:v>7.572014081416253E-4</c:v>
                </c:pt>
                <c:pt idx="363">
                  <c:v>7.3633536280165511E-4</c:v>
                </c:pt>
                <c:pt idx="364">
                  <c:v>7.1499754516181823E-4</c:v>
                </c:pt>
                <c:pt idx="365">
                  <c:v>6.9325692854954439E-4</c:v>
                </c:pt>
                <c:pt idx="366">
                  <c:v>6.7118287096308159E-4</c:v>
                </c:pt>
                <c:pt idx="367">
                  <c:v>6.4884470676284832E-4</c:v>
                </c:pt>
                <c:pt idx="368">
                  <c:v>6.2631134445925187E-4</c:v>
                </c:pt>
                <c:pt idx="369">
                  <c:v>6.0365087418160824E-4</c:v>
                </c:pt>
                <c:pt idx="370">
                  <c:v>5.8093018826957312E-4</c:v>
                </c:pt>
                <c:pt idx="371">
                  <c:v>5.5821461824313466E-4</c:v>
                </c:pt>
                <c:pt idx="372">
                  <c:v>5.3556759118272694E-4</c:v>
                </c:pt>
                <c:pt idx="373">
                  <c:v>5.13050308291097E-4</c:v>
                </c:pt>
                <c:pt idx="374">
                  <c:v>4.9072144811707443E-4</c:v>
                </c:pt>
                <c:pt idx="375">
                  <c:v>4.6863689660356383E-4</c:v>
                </c:pt>
                <c:pt idx="376">
                  <c:v>4.4684950578211522E-4</c:v>
                </c:pt>
                <c:pt idx="377">
                  <c:v>4.2540888258049713E-4</c:v>
                </c:pt>
                <c:pt idx="378">
                  <c:v>4.0436120884252021E-4</c:v>
                </c:pt>
                <c:pt idx="379">
                  <c:v>3.8374909328710261E-4</c:v>
                </c:pt>
                <c:pt idx="380">
                  <c:v>3.6361145576133862E-4</c:v>
                </c:pt>
                <c:pt idx="381">
                  <c:v>3.4398344377581879E-4</c:v>
                </c:pt>
                <c:pt idx="382">
                  <c:v>3.2489638095477199E-4</c:v>
                </c:pt>
                <c:pt idx="383">
                  <c:v>3.0637774669360607E-4</c:v>
                </c:pt>
                <c:pt idx="384">
                  <c:v>2.8845118599672432E-4</c:v>
                </c:pt>
                <c:pt idx="385">
                  <c:v>2.7113654817304602E-4</c:v>
                </c:pt>
                <c:pt idx="386">
                  <c:v>2.5444995279898789E-4</c:v>
                </c:pt>
                <c:pt idx="387">
                  <c:v>2.3840388112181891E-4</c:v>
                </c:pt>
                <c:pt idx="388">
                  <c:v>2.2300729087244348E-4</c:v>
                </c:pt>
                <c:pt idx="389">
                  <c:v>2.0826575228766222E-4</c:v>
                </c:pt>
                <c:pt idx="390">
                  <c:v>1.9418160300879703E-4</c:v>
                </c:pt>
                <c:pt idx="391">
                  <c:v>1.8075411942664943E-4</c:v>
                </c:pt>
                <c:pt idx="392">
                  <c:v>1.6797970198197985E-4</c:v>
                </c:pt>
                <c:pt idx="393">
                  <c:v>1.5585207190517439E-4</c:v>
                </c:pt>
                <c:pt idx="394">
                  <c:v>1.4436247688723325E-4</c:v>
                </c:pt>
                <c:pt idx="395">
                  <c:v>1.3349990321479886E-4</c:v>
                </c:pt>
                <c:pt idx="396">
                  <c:v>1.2325129197236298E-4</c:v>
                </c:pt>
                <c:pt idx="397">
                  <c:v>1.1360175701242543E-4</c:v>
                </c:pt>
                <c:pt idx="398">
                  <c:v>1.0453480251615824E-4</c:v>
                </c:pt>
                <c:pt idx="399">
                  <c:v>9.6032538109956691E-5</c:v>
                </c:pt>
                <c:pt idx="400">
                  <c:v>8.8075889663637492E-5</c:v>
                </c:pt>
                <c:pt idx="401">
                  <c:v>8.0644804070574631E-5</c:v>
                </c:pt>
                <c:pt idx="402">
                  <c:v>7.3718446495211234E-5</c:v>
                </c:pt>
                <c:pt idx="403">
                  <c:v>6.7275388765654687E-5</c:v>
                </c:pt>
                <c:pt idx="404">
                  <c:v>6.1293787785184536E-5</c:v>
                </c:pt>
                <c:pt idx="405">
                  <c:v>5.575155303317053E-5</c:v>
                </c:pt>
                <c:pt idx="406">
                  <c:v>5.0626502420224564E-5</c:v>
                </c:pt>
                <c:pt idx="407">
                  <c:v>4.5896505951588977E-5</c:v>
                </c:pt>
                <c:pt idx="408">
                  <c:v>4.1539616834384518E-5</c:v>
                </c:pt>
                <c:pt idx="409">
                  <c:v>3.7534189836265689E-5</c:v>
                </c:pt>
                <c:pt idx="410">
                  <c:v>3.3858986863415368E-5</c:v>
                </c:pt>
                <c:pt idx="411">
                  <c:v>3.0493269873238541E-5</c:v>
                </c:pt>
                <c:pt idx="412">
                  <c:v>2.7416881370400108E-5</c:v>
                </c:pt>
                <c:pt idx="413">
                  <c:v>2.4610312853225686E-5</c:v>
                </c:pt>
                <c:pt idx="414">
                  <c:v>2.2054761680463818E-5</c:v>
                </c:pt>
                <c:pt idx="415">
                  <c:v>1.9732176915804696E-5</c:v>
                </c:pt>
                <c:pt idx="416">
                  <c:v>1.7625294779480669E-5</c:v>
                </c:pt>
                <c:pt idx="417">
                  <c:v>1.5717664393088203E-5</c:v>
                </c:pt>
                <c:pt idx="418">
                  <c:v>1.3993664546049621E-5</c:v>
                </c:pt>
                <c:pt idx="419">
                  <c:v>1.2438512240650767E-5</c:v>
                </c:pt>
                <c:pt idx="420">
                  <c:v>1.1038263788273585E-5</c:v>
                </c:pt>
                <c:pt idx="421">
                  <c:v>9.7798092333548736E-6</c:v>
                </c:pt>
                <c:pt idx="422">
                  <c:v>8.6508608748836271E-6</c:v>
                </c:pt>
                <c:pt idx="423">
                  <c:v>7.6399366391251152E-6</c:v>
                </c:pt>
                <c:pt idx="424">
                  <c:v>6.7363390329608838E-6</c:v>
                </c:pt>
                <c:pt idx="425">
                  <c:v>5.9301303760227999E-6</c:v>
                </c:pt>
                <c:pt idx="426">
                  <c:v>5.2121049729036506E-6</c:v>
                </c:pt>
                <c:pt idx="427">
                  <c:v>4.5737588453343881E-6</c:v>
                </c:pt>
                <c:pt idx="428">
                  <c:v>4.007257599473614E-6</c:v>
                </c:pt>
                <c:pt idx="429">
                  <c:v>3.505402956407226E-6</c:v>
                </c:pt>
                <c:pt idx="430">
                  <c:v>3.0615984255913223E-6</c:v>
                </c:pt>
                <c:pt idx="431">
                  <c:v>2.6698145521658394E-6</c:v>
                </c:pt>
                <c:pt idx="432">
                  <c:v>2.3245541206080572E-6</c:v>
                </c:pt>
                <c:pt idx="433">
                  <c:v>2.0208176497632412E-6</c:v>
                </c:pt>
                <c:pt idx="434">
                  <c:v>1.7540694684670286E-6</c:v>
                </c:pt>
                <c:pt idx="435">
                  <c:v>1.5202046172388307E-6</c:v>
                </c:pt>
                <c:pt idx="436">
                  <c:v>1.3155167802610833E-6</c:v>
                </c:pt>
                <c:pt idx="437">
                  <c:v>1.1366674133582146E-6</c:v>
                </c:pt>
                <c:pt idx="438">
                  <c:v>9.8065619815760501E-7</c:v>
                </c:pt>
                <c:pt idx="439">
                  <c:v>8.4479292018304222E-7</c:v>
                </c:pt>
                <c:pt idx="440">
                  <c:v>7.2667083935821008E-7</c:v>
                </c:pt>
                <c:pt idx="441">
                  <c:v>6.2414159528333304E-7</c:v>
                </c:pt>
                <c:pt idx="442">
                  <c:v>5.3529166663744918E-7</c:v>
                </c:pt>
                <c:pt idx="443">
                  <c:v>4.5842038405462866E-7</c:v>
                </c:pt>
                <c:pt idx="444">
                  <c:v>3.9201947868977577E-7</c:v>
                </c:pt>
                <c:pt idx="445">
                  <c:v>3.3475413426638696E-7</c:v>
                </c:pt>
                <c:pt idx="446">
                  <c:v>2.8544549850035891E-7</c:v>
                </c:pt>
                <c:pt idx="447">
                  <c:v>2.4305460022216542E-7</c:v>
                </c:pt>
                <c:pt idx="448">
                  <c:v>2.0666761106688596E-7</c:v>
                </c:pt>
                <c:pt idx="449">
                  <c:v>1.7548238505655997E-7</c:v>
                </c:pt>
                <c:pt idx="450">
                  <c:v>1.4879620555144551E-7</c:v>
                </c:pt>
                <c:pt idx="451">
                  <c:v>1.2599466669059183E-7</c:v>
                </c:pt>
                <c:pt idx="452">
                  <c:v>1.0654161537898443E-7</c:v>
                </c:pt>
                <c:pt idx="453">
                  <c:v>8.9970079920505829E-8</c:v>
                </c:pt>
                <c:pt idx="454">
                  <c:v>7.5874112366593601E-8</c:v>
                </c:pt>
                <c:pt idx="455">
                  <c:v>6.3901473386758135E-8</c:v>
                </c:pt>
                <c:pt idx="456">
                  <c:v>5.3747090819890445E-8</c:v>
                </c:pt>
                <c:pt idx="457">
                  <c:v>4.5147225899897573E-8</c:v>
                </c:pt>
                <c:pt idx="458">
                  <c:v>3.7874284345468949E-8</c:v>
                </c:pt>
                <c:pt idx="459">
                  <c:v>3.1732212955685805E-8</c:v>
                </c:pt>
                <c:pt idx="460">
                  <c:v>2.6552425968525068E-8</c:v>
                </c:pt>
                <c:pt idx="461">
                  <c:v>2.2190209138867087E-8</c:v>
                </c:pt>
                <c:pt idx="462">
                  <c:v>1.8521553209408635E-8</c:v>
                </c:pt>
                <c:pt idx="463">
                  <c:v>1.5440372126262788E-8</c:v>
                </c:pt>
                <c:pt idx="464">
                  <c:v>1.2856064945604193E-8</c:v>
                </c:pt>
                <c:pt idx="465">
                  <c:v>1.0691383852473649E-8</c:v>
                </c:pt>
                <c:pt idx="466">
                  <c:v>8.8805740400045456E-9</c:v>
                </c:pt>
                <c:pt idx="467">
                  <c:v>7.3677543564161262E-9</c:v>
                </c:pt>
                <c:pt idx="468">
                  <c:v>6.1055106040035349E-9</c:v>
                </c:pt>
                <c:pt idx="469">
                  <c:v>5.0536761603371035E-9</c:v>
                </c:pt>
                <c:pt idx="470">
                  <c:v>4.1782771828563469E-9</c:v>
                </c:pt>
                <c:pt idx="471">
                  <c:v>3.450622053704813E-9</c:v>
                </c:pt>
                <c:pt idx="472">
                  <c:v>2.8465169248063633E-9</c:v>
                </c:pt>
                <c:pt idx="473">
                  <c:v>2.3455912391169559E-9</c:v>
                </c:pt>
                <c:pt idx="474">
                  <c:v>1.9307189398961024E-9</c:v>
                </c:pt>
                <c:pt idx="475">
                  <c:v>1.5875227443554113E-9</c:v>
                </c:pt>
                <c:pt idx="476">
                  <c:v>1.3039503607933524E-9</c:v>
                </c:pt>
                <c:pt idx="477">
                  <c:v>1.0699128795924571E-9</c:v>
                </c:pt>
                <c:pt idx="478">
                  <c:v>8.7697677886334582E-10</c:v>
                </c:pt>
                <c:pt idx="479">
                  <c:v>7.1810206578797952E-10</c:v>
                </c:pt>
                <c:pt idx="480">
                  <c:v>5.8742003545811348E-10</c:v>
                </c:pt>
                <c:pt idx="481">
                  <c:v>4.8004498057317142E-10</c:v>
                </c:pt>
                <c:pt idx="482">
                  <c:v>3.9191493771677707E-10</c:v>
                </c:pt>
                <c:pt idx="483">
                  <c:v>3.1965721855748038E-10</c:v>
                </c:pt>
                <c:pt idx="484">
                  <c:v>2.604750561583355E-10</c:v>
                </c:pt>
                <c:pt idx="485">
                  <c:v>2.1205220599362187E-10</c:v>
                </c:pt>
                <c:pt idx="486">
                  <c:v>1.7247278601460374E-10</c:v>
                </c:pt>
                <c:pt idx="487">
                  <c:v>1.4015402732880135E-10</c:v>
                </c:pt>
                <c:pt idx="488">
                  <c:v>1.1378994330262193E-10</c:v>
                </c:pt>
                <c:pt idx="489">
                  <c:v>9.2304216124494209E-11</c:v>
                </c:pt>
                <c:pt idx="490">
                  <c:v>7.4810851469557623E-11</c:v>
                </c:pt>
                <c:pt idx="491">
                  <c:v>6.0581368749019373E-11</c:v>
                </c:pt>
                <c:pt idx="492">
                  <c:v>4.9017480866588739E-11</c:v>
                </c:pt>
                <c:pt idx="493">
                  <c:v>3.9628377333158692E-11</c:v>
                </c:pt>
                <c:pt idx="494">
                  <c:v>3.2011861469775628E-11</c:v>
                </c:pt>
                <c:pt idx="495">
                  <c:v>2.5838709322556145E-11</c:v>
                </c:pt>
                <c:pt idx="496">
                  <c:v>2.0839717525742172E-11</c:v>
                </c:pt>
                <c:pt idx="497">
                  <c:v>1.6794992057698239E-11</c:v>
                </c:pt>
                <c:pt idx="498">
                  <c:v>1.3525101722203972E-11</c:v>
                </c:pt>
                <c:pt idx="499">
                  <c:v>1.0883781072761709E-11</c:v>
                </c:pt>
                <c:pt idx="500">
                  <c:v>8.7519189642010383E-12</c:v>
                </c:pt>
                <c:pt idx="501">
                  <c:v>7.0326123379084996E-12</c:v>
                </c:pt>
                <c:pt idx="502">
                  <c:v>5.6471014137702364E-12</c:v>
                </c:pt>
                <c:pt idx="503">
                  <c:v>4.5314331996881954E-12</c:v>
                </c:pt>
                <c:pt idx="504">
                  <c:v>3.633726021555648E-12</c:v>
                </c:pt>
                <c:pt idx="505">
                  <c:v>2.9119293810112424E-12</c:v>
                </c:pt>
                <c:pt idx="506">
                  <c:v>2.3319915142654822E-12</c:v>
                </c:pt>
                <c:pt idx="507">
                  <c:v>1.8663621072328981E-12</c:v>
                </c:pt>
                <c:pt idx="508">
                  <c:v>1.4927701925190151E-12</c:v>
                </c:pt>
                <c:pt idx="509">
                  <c:v>1.1932277141008532E-12</c:v>
                </c:pt>
                <c:pt idx="510">
                  <c:v>9.5321793644622165E-13</c:v>
                </c:pt>
                <c:pt idx="511">
                  <c:v>7.6103508463967421E-13</c:v>
                </c:pt>
                <c:pt idx="512">
                  <c:v>6.0724757432261155E-13</c:v>
                </c:pt>
                <c:pt idx="513">
                  <c:v>4.8426213013610853E-13</c:v>
                </c:pt>
                <c:pt idx="514">
                  <c:v>3.859701715085222E-13</c:v>
                </c:pt>
                <c:pt idx="515">
                  <c:v>3.074612099834107E-13</c:v>
                </c:pt>
                <c:pt idx="516">
                  <c:v>2.4479077427634738E-13</c:v>
                </c:pt>
                <c:pt idx="517">
                  <c:v>1.947926594539421E-13</c:v>
                </c:pt>
                <c:pt idx="518">
                  <c:v>1.5492716984718489E-13</c:v>
                </c:pt>
                <c:pt idx="519">
                  <c:v>1.2315856222114136E-13</c:v>
                </c:pt>
                <c:pt idx="520">
                  <c:v>9.7856155129536871E-14</c:v>
                </c:pt>
                <c:pt idx="521">
                  <c:v>7.7714601131173296E-14</c:v>
                </c:pt>
                <c:pt idx="522">
                  <c:v>6.1689661143649998E-14</c:v>
                </c:pt>
                <c:pt idx="523">
                  <c:v>4.894650819821795E-14</c:v>
                </c:pt>
                <c:pt idx="524">
                  <c:v>3.8818148966353761E-14</c:v>
                </c:pt>
                <c:pt idx="525">
                  <c:v>3.0772008542473097E-14</c:v>
                </c:pt>
                <c:pt idx="526">
                  <c:v>2.4383095955556338E-14</c:v>
                </c:pt>
                <c:pt idx="527">
                  <c:v>1.9312470274212638E-14</c:v>
                </c:pt>
                <c:pt idx="528">
                  <c:v>1.5289972729761765E-14</c:v>
                </c:pt>
                <c:pt idx="529">
                  <c:v>1.2100389487663401E-14</c:v>
                </c:pt>
                <c:pt idx="530">
                  <c:v>9.5723711382971124E-15</c:v>
                </c:pt>
                <c:pt idx="531">
                  <c:v>7.5695656856732483E-15</c:v>
                </c:pt>
                <c:pt idx="532">
                  <c:v>5.983527536858244E-15</c:v>
                </c:pt>
                <c:pt idx="533">
                  <c:v>4.7280504315184467E-15</c:v>
                </c:pt>
                <c:pt idx="534">
                  <c:v>3.7346412302008149E-15</c:v>
                </c:pt>
                <c:pt idx="535">
                  <c:v>2.9489071224442454E-15</c:v>
                </c:pt>
                <c:pt idx="536">
                  <c:v>2.3276736611554374E-15</c:v>
                </c:pt>
                <c:pt idx="537">
                  <c:v>1.8366871423647021E-15</c:v>
                </c:pt>
                <c:pt idx="538">
                  <c:v>1.4487839058765124E-15</c:v>
                </c:pt>
                <c:pt idx="539">
                  <c:v>1.1424324923197633E-15</c:v>
                </c:pt>
                <c:pt idx="540">
                  <c:v>9.0057335756360087E-16</c:v>
                </c:pt>
                <c:pt idx="541">
                  <c:v>7.096959084484753E-16</c:v>
                </c:pt>
                <c:pt idx="542">
                  <c:v>5.5910470565834337E-16</c:v>
                </c:pt>
                <c:pt idx="543">
                  <c:v>4.403363631895368E-16</c:v>
                </c:pt>
                <c:pt idx="544">
                  <c:v>3.4669642971553039E-16</c:v>
                </c:pt>
                <c:pt idx="545">
                  <c:v>2.7289174462164334E-16</c:v>
                </c:pt>
                <c:pt idx="546">
                  <c:v>2.1473872629350398E-16</c:v>
                </c:pt>
                <c:pt idx="547">
                  <c:v>1.6893201849721268E-16</c:v>
                </c:pt>
                <c:pt idx="548">
                  <c:v>1.3286109034403514E-16</c:v>
                </c:pt>
                <c:pt idx="549">
                  <c:v>1.0446491548849469E-16</c:v>
                </c:pt>
                <c:pt idx="550">
                  <c:v>8.2116874629655492E-17</c:v>
                </c:pt>
                <c:pt idx="551">
                  <c:v>6.453363459127255E-17</c:v>
                </c:pt>
                <c:pt idx="552">
                  <c:v>5.0703039450543099E-17</c:v>
                </c:pt>
                <c:pt idx="553">
                  <c:v>3.9827070227496819E-17</c:v>
                </c:pt>
                <c:pt idx="554">
                  <c:v>3.1276742267289276E-17</c:v>
                </c:pt>
                <c:pt idx="555">
                  <c:v>2.4556455833781606E-17</c:v>
                </c:pt>
                <c:pt idx="556">
                  <c:v>1.9275829312511528E-17</c:v>
                </c:pt>
                <c:pt idx="557">
                  <c:v>1.5127452743074103E-17</c:v>
                </c:pt>
                <c:pt idx="558">
                  <c:v>1.1869323681182971E-17</c:v>
                </c:pt>
                <c:pt idx="559">
                  <c:v>9.3109847977616684E-18</c:v>
                </c:pt>
                <c:pt idx="560">
                  <c:v>7.3025868469278724E-18</c:v>
                </c:pt>
                <c:pt idx="561">
                  <c:v>5.7262625872770475E-18</c:v>
                </c:pt>
                <c:pt idx="562">
                  <c:v>4.489325611272518E-18</c:v>
                </c:pt>
                <c:pt idx="563">
                  <c:v>3.5189097431716486E-18</c:v>
                </c:pt>
                <c:pt idx="564">
                  <c:v>2.7577452095384631E-18</c:v>
                </c:pt>
                <c:pt idx="565">
                  <c:v>2.1608315437355711E-18</c:v>
                </c:pt>
                <c:pt idx="566">
                  <c:v>1.6928176338530087E-18</c:v>
                </c:pt>
                <c:pt idx="567">
                  <c:v>1.3259392242011948E-18</c:v>
                </c:pt>
                <c:pt idx="568">
                  <c:v>1.0383957262160066E-18</c:v>
                </c:pt>
                <c:pt idx="569">
                  <c:v>8.1307312507634565E-19</c:v>
                </c:pt>
                <c:pt idx="570">
                  <c:v>6.3653946320174604E-19</c:v>
                </c:pt>
                <c:pt idx="571">
                  <c:v>4.9825493475906198E-19</c:v>
                </c:pt>
                <c:pt idx="572">
                  <c:v>3.8995090294848411E-19</c:v>
                </c:pt>
                <c:pt idx="573">
                  <c:v>3.0514184043714637E-19</c:v>
                </c:pt>
                <c:pt idx="574">
                  <c:v>2.3874183617755658E-19</c:v>
                </c:pt>
                <c:pt idx="575">
                  <c:v>1.8676333888795757E-19</c:v>
                </c:pt>
                <c:pt idx="576">
                  <c:v>1.4608055871337561E-19</c:v>
                </c:pt>
                <c:pt idx="577">
                  <c:v>1.1424369288557891E-19</c:v>
                </c:pt>
                <c:pt idx="578">
                  <c:v>8.9333091019782188E-20</c:v>
                </c:pt>
                <c:pt idx="579">
                  <c:v>6.9844798890397439E-20</c:v>
                </c:pt>
                <c:pt idx="580">
                  <c:v>5.4600748672350698E-20</c:v>
                </c:pt>
                <c:pt idx="581">
                  <c:v>4.2678303364048864E-20</c:v>
                </c:pt>
                <c:pt idx="582">
                  <c:v>3.3354996002094487E-20</c:v>
                </c:pt>
                <c:pt idx="583">
                  <c:v>2.6065195479312843E-20</c:v>
                </c:pt>
                <c:pt idx="584">
                  <c:v>2.0366131657713815E-20</c:v>
                </c:pt>
                <c:pt idx="585">
                  <c:v>1.5911263523387788E-20</c:v>
                </c:pt>
                <c:pt idx="586">
                  <c:v>1.2429407276106171E-20</c:v>
                </c:pt>
                <c:pt idx="587">
                  <c:v>9.7083816245670309E-21</c:v>
                </c:pt>
                <c:pt idx="588">
                  <c:v>7.5821949706234925E-21</c:v>
                </c:pt>
                <c:pt idx="589">
                  <c:v>5.9210092029930305E-21</c:v>
                </c:pt>
                <c:pt idx="590">
                  <c:v>4.6232797538806631E-21</c:v>
                </c:pt>
                <c:pt idx="591">
                  <c:v>3.6096010565666576E-21</c:v>
                </c:pt>
                <c:pt idx="592">
                  <c:v>2.8178881740943617E-21</c:v>
                </c:pt>
                <c:pt idx="593">
                  <c:v>2.199605122260821E-21</c:v>
                </c:pt>
                <c:pt idx="594">
                  <c:v>1.7168129807038624E-21</c:v>
                </c:pt>
                <c:pt idx="595">
                  <c:v>1.33985996554007E-21</c:v>
                </c:pt>
                <c:pt idx="596">
                  <c:v>1.0455741266163639E-21</c:v>
                </c:pt>
                <c:pt idx="597">
                  <c:v>8.1584951096358785E-22</c:v>
                </c:pt>
                <c:pt idx="598">
                  <c:v>6.3654029143792045E-22</c:v>
                </c:pt>
                <c:pt idx="599">
                  <c:v>4.9659590137366135E-22</c:v>
                </c:pt>
                <c:pt idx="600">
                  <c:v>3.8738474578706925E-22</c:v>
                </c:pt>
                <c:pt idx="601">
                  <c:v>3.0216544331611466E-22</c:v>
                </c:pt>
                <c:pt idx="602">
                  <c:v>2.356734702759796E-22</c:v>
                </c:pt>
                <c:pt idx="603">
                  <c:v>1.8379806212442341E-22</c:v>
                </c:pt>
                <c:pt idx="604">
                  <c:v>1.4332969646876341E-22</c:v>
                </c:pt>
                <c:pt idx="605">
                  <c:v>1.1176276347155765E-22</c:v>
                </c:pt>
                <c:pt idx="606">
                  <c:v>8.7141381256932222E-23</c:v>
                </c:pt>
                <c:pt idx="607">
                  <c:v>6.7938937260353937E-23</c:v>
                </c:pt>
                <c:pt idx="608">
                  <c:v>5.2963989369816998E-23</c:v>
                </c:pt>
                <c:pt idx="609">
                  <c:v>4.128676697701804E-23</c:v>
                </c:pt>
                <c:pt idx="610">
                  <c:v>3.218176866981623E-23</c:v>
                </c:pt>
                <c:pt idx="611">
                  <c:v>2.508293622783747E-23</c:v>
                </c:pt>
                <c:pt idx="612">
                  <c:v>1.9548653323974485E-23</c:v>
                </c:pt>
                <c:pt idx="613">
                  <c:v>1.523441847843794E-23</c:v>
                </c:pt>
                <c:pt idx="614">
                  <c:v>1.1871511831151126E-23</c:v>
                </c:pt>
                <c:pt idx="615">
                  <c:v>9.2503427467644461E-24</c:v>
                </c:pt>
                <c:pt idx="616">
                  <c:v>7.2074524890831686E-24</c:v>
                </c:pt>
                <c:pt idx="617">
                  <c:v>5.6153706865200992E-24</c:v>
                </c:pt>
                <c:pt idx="618">
                  <c:v>4.3746997381941796E-24</c:v>
                </c:pt>
                <c:pt idx="619">
                  <c:v>3.4079383856919534E-24</c:v>
                </c:pt>
                <c:pt idx="620">
                  <c:v>2.654662769878696E-24</c:v>
                </c:pt>
                <c:pt idx="621">
                  <c:v>2.0677669531670879E-24</c:v>
                </c:pt>
                <c:pt idx="622">
                  <c:v>1.6105302353315924E-24</c:v>
                </c:pt>
                <c:pt idx="623">
                  <c:v>1.2543296282337498E-24</c:v>
                </c:pt>
                <c:pt idx="624">
                  <c:v>9.7685571116067326E-25</c:v>
                </c:pt>
                <c:pt idx="625">
                  <c:v>7.6072121000402276E-25</c:v>
                </c:pt>
                <c:pt idx="626">
                  <c:v>5.9237594187682877E-25</c:v>
                </c:pt>
                <c:pt idx="627">
                  <c:v>4.6126073601717864E-25</c:v>
                </c:pt>
                <c:pt idx="628">
                  <c:v>3.59147749189169E-25</c:v>
                </c:pt>
                <c:pt idx="629">
                  <c:v>2.7962615127115213E-25</c:v>
                </c:pt>
                <c:pt idx="630">
                  <c:v>2.1770117670767068E-25</c:v>
                </c:pt>
                <c:pt idx="631">
                  <c:v>1.6948157643798845E-25</c:v>
                </c:pt>
                <c:pt idx="632">
                  <c:v>1.3193599739990501E-25</c:v>
                </c:pt>
                <c:pt idx="633">
                  <c:v>1.027031020820755E-25</c:v>
                </c:pt>
                <c:pt idx="634">
                  <c:v>7.9943583876379567E-26</c:v>
                </c:pt>
                <c:pt idx="635">
                  <c:v>6.2224842031679388E-26</c:v>
                </c:pt>
                <c:pt idx="636">
                  <c:v>4.8431114348002902E-26</c:v>
                </c:pt>
                <c:pt idx="637">
                  <c:v>3.7693452446090037E-26</c:v>
                </c:pt>
                <c:pt idx="638">
                  <c:v>2.9335161894457347E-26</c:v>
                </c:pt>
                <c:pt idx="639">
                  <c:v>2.2829294478120069E-26</c:v>
                </c:pt>
                <c:pt idx="640">
                  <c:v>1.7765532364866711E-26</c:v>
                </c:pt>
                <c:pt idx="641">
                  <c:v>1.3824390634318261E-26</c:v>
                </c:pt>
                <c:pt idx="642">
                  <c:v>1.0757122060148632E-26</c:v>
                </c:pt>
                <c:pt idx="643">
                  <c:v>8.3700646382831022E-27</c:v>
                </c:pt>
                <c:pt idx="644">
                  <c:v>6.51245033785082E-27</c:v>
                </c:pt>
                <c:pt idx="645">
                  <c:v>5.0669102313323492E-27</c:v>
                </c:pt>
                <c:pt idx="646">
                  <c:v>3.9420800464681757E-27</c:v>
                </c:pt>
                <c:pt idx="647">
                  <c:v>3.0668418048357897E-27</c:v>
                </c:pt>
                <c:pt idx="648">
                  <c:v>2.3858397882979032E-27</c:v>
                </c:pt>
                <c:pt idx="649">
                  <c:v>1.8559890071463124E-27</c:v>
                </c:pt>
                <c:pt idx="650">
                  <c:v>1.443756628540208E-27</c:v>
                </c:pt>
                <c:pt idx="651">
                  <c:v>1.1230453534857338E-27</c:v>
                </c:pt>
                <c:pt idx="652">
                  <c:v>8.7354554037105108E-28</c:v>
                </c:pt>
                <c:pt idx="653">
                  <c:v>6.7945232941732483E-28</c:v>
                </c:pt>
                <c:pt idx="654">
                  <c:v>5.284669691882192E-28</c:v>
                </c:pt>
                <c:pt idx="655">
                  <c:v>4.1101942116208621E-28</c:v>
                </c:pt>
                <c:pt idx="656">
                  <c:v>3.1966324145884936E-28</c:v>
                </c:pt>
                <c:pt idx="657">
                  <c:v>2.4860458322818925E-28</c:v>
                </c:pt>
                <c:pt idx="658">
                  <c:v>1.9333560915516915E-28</c:v>
                </c:pt>
                <c:pt idx="659">
                  <c:v>1.5034918119378765E-28</c:v>
                </c:pt>
                <c:pt idx="660">
                  <c:v>1.1691681694913524E-28</c:v>
                </c:pt>
                <c:pt idx="661">
                  <c:v>9.0915890907574154E-29</c:v>
                </c:pt>
                <c:pt idx="662">
                  <c:v>7.069516463813102E-29</c:v>
                </c:pt>
                <c:pt idx="663">
                  <c:v>5.4970148432510637E-29</c:v>
                </c:pt>
                <c:pt idx="664">
                  <c:v>4.274167974130489E-29</c:v>
                </c:pt>
                <c:pt idx="665">
                  <c:v>3.3232569674840257E-29</c:v>
                </c:pt>
                <c:pt idx="666">
                  <c:v>2.5838310067365107E-29</c:v>
                </c:pt>
                <c:pt idx="667">
                  <c:v>2.0088722011990101E-29</c:v>
                </c:pt>
                <c:pt idx="668">
                  <c:v>1.5618118341300066E-29</c:v>
                </c:pt>
                <c:pt idx="669">
                  <c:v>1.2142090846252679E-29</c:v>
                </c:pt>
                <c:pt idx="670">
                  <c:v>9.4394520263307075E-30</c:v>
                </c:pt>
                <c:pt idx="671">
                  <c:v>7.3381872884994374E-30</c:v>
                </c:pt>
                <c:pt idx="672">
                  <c:v>5.7045273277097999E-30</c:v>
                </c:pt>
                <c:pt idx="673">
                  <c:v>4.4344479593436551E-30</c:v>
                </c:pt>
                <c:pt idx="674">
                  <c:v>3.4470583999245529E-30</c:v>
                </c:pt>
                <c:pt idx="675">
                  <c:v>2.679458622515127E-30</c:v>
                </c:pt>
                <c:pt idx="676">
                  <c:v>2.0827395033414985E-30</c:v>
                </c:pt>
                <c:pt idx="677">
                  <c:v>1.6188719129730906E-30</c:v>
                </c:pt>
                <c:pt idx="678">
                  <c:v>1.2582872678277984E-30</c:v>
                </c:pt>
                <c:pt idx="679">
                  <c:v>9.7799591170415876E-31</c:v>
                </c:pt>
                <c:pt idx="680">
                  <c:v>7.6012381679597618E-31</c:v>
                </c:pt>
                <c:pt idx="681">
                  <c:v>5.9077463917498872E-31</c:v>
                </c:pt>
                <c:pt idx="682">
                  <c:v>4.5914481546901404E-31</c:v>
                </c:pt>
                <c:pt idx="683">
                  <c:v>3.5683545348573258E-31</c:v>
                </c:pt>
                <c:pt idx="684">
                  <c:v>2.7731726757193537E-31</c:v>
                </c:pt>
                <c:pt idx="685">
                  <c:v>2.1551453167682808E-31</c:v>
                </c:pt>
                <c:pt idx="686">
                  <c:v>1.6748158560174217E-31</c:v>
                </c:pt>
                <c:pt idx="687">
                  <c:v>1.3015131231814532E-31</c:v>
                </c:pt>
                <c:pt idx="688">
                  <c:v>1.0113957966226285E-31</c:v>
                </c:pt>
                <c:pt idx="689">
                  <c:v>7.8593198388463075E-32</c:v>
                </c:pt>
                <c:pt idx="690">
                  <c:v>6.1071716370055842E-32</c:v>
                </c:pt>
                <c:pt idx="691">
                  <c:v>4.7455521343287531E-32</c:v>
                </c:pt>
                <c:pt idx="692">
                  <c:v>3.6874398703921491E-32</c:v>
                </c:pt>
                <c:pt idx="693">
                  <c:v>2.8651992786002762E-32</c:v>
                </c:pt>
                <c:pt idx="694">
                  <c:v>2.2262632515183474E-32</c:v>
                </c:pt>
                <c:pt idx="695">
                  <c:v>1.7297769648975421E-32</c:v>
                </c:pt>
                <c:pt idx="696">
                  <c:v>1.3439890050980565E-32</c:v>
                </c:pt>
                <c:pt idx="697">
                  <c:v>1.0442234512547964E-32</c:v>
                </c:pt>
                <c:pt idx="698">
                  <c:v>8.1130358081666116E-33</c:v>
                </c:pt>
                <c:pt idx="699">
                  <c:v>6.3032664976698967E-33</c:v>
                </c:pt>
                <c:pt idx="700">
                  <c:v>4.8971157805444012E-33</c:v>
                </c:pt>
                <c:pt idx="701">
                  <c:v>3.804587705241795E-33</c:v>
                </c:pt>
                <c:pt idx="702">
                  <c:v>2.9557483165648919E-33</c:v>
                </c:pt>
                <c:pt idx="703">
                  <c:v>2.2962544984994818E-33</c:v>
                </c:pt>
                <c:pt idx="704">
                  <c:v>1.7838790373827277E-33</c:v>
                </c:pt>
                <c:pt idx="705">
                  <c:v>1.3858099958146711E-33</c:v>
                </c:pt>
                <c:pt idx="706">
                  <c:v>1.0765519054836341E-33</c:v>
                </c:pt>
                <c:pt idx="707">
                  <c:v>8.3629470161948826E-34</c:v>
                </c:pt>
                <c:pt idx="708">
                  <c:v>6.4964618450973393E-34</c:v>
                </c:pt>
                <c:pt idx="709">
                  <c:v>5.0464700672582121E-34</c:v>
                </c:pt>
                <c:pt idx="710">
                  <c:v>3.9200522861108704E-34</c:v>
                </c:pt>
                <c:pt idx="711">
                  <c:v>3.0450151031018538E-34</c:v>
                </c:pt>
                <c:pt idx="712">
                  <c:v>2.365269103858685E-34</c:v>
                </c:pt>
                <c:pt idx="713">
                  <c:v>1.8372373479178527E-34</c:v>
                </c:pt>
                <c:pt idx="714">
                  <c:v>1.427064659287041E-34</c:v>
                </c:pt>
                <c:pt idx="715">
                  <c:v>1.1084492043843653E-34</c:v>
                </c:pt>
                <c:pt idx="716">
                  <c:v>8.6095762829313069E-35</c:v>
                </c:pt>
                <c:pt idx="717">
                  <c:v>6.6871593993478512E-35</c:v>
                </c:pt>
                <c:pt idx="718">
                  <c:v>5.1939236759894277E-35</c:v>
                </c:pt>
                <c:pt idx="719">
                  <c:v>4.0340708123937926E-35</c:v>
                </c:pt>
                <c:pt idx="720">
                  <c:v>3.133181915375219E-35</c:v>
                </c:pt>
                <c:pt idx="721">
                  <c:v>2.4334471444959881E-35</c:v>
                </c:pt>
                <c:pt idx="722">
                  <c:v>1.8899595471454665E-35</c:v>
                </c:pt>
                <c:pt idx="723">
                  <c:v>1.4678357291516004E-35</c:v>
                </c:pt>
                <c:pt idx="724">
                  <c:v>1.1399789342166948E-35</c:v>
                </c:pt>
                <c:pt idx="725">
                  <c:v>8.8534123278737965E-36</c:v>
                </c:pt>
                <c:pt idx="726">
                  <c:v>6.8757347999768539E-36</c:v>
                </c:pt>
                <c:pt idx="727">
                  <c:v>5.3397653409785681E-36</c:v>
                </c:pt>
                <c:pt idx="728">
                  <c:v>4.146865226375285E-36</c:v>
                </c:pt>
                <c:pt idx="729">
                  <c:v>3.2204193603817705E-36</c:v>
                </c:pt>
                <c:pt idx="730">
                  <c:v>2.5009197704760955E-36</c:v>
                </c:pt>
                <c:pt idx="731">
                  <c:v>1.9421464569036345E-36</c:v>
                </c:pt>
                <c:pt idx="732">
                  <c:v>1.5082007149918733E-36</c:v>
                </c:pt>
                <c:pt idx="733">
                  <c:v>1.1712006845232893E-36</c:v>
                </c:pt>
                <c:pt idx="734">
                  <c:v>9.0949132921938746E-37</c:v>
                </c:pt>
                <c:pt idx="735">
                  <c:v>7.062540290082743E-37</c:v>
                </c:pt>
                <c:pt idx="736">
                  <c:v>5.4842658936928653E-37</c:v>
                </c:pt>
                <c:pt idx="737">
                  <c:v>4.2586437707401754E-37</c:v>
                </c:pt>
                <c:pt idx="738">
                  <c:v>3.3068875611449881E-37</c:v>
                </c:pt>
                <c:pt idx="739">
                  <c:v>2.5678101081400044E-37</c:v>
                </c:pt>
                <c:pt idx="740">
                  <c:v>1.99389275782761E-37</c:v>
                </c:pt>
                <c:pt idx="741">
                  <c:v>1.548232425683847E-37</c:v>
                </c:pt>
                <c:pt idx="742">
                  <c:v>1.2021704466021419E-37</c:v>
                </c:pt>
                <c:pt idx="743">
                  <c:v>9.334509770516851E-38</c:v>
                </c:pt>
                <c:pt idx="744">
                  <c:v>7.2479070231915933E-38</c:v>
                </c:pt>
                <c:pt idx="745">
                  <c:v>5.6276800186134363E-38</c:v>
                </c:pt>
                <c:pt idx="746">
                  <c:v>4.3696023241651517E-38</c:v>
                </c:pt>
                <c:pt idx="747">
                  <c:v>3.3927371727466249E-38</c:v>
                </c:pt>
                <c:pt idx="748">
                  <c:v>2.634234032978271E-38</c:v>
                </c:pt>
                <c:pt idx="749">
                  <c:v>2.0452875773335436E-38</c:v>
                </c:pt>
                <c:pt idx="750">
                  <c:v>1.5879994166573072E-38</c:v>
                </c:pt>
                <c:pt idx="751">
                  <c:v>1.2329409535678457E-38</c:v>
                </c:pt>
                <c:pt idx="752">
                  <c:v>9.5726073984684327E-39</c:v>
                </c:pt>
                <c:pt idx="753">
                  <c:v>7.4321470312944367E-39</c:v>
                </c:pt>
                <c:pt idx="754">
                  <c:v>5.7702477497244643E-39</c:v>
                </c:pt>
                <c:pt idx="755">
                  <c:v>4.4799255397822302E-39</c:v>
                </c:pt>
                <c:pt idx="756">
                  <c:v>3.4781102481313219E-39</c:v>
                </c:pt>
                <c:pt idx="757">
                  <c:v>2.7003008285475869E-39</c:v>
                </c:pt>
                <c:pt idx="758">
                  <c:v>2.0964149906375957E-39</c:v>
                </c:pt>
                <c:pt idx="759">
                  <c:v>1.6275663710730574E-39</c:v>
                </c:pt>
                <c:pt idx="760">
                  <c:v>1.2635619703927736E-39</c:v>
                </c:pt>
                <c:pt idx="761">
                  <c:v>9.8095890587281733E-40</c:v>
                </c:pt>
                <c:pt idx="762">
                  <c:v>7.6155549033050422E-40</c:v>
                </c:pt>
                <c:pt idx="763">
                  <c:v>5.9121957474979629E-40</c:v>
                </c:pt>
                <c:pt idx="764">
                  <c:v>4.5897878166566517E-40</c:v>
                </c:pt>
                <c:pt idx="765">
                  <c:v>3.5631409776747423E-40</c:v>
                </c:pt>
                <c:pt idx="766">
                  <c:v>2.7661137485654015E-40</c:v>
                </c:pt>
                <c:pt idx="767">
                  <c:v>2.1473544488774248E-40</c:v>
                </c:pt>
                <c:pt idx="768">
                  <c:v>1.6669944256548599E-40</c:v>
                </c:pt>
                <c:pt idx="769">
                  <c:v>1.2940805418124421E-40</c:v>
                </c:pt>
                <c:pt idx="770">
                  <c:v>1.0045816767960852E-40</c:v>
                </c:pt>
                <c:pt idx="771">
                  <c:v>7.798409221464162E-41</c:v>
                </c:pt>
                <c:pt idx="772">
                  <c:v>6.0537383930950019E-41</c:v>
                </c:pt>
                <c:pt idx="773">
                  <c:v>4.6993541331204219E-41</c:v>
                </c:pt>
                <c:pt idx="774">
                  <c:v>3.6479563234521883E-41</c:v>
                </c:pt>
                <c:pt idx="775">
                  <c:v>2.8317705009933437E-41</c:v>
                </c:pt>
                <c:pt idx="776">
                  <c:v>2.1981811473714552E-41</c:v>
                </c:pt>
                <c:pt idx="777">
                  <c:v>1.7063414510473247E-41</c:v>
                </c:pt>
                <c:pt idx="778">
                  <c:v>1.3245412063494139E-41</c:v>
                </c:pt>
                <c:pt idx="779">
                  <c:v>1.0281633307573047E-41</c:v>
                </c:pt>
                <c:pt idx="780">
                  <c:v>7.98097380553505E-42</c:v>
                </c:pt>
                <c:pt idx="781">
                  <c:v>6.1950787362709638E-42</c:v>
                </c:pt>
                <c:pt idx="782">
                  <c:v>4.8087807691504903E-42</c:v>
                </c:pt>
                <c:pt idx="783">
                  <c:v>3.7326765709367643E-42</c:v>
                </c:pt>
                <c:pt idx="784">
                  <c:v>2.8973636678380274E-42</c:v>
                </c:pt>
                <c:pt idx="785">
                  <c:v>2.2489663463994856E-42</c:v>
                </c:pt>
                <c:pt idx="786">
                  <c:v>1.7456622971518402E-42</c:v>
                </c:pt>
                <c:pt idx="787">
                  <c:v>1.3549861828708291E-42</c:v>
                </c:pt>
                <c:pt idx="788">
                  <c:v>1.0517363649683946E-42</c:v>
                </c:pt>
                <c:pt idx="789">
                  <c:v>8.1634987994922106E-43</c:v>
                </c:pt>
                <c:pt idx="790">
                  <c:v>6.3364093252431382E-43</c:v>
                </c:pt>
                <c:pt idx="791">
                  <c:v>4.9182159415700565E-43</c:v>
                </c:pt>
                <c:pt idx="792">
                  <c:v>3.8174158125032872E-43</c:v>
                </c:pt>
                <c:pt idx="793">
                  <c:v>2.9629810753271278E-43</c:v>
                </c:pt>
                <c:pt idx="794">
                  <c:v>2.2997776537584344E-43</c:v>
                </c:pt>
                <c:pt idx="795">
                  <c:v>1.785009008313074E-43</c:v>
                </c:pt>
                <c:pt idx="796">
                  <c:v>1.3854555357805161E-43</c:v>
                </c:pt>
                <c:pt idx="797">
                  <c:v>1.0753316218192925E-43</c:v>
                </c:pt>
                <c:pt idx="798">
                  <c:v>8.3462216358488426E-44</c:v>
                </c:pt>
                <c:pt idx="799">
                  <c:v>6.4779129453838435E-44</c:v>
                </c:pt>
                <c:pt idx="800">
                  <c:v>5.0278003671345401E-44</c:v>
                </c:pt>
              </c:numCache>
            </c:numRef>
          </c:yVal>
          <c:smooth val="0"/>
          <c:extLst>
            <c:ext xmlns:c16="http://schemas.microsoft.com/office/drawing/2014/chart" uri="{C3380CC4-5D6E-409C-BE32-E72D297353CC}">
              <c16:uniqueId val="{00000008-1D62-4DE3-8E9D-34C68BC76380}"/>
            </c:ext>
          </c:extLst>
        </c:ser>
        <c:ser>
          <c:idx val="9"/>
          <c:order val="9"/>
          <c:tx>
            <c:strRef>
              <c:f>Calc!$M$6</c:f>
              <c:strCache>
                <c:ptCount val="1"/>
                <c:pt idx="0">
                  <c:v>10</c:v>
                </c:pt>
              </c:strCache>
            </c:strRef>
          </c:tx>
          <c:spPr>
            <a:ln w="28575">
              <a:noFill/>
            </a:ln>
          </c:spPr>
          <c:marker>
            <c:symbol val="diamond"/>
            <c:size val="5"/>
            <c:spPr>
              <a:solidFill>
                <a:srgbClr val="CCFFFF"/>
              </a:solidFill>
              <a:ln>
                <a:solidFill>
                  <a:srgbClr val="CCFF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M$7:$M$807</c:f>
              <c:numCache>
                <c:formatCode>000,000,000</c:formatCode>
                <c:ptCount val="801"/>
                <c:pt idx="0">
                  <c:v>1.4452613227314965E-29</c:v>
                </c:pt>
                <c:pt idx="1">
                  <c:v>1.7030999169103924E-29</c:v>
                </c:pt>
                <c:pt idx="2">
                  <c:v>2.0069261183346403E-29</c:v>
                </c:pt>
                <c:pt idx="3">
                  <c:v>2.3649399655112204E-29</c:v>
                </c:pt>
                <c:pt idx="4">
                  <c:v>2.7868032134110557E-29</c:v>
                </c:pt>
                <c:pt idx="5">
                  <c:v>3.2838998117833389E-29</c:v>
                </c:pt>
                <c:pt idx="6">
                  <c:v>3.8696427846636769E-29</c:v>
                </c:pt>
                <c:pt idx="7">
                  <c:v>4.5598357737872961E-29</c:v>
                </c:pt>
                <c:pt idx="8">
                  <c:v>5.3730989793648098E-29</c:v>
                </c:pt>
                <c:pt idx="9">
                  <c:v>6.3313709640960998E-29</c:v>
                </c:pt>
                <c:pt idx="10">
                  <c:v>7.4604998269186487E-29</c:v>
                </c:pt>
                <c:pt idx="11">
                  <c:v>8.790939656622115E-29</c:v>
                </c:pt>
                <c:pt idx="12">
                  <c:v>1.0358571006646237E-28</c:v>
                </c:pt>
                <c:pt idx="13">
                  <c:v>1.2205667467130591E-28</c:v>
                </c:pt>
                <c:pt idx="14">
                  <c:v>1.4382034338130585E-28</c:v>
                </c:pt>
                <c:pt idx="15">
                  <c:v>1.694635003426739E-28</c:v>
                </c:pt>
                <c:pt idx="16">
                  <c:v>1.9967746300099498E-28</c:v>
                </c:pt>
                <c:pt idx="17">
                  <c:v>2.3527669733414062E-28</c:v>
                </c:pt>
                <c:pt idx="18">
                  <c:v>2.7722074672587388E-28</c:v>
                </c:pt>
                <c:pt idx="19">
                  <c:v>3.266400640695421E-28</c:v>
                </c:pt>
                <c:pt idx="20">
                  <c:v>3.848664415447903E-28</c:v>
                </c:pt>
                <c:pt idx="21">
                  <c:v>4.5346885600155705E-28</c:v>
                </c:pt>
                <c:pt idx="22">
                  <c:v>5.3429569332495058E-28</c:v>
                </c:pt>
                <c:pt idx="23">
                  <c:v>6.2952448644140801E-28</c:v>
                </c:pt>
                <c:pt idx="24">
                  <c:v>7.4172050335063399E-28</c:v>
                </c:pt>
                <c:pt idx="25">
                  <c:v>8.7390575913564901E-28</c:v>
                </c:pt>
                <c:pt idx="26">
                  <c:v>1.0296403056787805E-27</c:v>
                </c:pt>
                <c:pt idx="27">
                  <c:v>1.2131179822902167E-27</c:v>
                </c:pt>
                <c:pt idx="28">
                  <c:v>1.4292791984604655E-27</c:v>
                </c:pt>
                <c:pt idx="29">
                  <c:v>1.6839437768701252E-27</c:v>
                </c:pt>
                <c:pt idx="30">
                  <c:v>1.9839674228613141E-27</c:v>
                </c:pt>
                <c:pt idx="31">
                  <c:v>2.3374260201982886E-27</c:v>
                </c:pt>
                <c:pt idx="32">
                  <c:v>2.7538326990769633E-27</c:v>
                </c:pt>
                <c:pt idx="33">
                  <c:v>3.244393500949002E-27</c:v>
                </c:pt>
                <c:pt idx="34">
                  <c:v>3.8223084993089711E-27</c:v>
                </c:pt>
                <c:pt idx="35">
                  <c:v>4.503126453824217E-27</c:v>
                </c:pt>
                <c:pt idx="36">
                  <c:v>5.3051625096444933E-27</c:v>
                </c:pt>
                <c:pt idx="37">
                  <c:v>6.2499901427597391E-27</c:v>
                </c:pt>
                <c:pt idx="38">
                  <c:v>7.3630205410267469E-27</c:v>
                </c:pt>
                <c:pt idx="39">
                  <c:v>8.6741849521149016E-27</c:v>
                </c:pt>
                <c:pt idx="40">
                  <c:v>1.0218738286668857E-26</c:v>
                </c:pt>
                <c:pt idx="41">
                  <c:v>1.2038205511134625E-26</c:v>
                </c:pt>
                <c:pt idx="42">
                  <c:v>1.4181496186596481E-26</c:v>
                </c:pt>
                <c:pt idx="43">
                  <c:v>1.6706217009703667E-26</c:v>
                </c:pt>
                <c:pt idx="44">
                  <c:v>1.9680217509431585E-26</c:v>
                </c:pt>
                <c:pt idx="45">
                  <c:v>2.3183410290396015E-26</c:v>
                </c:pt>
                <c:pt idx="46">
                  <c:v>2.7309914556156681E-26</c:v>
                </c:pt>
                <c:pt idx="47">
                  <c:v>3.2170580290249546E-26</c:v>
                </c:pt>
                <c:pt idx="48">
                  <c:v>3.7895960649126456E-26</c:v>
                </c:pt>
                <c:pt idx="49">
                  <c:v>4.4639812101078133E-26</c:v>
                </c:pt>
                <c:pt idx="50">
                  <c:v>5.2583215947891055E-26</c:v>
                </c:pt>
                <c:pt idx="51">
                  <c:v>6.1939431467254659E-26</c:v>
                </c:pt>
                <c:pt idx="52">
                  <c:v>7.2959610456118966E-26</c:v>
                </c:pt>
                <c:pt idx="53">
                  <c:v>8.5939525958718545E-26</c:v>
                </c:pt>
                <c:pt idx="54">
                  <c:v>1.0122749504046824E-25</c:v>
                </c:pt>
                <c:pt idx="55">
                  <c:v>1.1923370734109185E-25</c:v>
                </c:pt>
                <c:pt idx="56">
                  <c:v>1.4044120865547879E-25</c:v>
                </c:pt>
                <c:pt idx="57">
                  <c:v>1.6541883294695906E-25</c:v>
                </c:pt>
                <c:pt idx="58">
                  <c:v>1.9483642816934936E-25</c:v>
                </c:pt>
                <c:pt idx="59">
                  <c:v>2.2948278244334362E-25</c:v>
                </c:pt>
                <c:pt idx="60">
                  <c:v>2.7028672912548758E-25</c:v>
                </c:pt>
                <c:pt idx="61">
                  <c:v>3.1834199403733631E-25</c:v>
                </c:pt>
                <c:pt idx="62">
                  <c:v>3.7493644783954326E-25</c:v>
                </c:pt>
                <c:pt idx="63">
                  <c:v>4.4158654388870416E-25</c:v>
                </c:pt>
                <c:pt idx="64">
                  <c:v>5.200778600196394E-25</c:v>
                </c:pt>
                <c:pt idx="65">
                  <c:v>6.1251282521818055E-25</c:v>
                </c:pt>
                <c:pt idx="66">
                  <c:v>7.2136690340156073E-25</c:v>
                </c:pt>
                <c:pt idx="67">
                  <c:v>8.4955473157774137E-25</c:v>
                </c:pt>
                <c:pt idx="68">
                  <c:v>1.0005079744801444E-24</c:v>
                </c:pt>
                <c:pt idx="69">
                  <c:v>1.178266969388546E-24</c:v>
                </c:pt>
                <c:pt idx="70">
                  <c:v>1.3875886015086021E-24</c:v>
                </c:pt>
                <c:pt idx="71">
                  <c:v>1.6340732817037878E-24</c:v>
                </c:pt>
                <c:pt idx="72">
                  <c:v>1.924314405977958E-24</c:v>
                </c:pt>
                <c:pt idx="73">
                  <c:v>2.2660742733312833E-24</c:v>
                </c:pt>
                <c:pt idx="74">
                  <c:v>2.6684911412586984E-24</c:v>
                </c:pt>
                <c:pt idx="75">
                  <c:v>3.1423229248150709E-24</c:v>
                </c:pt>
                <c:pt idx="76">
                  <c:v>3.7002340176914888E-24</c:v>
                </c:pt>
                <c:pt idx="77">
                  <c:v>4.3571328578362E-24</c:v>
                </c:pt>
                <c:pt idx="78">
                  <c:v>5.1305692060409692E-24</c:v>
                </c:pt>
                <c:pt idx="79">
                  <c:v>6.0412016891408355E-24</c:v>
                </c:pt>
                <c:pt idx="80">
                  <c:v>7.1133480218429279E-24</c:v>
                </c:pt>
                <c:pt idx="81">
                  <c:v>8.3756325118459969E-24</c:v>
                </c:pt>
                <c:pt idx="82">
                  <c:v>9.8617480296320716E-24</c:v>
                </c:pt>
                <c:pt idx="83">
                  <c:v>1.1611352655032067E-23</c:v>
                </c:pt>
                <c:pt idx="84">
                  <c:v>1.367112477727086E-23</c:v>
                </c:pt>
                <c:pt idx="85">
                  <c:v>1.6096004617591901E-23</c:v>
                </c:pt>
                <c:pt idx="86">
                  <c:v>1.8950655074133156E-23</c:v>
                </c:pt>
                <c:pt idx="87">
                  <c:v>2.2311180587253674E-23</c:v>
                </c:pt>
                <c:pt idx="88">
                  <c:v>2.6267149542553861E-23</c:v>
                </c:pt>
                <c:pt idx="89">
                  <c:v>3.0923973747677748E-23</c:v>
                </c:pt>
                <c:pt idx="90">
                  <c:v>3.640570794843213E-23</c:v>
                </c:pt>
                <c:pt idx="91">
                  <c:v>4.2858343437503174E-23</c:v>
                </c:pt>
                <c:pt idx="92">
                  <c:v>5.0453682846241732E-23</c:v>
                </c:pt>
                <c:pt idx="93">
                  <c:v>5.9393898538804125E-23</c:v>
                </c:pt>
                <c:pt idx="94">
                  <c:v>6.9916895050452747E-23</c:v>
                </c:pt>
                <c:pt idx="95">
                  <c:v>8.2302617200592352E-23</c:v>
                </c:pt>
                <c:pt idx="96">
                  <c:v>9.6880470421358809E-23</c:v>
                </c:pt>
                <c:pt idx="97">
                  <c:v>1.1403804912673068E-22</c:v>
                </c:pt>
                <c:pt idx="98">
                  <c:v>1.3423140337174459E-22</c:v>
                </c:pt>
                <c:pt idx="99">
                  <c:v>1.5799711451712254E-22</c:v>
                </c:pt>
                <c:pt idx="100">
                  <c:v>1.859664981794172E-22</c:v>
                </c:pt>
                <c:pt idx="101">
                  <c:v>2.1888230865391183E-22</c:v>
                </c:pt>
                <c:pt idx="102">
                  <c:v>2.5761838470680743E-22</c:v>
                </c:pt>
                <c:pt idx="103">
                  <c:v>3.0320275386005659E-22</c:v>
                </c:pt>
                <c:pt idx="104">
                  <c:v>3.5684480305117363E-22</c:v>
                </c:pt>
                <c:pt idx="105">
                  <c:v>4.1996723020737066E-22</c:v>
                </c:pt>
                <c:pt idx="106">
                  <c:v>4.9424361660757272E-22</c:v>
                </c:pt>
                <c:pt idx="107">
                  <c:v>5.8164260718073284E-22</c:v>
                </c:pt>
                <c:pt idx="108">
                  <c:v>6.8447985893620484E-22</c:v>
                </c:pt>
                <c:pt idx="109">
                  <c:v>8.0547912104240808E-22</c:v>
                </c:pt>
                <c:pt idx="110">
                  <c:v>9.4784404894692269E-22</c:v>
                </c:pt>
                <c:pt idx="111">
                  <c:v>1.1153426355674736E-21</c:v>
                </c:pt>
                <c:pt idx="112">
                  <c:v>1.3124064722634542E-21</c:v>
                </c:pt>
                <c:pt idx="113">
                  <c:v>1.54424743956886E-21</c:v>
                </c:pt>
                <c:pt idx="114">
                  <c:v>1.816994882568748E-21</c:v>
                </c:pt>
                <c:pt idx="115">
                  <c:v>2.137856860109921E-21</c:v>
                </c:pt>
                <c:pt idx="116">
                  <c:v>2.5153096845799678E-21</c:v>
                </c:pt>
                <c:pt idx="117">
                  <c:v>2.959320705993894E-21</c:v>
                </c:pt>
                <c:pt idx="118">
                  <c:v>3.4816101596348781E-21</c:v>
                </c:pt>
                <c:pt idx="119">
                  <c:v>4.0959589128513554E-21</c:v>
                </c:pt>
                <c:pt idx="120">
                  <c:v>4.8185701400353209E-21</c:v>
                </c:pt>
                <c:pt idx="121">
                  <c:v>5.668494356055316E-21</c:v>
                </c:pt>
                <c:pt idx="122">
                  <c:v>6.6681288835837962E-21</c:v>
                </c:pt>
                <c:pt idx="123">
                  <c:v>7.8438047611720359E-21</c:v>
                </c:pt>
                <c:pt idx="124">
                  <c:v>9.2264763662498233E-21</c:v>
                </c:pt>
                <c:pt idx="125">
                  <c:v>1.0852531688698813E-20</c:v>
                </c:pt>
                <c:pt idx="126">
                  <c:v>1.2764744314581155E-20</c:v>
                </c:pt>
                <c:pt idx="127">
                  <c:v>1.5013391846096517E-20</c:v>
                </c:pt>
                <c:pt idx="128">
                  <c:v>1.7657569786827195E-20</c:v>
                </c:pt>
                <c:pt idx="129">
                  <c:v>2.0766734970936293E-20</c:v>
                </c:pt>
                <c:pt idx="130">
                  <c:v>2.4422518540334433E-20</c:v>
                </c:pt>
                <c:pt idx="131">
                  <c:v>2.872085542627844E-20</c:v>
                </c:pt>
                <c:pt idx="132">
                  <c:v>3.3774485448837919E-20</c:v>
                </c:pt>
                <c:pt idx="133">
                  <c:v>3.9715890717121629E-20</c:v>
                </c:pt>
                <c:pt idx="134">
                  <c:v>4.6700745238771872E-20</c:v>
                </c:pt>
                <c:pt idx="135">
                  <c:v>5.4911965814646754E-20</c:v>
                </c:pt>
                <c:pt idx="136">
                  <c:v>6.4564468738372574E-20</c:v>
                </c:pt>
                <c:pt idx="137">
                  <c:v>7.5910754932702394E-20</c:v>
                </c:pt>
                <c:pt idx="138">
                  <c:v>8.9247467394488084E-20</c:v>
                </c:pt>
                <c:pt idx="139">
                  <c:v>1.0492308972573778E-19</c:v>
                </c:pt>
                <c:pt idx="140">
                  <c:v>1.2334698372953549E-19</c:v>
                </c:pt>
                <c:pt idx="141">
                  <c:v>1.4499999828462333E-19</c:v>
                </c:pt>
                <c:pt idx="142">
                  <c:v>1.7044692184513596E-19</c:v>
                </c:pt>
                <c:pt idx="143">
                  <c:v>2.0035109795397234E-19</c:v>
                </c:pt>
                <c:pt idx="144">
                  <c:v>2.3549157829401654E-19</c:v>
                </c:pt>
                <c:pt idx="145">
                  <c:v>2.7678325241698694E-19</c:v>
                </c:pt>
                <c:pt idx="146">
                  <c:v>3.2530046900798268E-19</c:v>
                </c:pt>
                <c:pt idx="147">
                  <c:v>3.8230475226330373E-19</c:v>
                </c:pt>
                <c:pt idx="148">
                  <c:v>4.49277320901978E-19</c:v>
                </c:pt>
                <c:pt idx="149">
                  <c:v>5.2795723909703458E-19</c:v>
                </c:pt>
                <c:pt idx="150">
                  <c:v>6.2038617124176653E-19</c:v>
                </c:pt>
                <c:pt idx="151">
                  <c:v>7.2896087951626919E-19</c:v>
                </c:pt>
                <c:pt idx="152">
                  <c:v>8.5649479884956318E-19</c:v>
                </c:pt>
                <c:pt idx="153">
                  <c:v>1.0062902529475968E-18</c:v>
                </c:pt>
                <c:pt idx="154">
                  <c:v>1.1822231432632347E-18</c:v>
                </c:pt>
                <c:pt idx="155">
                  <c:v>1.3888422567705852E-18</c:v>
                </c:pt>
                <c:pt idx="156">
                  <c:v>1.6314857059416812E-18</c:v>
                </c:pt>
                <c:pt idx="157">
                  <c:v>1.9164174444901588E-18</c:v>
                </c:pt>
                <c:pt idx="158">
                  <c:v>2.2509873058559253E-18</c:v>
                </c:pt>
                <c:pt idx="159">
                  <c:v>2.6438186004506599E-18</c:v>
                </c:pt>
                <c:pt idx="160">
                  <c:v>3.1050279968502427E-18</c:v>
                </c:pt>
                <c:pt idx="161">
                  <c:v>3.6464832183142199E-18</c:v>
                </c:pt>
                <c:pt idx="162">
                  <c:v>4.282105028985642E-18</c:v>
                </c:pt>
                <c:pt idx="163">
                  <c:v>5.0282210869286358E-18</c:v>
                </c:pt>
                <c:pt idx="164">
                  <c:v>5.9039805307138916E-18</c:v>
                </c:pt>
                <c:pt idx="165">
                  <c:v>6.9318396739654728E-18</c:v>
                </c:pt>
                <c:pt idx="166">
                  <c:v>8.1381309447980192E-18</c:v>
                </c:pt>
                <c:pt idx="167">
                  <c:v>9.5537292671509965E-18</c:v>
                </c:pt>
                <c:pt idx="168">
                  <c:v>1.1214832488550545E-17</c:v>
                </c:pt>
                <c:pt idx="169">
                  <c:v>1.316387527196237E-17</c:v>
                </c:pt>
                <c:pt idx="170">
                  <c:v>1.5450599155969004E-17</c:v>
                </c:pt>
                <c:pt idx="171">
                  <c:v>1.8133305326565721E-17</c:v>
                </c:pt>
                <c:pt idx="172">
                  <c:v>2.1280321127583232E-17</c:v>
                </c:pt>
                <c:pt idx="173">
                  <c:v>2.4971716572480694E-17</c:v>
                </c:pt>
                <c:pt idx="174">
                  <c:v>2.930131323310863E-17</c:v>
                </c:pt>
                <c:pt idx="175">
                  <c:v>3.437903501672528E-17</c:v>
                </c:pt>
                <c:pt idx="176">
                  <c:v>4.0333658670742684E-17</c:v>
                </c:pt>
                <c:pt idx="177">
                  <c:v>4.7316031572896629E-17</c:v>
                </c:pt>
                <c:pt idx="178">
                  <c:v>5.5502835702728434E-17</c:v>
                </c:pt>
                <c:pt idx="179">
                  <c:v>6.5100989915980885E-17</c:v>
                </c:pt>
                <c:pt idx="180">
                  <c:v>7.635279806797539E-17</c:v>
                </c:pt>
                <c:pt idx="181">
                  <c:v>8.9541968517391247E-17</c:v>
                </c:pt>
                <c:pt idx="182">
                  <c:v>1.050006515088926E-16</c:v>
                </c:pt>
                <c:pt idx="183">
                  <c:v>1.2311766537135925E-16</c:v>
                </c:pt>
                <c:pt idx="184">
                  <c:v>1.4434811094648938E-16</c:v>
                </c:pt>
                <c:pt idx="185">
                  <c:v>1.6922460684139315E-16</c:v>
                </c:pt>
                <c:pt idx="186">
                  <c:v>1.9837041674559548E-16</c:v>
                </c:pt>
                <c:pt idx="187">
                  <c:v>2.3251478505918481E-16</c:v>
                </c:pt>
                <c:pt idx="188">
                  <c:v>2.7251084947895156E-16</c:v>
                </c:pt>
                <c:pt idx="189">
                  <c:v>3.1935656018421899E-16</c:v>
                </c:pt>
                <c:pt idx="190">
                  <c:v>3.7421910624591731E-16</c:v>
                </c:pt>
                <c:pt idx="191">
                  <c:v>4.3846343246769462E-16</c:v>
                </c:pt>
                <c:pt idx="192">
                  <c:v>5.1368552592832075E-16</c:v>
                </c:pt>
                <c:pt idx="193">
                  <c:v>6.0175126320180836E-16</c:v>
                </c:pt>
                <c:pt idx="194">
                  <c:v>7.0484173910047159E-16</c:v>
                </c:pt>
                <c:pt idx="195">
                  <c:v>8.2550614872923844E-16</c:v>
                </c:pt>
                <c:pt idx="196">
                  <c:v>9.6672347003014437E-16</c:v>
                </c:pt>
                <c:pt idx="197">
                  <c:v>1.1319743977372349E-15</c:v>
                </c:pt>
                <c:pt idx="198">
                  <c:v>1.3253252162706092E-15</c:v>
                </c:pt>
                <c:pt idx="199">
                  <c:v>1.5515255737971264E-15</c:v>
                </c:pt>
                <c:pt idx="200">
                  <c:v>1.816122438512856E-15</c:v>
                </c:pt>
                <c:pt idx="201">
                  <c:v>2.1255928881364642E-15</c:v>
                </c:pt>
                <c:pt idx="202">
                  <c:v>2.4874988127039676E-15</c:v>
                </c:pt>
                <c:pt idx="203">
                  <c:v>2.9106671083320354E-15</c:v>
                </c:pt>
                <c:pt idx="204">
                  <c:v>3.4053995164077339E-15</c:v>
                </c:pt>
                <c:pt idx="205">
                  <c:v>3.9837169310653903E-15</c:v>
                </c:pt>
                <c:pt idx="206">
                  <c:v>4.6596437721097922E-15</c:v>
                </c:pt>
                <c:pt idx="207">
                  <c:v>5.4495389172140304E-15</c:v>
                </c:pt>
                <c:pt idx="208">
                  <c:v>6.3724807252351117E-15</c:v>
                </c:pt>
                <c:pt idx="209">
                  <c:v>7.4507148836957343E-15</c:v>
                </c:pt>
                <c:pt idx="210">
                  <c:v>8.7101752030291643E-15</c:v>
                </c:pt>
                <c:pt idx="211">
                  <c:v>1.0181089086997323E-14</c:v>
                </c:pt>
                <c:pt idx="212">
                  <c:v>1.1898681266031144E-14</c:v>
                </c:pt>
                <c:pt idx="213">
                  <c:v>1.3903991526320538E-14</c:v>
                </c:pt>
                <c:pt idx="214">
                  <c:v>1.624482464618763E-14</c:v>
                </c:pt>
                <c:pt idx="215">
                  <c:v>1.8976853612990693E-14</c:v>
                </c:pt>
                <c:pt idx="216">
                  <c:v>2.2164900496313847E-14</c:v>
                </c:pt>
                <c:pt idx="217">
                  <c:v>2.5884423162744007E-14</c:v>
                </c:pt>
                <c:pt idx="218">
                  <c:v>3.0223240410041739E-14</c:v>
                </c:pt>
                <c:pt idx="219">
                  <c:v>3.528353316086758E-14</c:v>
                </c:pt>
                <c:pt idx="220">
                  <c:v>4.1184165187907086E-14</c:v>
                </c:pt>
                <c:pt idx="221">
                  <c:v>4.8063373556935797E-14</c:v>
                </c:pt>
                <c:pt idx="222">
                  <c:v>5.6081886702058912E-14</c:v>
                </c:pt>
                <c:pt idx="223">
                  <c:v>6.5426536936412413E-14</c:v>
                </c:pt>
                <c:pt idx="224">
                  <c:v>7.6314444421349151E-14</c:v>
                </c:pt>
                <c:pt idx="225">
                  <c:v>8.8997861360622146E-14</c:v>
                </c:pt>
                <c:pt idx="226">
                  <c:v>1.0376977867323759E-13</c:v>
                </c:pt>
                <c:pt idx="227">
                  <c:v>1.2097041287990852E-13</c:v>
                </c:pt>
                <c:pt idx="228">
                  <c:v>1.4099470869816159E-13</c:v>
                </c:pt>
                <c:pt idx="229">
                  <c:v>1.643010132038973E-13</c:v>
                </c:pt>
                <c:pt idx="230">
                  <c:v>1.9142110075000541E-13</c:v>
                </c:pt>
                <c:pt idx="231">
                  <c:v>2.2297175455257781E-13</c:v>
                </c:pt>
                <c:pt idx="232">
                  <c:v>2.5966814143484852E-13</c:v>
                </c:pt>
                <c:pt idx="233">
                  <c:v>3.023392511934718E-13</c:v>
                </c:pt>
                <c:pt idx="234">
                  <c:v>3.5194571202624531E-13</c:v>
                </c:pt>
                <c:pt idx="235">
                  <c:v>4.0960033911922476E-13</c:v>
                </c:pt>
                <c:pt idx="236">
                  <c:v>4.7659182560631949E-13</c:v>
                </c:pt>
                <c:pt idx="237">
                  <c:v>5.5441204455653606E-13</c:v>
                </c:pt>
                <c:pt idx="238">
                  <c:v>6.4478749839383254E-13</c:v>
                </c:pt>
                <c:pt idx="239">
                  <c:v>7.4971552931517013E-13</c:v>
                </c:pt>
                <c:pt idx="240">
                  <c:v>8.7150599208284312E-13</c:v>
                </c:pt>
                <c:pt idx="241">
                  <c:v>1.0128291904190091E-12</c:v>
                </c:pt>
                <c:pt idx="242">
                  <c:v>1.1767709916812217E-12</c:v>
                </c:pt>
                <c:pt idx="243">
                  <c:v>1.3668961632926878E-12</c:v>
                </c:pt>
                <c:pt idx="244">
                  <c:v>1.5873211204880642E-12</c:v>
                </c:pt>
                <c:pt idx="245">
                  <c:v>1.8427974404900393E-12</c:v>
                </c:pt>
                <c:pt idx="246">
                  <c:v>2.1388076856764522E-12</c:v>
                </c:pt>
                <c:pt idx="247">
                  <c:v>2.4816752903258393E-12</c:v>
                </c:pt>
                <c:pt idx="248">
                  <c:v>2.8786905051341594E-12</c:v>
                </c:pt>
                <c:pt idx="249">
                  <c:v>3.3382546641911402E-12</c:v>
                </c:pt>
                <c:pt idx="250">
                  <c:v>3.8700453441606249E-12</c:v>
                </c:pt>
                <c:pt idx="251">
                  <c:v>4.485205329073044E-12</c:v>
                </c:pt>
                <c:pt idx="252">
                  <c:v>5.1965586808734439E-12</c:v>
                </c:pt>
                <c:pt idx="253">
                  <c:v>6.0188576505773498E-12</c:v>
                </c:pt>
                <c:pt idx="254">
                  <c:v>6.9690646529487584E-12</c:v>
                </c:pt>
                <c:pt idx="255">
                  <c:v>8.0666740749156158E-12</c:v>
                </c:pt>
                <c:pt idx="256">
                  <c:v>9.3340793008962835E-12</c:v>
                </c:pt>
                <c:pt idx="257">
                  <c:v>1.0796991023815337E-11</c:v>
                </c:pt>
                <c:pt idx="258">
                  <c:v>1.2484913676414594E-11</c:v>
                </c:pt>
                <c:pt idx="259">
                  <c:v>1.4431687671716358E-11</c:v>
                </c:pt>
                <c:pt idx="260">
                  <c:v>1.6676106092994819E-11</c:v>
                </c:pt>
                <c:pt idx="261">
                  <c:v>1.9262615531850816E-11</c:v>
                </c:pt>
                <c:pt idx="262">
                  <c:v>2.224211194808882E-11</c:v>
                </c:pt>
                <c:pt idx="263">
                  <c:v>2.5672843727867954E-11</c:v>
                </c:pt>
                <c:pt idx="264">
                  <c:v>2.9621435558455589E-11</c:v>
                </c:pt>
                <c:pt idx="265">
                  <c:v>3.4164048330909868E-11</c:v>
                </c:pt>
                <c:pt idx="266">
                  <c:v>3.9387692038731509E-11</c:v>
                </c:pt>
                <c:pt idx="267">
                  <c:v>4.5391710574092338E-11</c:v>
                </c:pt>
                <c:pt idx="268">
                  <c:v>5.2289459447167376E-11</c:v>
                </c:pt>
                <c:pt idx="269">
                  <c:v>6.021019978216597E-11</c:v>
                </c:pt>
                <c:pt idx="270">
                  <c:v>6.9301234489887867E-11</c:v>
                </c:pt>
                <c:pt idx="271">
                  <c:v>7.9730315294904092E-11</c:v>
                </c:pt>
                <c:pt idx="272">
                  <c:v>9.168835231949364E-11</c:v>
                </c:pt>
                <c:pt idx="273">
                  <c:v>1.0539246120942797E-10</c:v>
                </c:pt>
                <c:pt idx="274">
                  <c:v>1.2108938634087652E-10</c:v>
                </c:pt>
                <c:pt idx="275">
                  <c:v>1.3905934248425829E-10</c:v>
                </c:pt>
                <c:pt idx="276">
                  <c:v>1.5962032142922576E-10</c:v>
                </c:pt>
                <c:pt idx="277">
                  <c:v>1.8313291450245903E-10</c:v>
                </c:pt>
                <c:pt idx="278">
                  <c:v>2.1000570664112587E-10</c:v>
                </c:pt>
                <c:pt idx="279">
                  <c:v>2.4070130272089736E-10</c:v>
                </c:pt>
                <c:pt idx="280">
                  <c:v>2.7574305217537573E-10</c:v>
                </c:pt>
                <c:pt idx="281">
                  <c:v>3.1572254357566973E-10</c:v>
                </c:pt>
                <c:pt idx="282">
                  <c:v>3.6130794675085429E-10</c:v>
                </c:pt>
                <c:pt idx="283">
                  <c:v>4.1325328620144908E-10</c:v>
                </c:pt>
                <c:pt idx="284">
                  <c:v>4.7240873595998071E-10</c:v>
                </c:pt>
                <c:pt idx="285">
                  <c:v>5.3973203264707919E-10</c:v>
                </c:pt>
                <c:pt idx="286">
                  <c:v>6.163011102099733E-10</c:v>
                </c:pt>
                <c:pt idx="287">
                  <c:v>7.0332806665200868E-10</c:v>
                </c:pt>
                <c:pt idx="288">
                  <c:v>8.0217457989307529E-10</c:v>
                </c:pt>
                <c:pt idx="289">
                  <c:v>9.143688966525754E-10</c:v>
                </c:pt>
                <c:pt idx="290">
                  <c:v>1.0416245248140713E-9</c:v>
                </c:pt>
                <c:pt idx="291">
                  <c:v>1.1858607659896034E-9</c:v>
                </c:pt>
                <c:pt idx="292">
                  <c:v>1.3492252308101245E-9</c:v>
                </c:pt>
                <c:pt idx="293">
                  <c:v>1.5341184846610839E-9</c:v>
                </c:pt>
                <c:pt idx="294">
                  <c:v>1.7432209759734663E-9</c:v>
                </c:pt>
                <c:pt idx="295">
                  <c:v>1.9795224025583097E-9</c:v>
                </c:pt>
                <c:pt idx="296">
                  <c:v>2.246353673602854E-9</c:v>
                </c:pt>
                <c:pt idx="297">
                  <c:v>2.5474216255658296E-9</c:v>
                </c:pt>
                <c:pt idx="298">
                  <c:v>2.8868466490303983E-9</c:v>
                </c:pt>
                <c:pt idx="299">
                  <c:v>3.2692033802823502E-9</c:v>
                </c:pt>
                <c:pt idx="300">
                  <c:v>3.6995646056347835E-9</c:v>
                </c:pt>
                <c:pt idx="301">
                  <c:v>4.1835485179556423E-9</c:v>
                </c:pt>
                <c:pt idx="302">
                  <c:v>4.7273694530783338E-9</c:v>
                </c:pt>
                <c:pt idx="303">
                  <c:v>5.3378922183798572E-9</c:v>
                </c:pt>
                <c:pt idx="304">
                  <c:v>6.0226901063636767E-9</c:v>
                </c:pt>
                <c:pt idx="305">
                  <c:v>6.7901066621453407E-9</c:v>
                </c:pt>
                <c:pt idx="306">
                  <c:v>7.6493212448569501E-9</c:v>
                </c:pt>
                <c:pt idx="307">
                  <c:v>8.6104183887062996E-9</c:v>
                </c:pt>
                <c:pt idx="308">
                  <c:v>9.6844609293068426E-9</c:v>
                </c:pt>
                <c:pt idx="309">
                  <c:v>1.088356681450116E-8</c:v>
                </c:pt>
                <c:pt idx="310">
                  <c:v>1.2220989465828566E-8</c:v>
                </c:pt>
                <c:pt idx="311">
                  <c:v>1.3711201496676976E-8</c:v>
                </c:pt>
                <c:pt idx="312">
                  <c:v>1.5369981525688845E-8</c:v>
                </c:pt>
                <c:pt idx="313">
                  <c:v>1.7214503748917395E-8</c:v>
                </c:pt>
                <c:pt idx="314">
                  <c:v>1.9263429851394836E-8</c:v>
                </c:pt>
                <c:pt idx="315">
                  <c:v>2.1537002748105372E-8</c:v>
                </c:pt>
                <c:pt idx="316">
                  <c:v>2.4057141545924027E-8</c:v>
                </c:pt>
                <c:pt idx="317">
                  <c:v>2.6847537012071842E-8</c:v>
                </c:pt>
                <c:pt idx="318">
                  <c:v>2.9933746721422058E-8</c:v>
                </c:pt>
                <c:pt idx="319">
                  <c:v>3.3343288935086186E-8</c:v>
                </c:pt>
                <c:pt idx="320">
                  <c:v>3.7105734136875471E-8</c:v>
                </c:pt>
                <c:pt idx="321">
                  <c:v>4.1252793023406984E-8</c:v>
                </c:pt>
                <c:pt idx="322">
                  <c:v>4.5818399609007926E-8</c:v>
                </c:pt>
                <c:pt idx="323">
                  <c:v>5.0838787969613588E-8</c:v>
                </c:pt>
                <c:pt idx="324">
                  <c:v>5.6352561012264664E-8</c:v>
                </c:pt>
                <c:pt idx="325">
                  <c:v>6.2400749520572904E-8</c:v>
                </c:pt>
                <c:pt idx="326">
                  <c:v>6.902685959392074E-8</c:v>
                </c:pt>
                <c:pt idx="327">
                  <c:v>7.627690647174365E-8</c:v>
                </c:pt>
                <c:pt idx="328">
                  <c:v>8.4199432616822287E-8</c:v>
                </c:pt>
                <c:pt idx="329">
                  <c:v>9.2845507826232672E-8</c:v>
                </c:pt>
                <c:pt idx="330">
                  <c:v>1.0226870904873681E-7</c:v>
                </c:pt>
                <c:pt idx="331">
                  <c:v>1.1252507751658541E-7</c:v>
                </c:pt>
                <c:pt idx="332">
                  <c:v>1.2367305075160301E-7</c:v>
                </c:pt>
                <c:pt idx="333">
                  <c:v>1.3577336698401462E-7</c:v>
                </c:pt>
                <c:pt idx="334">
                  <c:v>1.4888893953159038E-7</c:v>
                </c:pt>
                <c:pt idx="335">
                  <c:v>1.6308469873041872E-7</c:v>
                </c:pt>
                <c:pt idx="336">
                  <c:v>1.7842739909079775E-7</c:v>
                </c:pt>
                <c:pt idx="337">
                  <c:v>1.9498538947617E-7</c:v>
                </c:pt>
                <c:pt idx="338">
                  <c:v>2.1282834427321671E-7</c:v>
                </c:pt>
                <c:pt idx="339">
                  <c:v>2.3202695374041604E-7</c:v>
                </c:pt>
                <c:pt idx="340">
                  <c:v>2.5265257199317661E-7</c:v>
                </c:pt>
                <c:pt idx="341">
                  <c:v>2.7477682140842821E-7</c:v>
                </c:pt>
                <c:pt idx="342">
                  <c:v>2.9847115261165514E-7</c:v>
                </c:pt>
                <c:pt idx="343">
                  <c:v>3.2380635964551493E-7</c:v>
                </c:pt>
                <c:pt idx="344">
                  <c:v>3.5085205041130704E-7</c:v>
                </c:pt>
                <c:pt idx="345">
                  <c:v>3.7967607302124138E-7</c:v>
                </c:pt>
                <c:pt idx="346">
                  <c:v>4.1034389929858887E-7</c:v>
                </c:pt>
                <c:pt idx="347">
                  <c:v>4.4291796731061056E-7</c:v>
                </c:pt>
                <c:pt idx="348">
                  <c:v>4.7745698551099349E-7</c:v>
                </c:pt>
                <c:pt idx="349">
                  <c:v>5.1401520179818271E-7</c:v>
                </c:pt>
                <c:pt idx="350">
                  <c:v>5.5264164155586461E-7</c:v>
                </c:pt>
                <c:pt idx="351">
                  <c:v>5.9337931952313576E-7</c:v>
                </c:pt>
                <c:pt idx="352">
                  <c:v>6.3626443113432194E-7</c:v>
                </c:pt>
                <c:pt idx="353">
                  <c:v>6.8132552976032865E-7</c:v>
                </c:pt>
                <c:pt idx="354">
                  <c:v>7.2858269706218664E-7</c:v>
                </c:pt>
                <c:pt idx="355">
                  <c:v>7.7804671441922567E-7</c:v>
                </c:pt>
                <c:pt idx="356">
                  <c:v>8.297182441042638E-7</c:v>
                </c:pt>
                <c:pt idx="357">
                  <c:v>8.8358702953101264E-7</c:v>
                </c:pt>
                <c:pt idx="358">
                  <c:v>9.3963112447839098E-7</c:v>
                </c:pt>
                <c:pt idx="359">
                  <c:v>9.9781616168693363E-7</c:v>
                </c:pt>
                <c:pt idx="360">
                  <c:v>1.0580946716072544E-6</c:v>
                </c:pt>
                <c:pt idx="361">
                  <c:v>1.1204054623449283E-6</c:v>
                </c:pt>
                <c:pt idx="362">
                  <c:v>1.1846730719742951E-6</c:v>
                </c:pt>
                <c:pt idx="363">
                  <c:v>1.2508073043731508E-6</c:v>
                </c:pt>
                <c:pt idx="364">
                  <c:v>1.3187028595479038E-6</c:v>
                </c:pt>
                <c:pt idx="365">
                  <c:v>1.3882390690651809E-6</c:v>
                </c:pt>
                <c:pt idx="366">
                  <c:v>1.4592797466729681E-6</c:v>
                </c:pt>
                <c:pt idx="367">
                  <c:v>1.5316731634769745E-6</c:v>
                </c:pt>
                <c:pt idx="368">
                  <c:v>1.6052521561337929E-6</c:v>
                </c:pt>
                <c:pt idx="369">
                  <c:v>1.6798343754330016E-6</c:v>
                </c:pt>
                <c:pt idx="370">
                  <c:v>1.755222681369869E-6</c:v>
                </c:pt>
                <c:pt idx="371">
                  <c:v>1.8312056893670144E-6</c:v>
                </c:pt>
                <c:pt idx="372">
                  <c:v>1.9075584706999026E-6</c:v>
                </c:pt>
                <c:pt idx="373">
                  <c:v>1.9840434084324267E-6</c:v>
                </c:pt>
                <c:pt idx="374">
                  <c:v>2.0604112082952903E-6</c:v>
                </c:pt>
                <c:pt idx="375">
                  <c:v>2.1364020619643823E-6</c:v>
                </c:pt>
                <c:pt idx="376">
                  <c:v>2.2117469581458182E-6</c:v>
                </c:pt>
                <c:pt idx="377">
                  <c:v>2.2861691347774368E-6</c:v>
                </c:pt>
                <c:pt idx="378">
                  <c:v>2.3593856635471392E-6</c:v>
                </c:pt>
                <c:pt idx="379">
                  <c:v>2.4311091558388152E-6</c:v>
                </c:pt>
                <c:pt idx="380">
                  <c:v>2.5010495771848251E-6</c:v>
                </c:pt>
                <c:pt idx="381">
                  <c:v>2.5689161553643312E-6</c:v>
                </c:pt>
                <c:pt idx="382">
                  <c:v>2.6344193654783034E-6</c:v>
                </c:pt>
                <c:pt idx="383">
                  <c:v>2.6972729736892194E-6</c:v>
                </c:pt>
                <c:pt idx="384">
                  <c:v>2.7571961198714432E-6</c:v>
                </c:pt>
                <c:pt idx="385">
                  <c:v>2.8139154182107495E-6</c:v>
                </c:pt>
                <c:pt idx="386">
                  <c:v>2.8671670538455977E-6</c:v>
                </c:pt>
                <c:pt idx="387">
                  <c:v>2.916698852986444E-6</c:v>
                </c:pt>
                <c:pt idx="388">
                  <c:v>2.9622723036029583E-6</c:v>
                </c:pt>
                <c:pt idx="389">
                  <c:v>3.0036645037482437E-6</c:v>
                </c:pt>
                <c:pt idx="390">
                  <c:v>3.0406700149055983E-6</c:v>
                </c:pt>
                <c:pt idx="391">
                  <c:v>3.0731025984009534E-6</c:v>
                </c:pt>
                <c:pt idx="392">
                  <c:v>3.1007968139208051E-6</c:v>
                </c:pt>
                <c:pt idx="393">
                  <c:v>3.1236094605040283E-6</c:v>
                </c:pt>
                <c:pt idx="394">
                  <c:v>3.1414208420199384E-6</c:v>
                </c:pt>
                <c:pt idx="395">
                  <c:v>3.1541358410853668E-6</c:v>
                </c:pt>
                <c:pt idx="396">
                  <c:v>3.1616847875812308E-6</c:v>
                </c:pt>
                <c:pt idx="397">
                  <c:v>3.1640241103721411E-6</c:v>
                </c:pt>
                <c:pt idx="398">
                  <c:v>3.161136763473794E-6</c:v>
                </c:pt>
                <c:pt idx="399">
                  <c:v>3.1530324207087235E-6</c:v>
                </c:pt>
                <c:pt idx="400">
                  <c:v>3.1397474357972126E-6</c:v>
                </c:pt>
                <c:pt idx="401">
                  <c:v>3.1213445677978501E-6</c:v>
                </c:pt>
                <c:pt idx="402">
                  <c:v>3.0979124747918587E-6</c:v>
                </c:pt>
                <c:pt idx="403">
                  <c:v>3.069564981647149E-6</c:v>
                </c:pt>
                <c:pt idx="404">
                  <c:v>3.0364401305516581E-6</c:v>
                </c:pt>
                <c:pt idx="405">
                  <c:v>2.9986990257238976E-6</c:v>
                </c:pt>
                <c:pt idx="406">
                  <c:v>2.956524486245278E-6</c:v>
                </c:pt>
                <c:pt idx="407">
                  <c:v>2.9101195232737527E-6</c:v>
                </c:pt>
                <c:pt idx="408">
                  <c:v>2.8597056599515558E-6</c:v>
                </c:pt>
                <c:pt idx="409">
                  <c:v>2.8055211140824856E-6</c:v>
                </c:pt>
                <c:pt idx="410">
                  <c:v>2.7478188650979881E-6</c:v>
                </c:pt>
                <c:pt idx="411">
                  <c:v>2.6868646279368521E-6</c:v>
                </c:pt>
                <c:pt idx="412">
                  <c:v>2.6229347572185401E-6</c:v>
                </c:pt>
                <c:pt idx="413">
                  <c:v>2.5563141054873826E-6</c:v>
                </c:pt>
                <c:pt idx="414">
                  <c:v>2.4872938593464426E-6</c:v>
                </c:pt>
                <c:pt idx="415">
                  <c:v>2.4161693769911252E-6</c:v>
                </c:pt>
                <c:pt idx="416">
                  <c:v>2.3432380500101394E-6</c:v>
                </c:pt>
                <c:pt idx="417">
                  <c:v>2.2687972113618605E-6</c:v>
                </c:pt>
                <c:pt idx="418">
                  <c:v>2.1931421101857559E-6</c:v>
                </c:pt>
                <c:pt idx="419">
                  <c:v>2.1165639725988391E-6</c:v>
                </c:pt>
                <c:pt idx="420">
                  <c:v>2.0393481658910412E-6</c:v>
                </c:pt>
                <c:pt idx="421">
                  <c:v>1.9617724816079465E-6</c:v>
                </c:pt>
                <c:pt idx="422">
                  <c:v>1.8841055509325612E-6</c:v>
                </c:pt>
                <c:pt idx="423">
                  <c:v>1.8066054035913836E-6</c:v>
                </c:pt>
                <c:pt idx="424">
                  <c:v>1.7295181792530355E-6</c:v>
                </c:pt>
                <c:pt idx="425">
                  <c:v>1.6530769981022609E-6</c:v>
                </c:pt>
                <c:pt idx="426">
                  <c:v>1.5775009949954462E-6</c:v>
                </c:pt>
                <c:pt idx="427">
                  <c:v>1.5029945193733888E-6</c:v>
                </c:pt>
                <c:pt idx="428">
                  <c:v>1.4297465009582117E-6</c:v>
                </c:pt>
                <c:pt idx="429">
                  <c:v>1.3579299792222277E-6</c:v>
                </c:pt>
                <c:pt idx="430">
                  <c:v>1.287701792717804E-6</c:v>
                </c:pt>
                <c:pt idx="431">
                  <c:v>1.2192024226189304E-6</c:v>
                </c:pt>
                <c:pt idx="432">
                  <c:v>1.1525559832680568E-6</c:v>
                </c:pt>
                <c:pt idx="433">
                  <c:v>1.0878703511592061E-6</c:v>
                </c:pt>
                <c:pt idx="434">
                  <c:v>1.0252374226306405E-6</c:v>
                </c:pt>
                <c:pt idx="435">
                  <c:v>9.647334895927294E-7</c:v>
                </c:pt>
                <c:pt idx="436">
                  <c:v>9.0641972188106322E-7</c:v>
                </c:pt>
                <c:pt idx="437">
                  <c:v>8.5034274429792148E-7</c:v>
                </c:pt>
                <c:pt idx="438">
                  <c:v>7.9653529608155174E-7</c:v>
                </c:pt>
                <c:pt idx="439">
                  <c:v>7.4501696041239924E-7</c:v>
                </c:pt>
                <c:pt idx="440">
                  <c:v>6.9579495161690677E-7</c:v>
                </c:pt>
                <c:pt idx="441">
                  <c:v>6.4886494794766062E-7</c:v>
                </c:pt>
                <c:pt idx="442">
                  <c:v>6.0421195818777465E-7</c:v>
                </c:pt>
                <c:pt idx="443">
                  <c:v>5.6181121082971808E-7</c:v>
                </c:pt>
                <c:pt idx="444">
                  <c:v>5.2162905519514459E-7</c:v>
                </c:pt>
                <c:pt idx="445">
                  <c:v>4.8362386457468621E-7</c:v>
                </c:pt>
                <c:pt idx="446">
                  <c:v>4.4774693225489414E-7</c:v>
                </c:pt>
                <c:pt idx="447">
                  <c:v>4.1394335214559824E-7</c:v>
                </c:pt>
                <c:pt idx="448">
                  <c:v>3.8215287660633019E-7</c:v>
                </c:pt>
                <c:pt idx="449">
                  <c:v>3.5231074497814238E-7</c:v>
                </c:pt>
                <c:pt idx="450">
                  <c:v>3.2434847724111825E-7</c:v>
                </c:pt>
                <c:pt idx="451">
                  <c:v>2.9819462812346755E-7</c:v>
                </c:pt>
                <c:pt idx="452">
                  <c:v>2.7377549787241665E-7</c:v>
                </c:pt>
                <c:pt idx="453">
                  <c:v>2.5101579674853819E-7</c:v>
                </c:pt>
                <c:pt idx="454">
                  <c:v>2.2983926111418157E-7</c:v>
                </c:pt>
                <c:pt idx="455">
                  <c:v>2.1016921974500845E-7</c:v>
                </c:pt>
                <c:pt idx="456">
                  <c:v>1.9192910969514765E-7</c:v>
                </c:pt>
                <c:pt idx="457">
                  <c:v>1.7504294168632677E-7</c:v>
                </c:pt>
                <c:pt idx="458">
                  <c:v>1.5943571556628091E-7</c:v>
                </c:pt>
                <c:pt idx="459">
                  <c:v>1.4503378689009832E-7</c:v>
                </c:pt>
                <c:pt idx="460">
                  <c:v>1.3176518611943006E-7</c:v>
                </c:pt>
                <c:pt idx="461">
                  <c:v>1.195598923093034E-7</c:v>
                </c:pt>
                <c:pt idx="462">
                  <c:v>1.0835006346254802E-7</c:v>
                </c:pt>
                <c:pt idx="463">
                  <c:v>9.8070225979922609E-8</c:v>
                </c:pt>
                <c:pt idx="464">
                  <c:v>8.8657425823493813E-8</c:v>
                </c:pt>
                <c:pt idx="465">
                  <c:v>8.0051344145423815E-8</c:v>
                </c:pt>
                <c:pt idx="466">
                  <c:v>7.2194380218450505E-8</c:v>
                </c:pt>
                <c:pt idx="467">
                  <c:v>6.5031704542728256E-8</c:v>
                </c:pt>
                <c:pt idx="468">
                  <c:v>5.8511285001087023E-8</c:v>
                </c:pt>
                <c:pt idx="469">
                  <c:v>5.258388889616015E-8</c:v>
                </c:pt>
                <c:pt idx="470">
                  <c:v>4.720306363309493E-8</c:v>
                </c:pt>
                <c:pt idx="471">
                  <c:v>4.2325098715499532E-8</c:v>
                </c:pt>
                <c:pt idx="472">
                  <c:v>3.7908971604529988E-8</c:v>
                </c:pt>
                <c:pt idx="473">
                  <c:v>3.3916279855940918E-8</c:v>
                </c:pt>
                <c:pt idx="474">
                  <c:v>3.0311161801615769E-8</c:v>
                </c:pt>
                <c:pt idx="475">
                  <c:v>2.7060207884343258E-8</c:v>
                </c:pt>
                <c:pt idx="476">
                  <c:v>2.4132364590855857E-8</c:v>
                </c:pt>
                <c:pt idx="477">
                  <c:v>2.1498832761429494E-8</c:v>
                </c:pt>
                <c:pt idx="478">
                  <c:v>1.9132961887432208E-8</c:v>
                </c:pt>
                <c:pt idx="479">
                  <c:v>1.7010141843413628E-8</c:v>
                </c:pt>
                <c:pt idx="480">
                  <c:v>1.5107693339650147E-8</c:v>
                </c:pt>
                <c:pt idx="481">
                  <c:v>1.3404758226191237E-8</c:v>
                </c:pt>
                <c:pt idx="482">
                  <c:v>1.1882190631694768E-8</c:v>
                </c:pt>
                <c:pt idx="483">
                  <c:v>1.0522449780772954E-8</c:v>
                </c:pt>
                <c:pt idx="484">
                  <c:v>9.3094952029457753E-9</c:v>
                </c:pt>
                <c:pt idx="485">
                  <c:v>8.2286849251489567E-9</c:v>
                </c:pt>
                <c:pt idx="486">
                  <c:v>7.2666771283829188E-9</c:v>
                </c:pt>
                <c:pt idx="487">
                  <c:v>6.4113356476128161E-9</c:v>
                </c:pt>
                <c:pt idx="488">
                  <c:v>5.6516396024053048E-9</c:v>
                </c:pt>
                <c:pt idx="489">
                  <c:v>4.9775973638057584E-9</c:v>
                </c:pt>
                <c:pt idx="490">
                  <c:v>4.3801649903181171E-9</c:v>
                </c:pt>
                <c:pt idx="491">
                  <c:v>3.8511692021425254E-9</c:v>
                </c:pt>
                <c:pt idx="492">
                  <c:v>3.3832349075761026E-9</c:v>
                </c:pt>
                <c:pt idx="493">
                  <c:v>2.9697172481627313E-9</c:v>
                </c:pt>
                <c:pt idx="494">
                  <c:v>2.6046380892147853E-9</c:v>
                </c:pt>
                <c:pt idx="495">
                  <c:v>2.2826268491446814E-9</c:v>
                </c:pt>
                <c:pt idx="496">
                  <c:v>1.998865534029951E-9</c:v>
                </c:pt>
                <c:pt idx="497">
                  <c:v>1.7490378224064007E-9</c:v>
                </c:pt>
                <c:pt idx="498">
                  <c:v>1.5292820288483225E-9</c:v>
                </c:pt>
                <c:pt idx="499">
                  <c:v>1.3361477628995443E-9</c:v>
                </c:pt>
                <c:pt idx="500">
                  <c:v>1.1665560918140889E-9</c:v>
                </c:pt>
                <c:pt idx="501">
                  <c:v>1.0177630108536646E-9</c:v>
                </c:pt>
                <c:pt idx="502">
                  <c:v>8.8732602308715336E-10</c:v>
                </c:pt>
                <c:pt idx="503">
                  <c:v>7.7307363130907633E-10</c:v>
                </c:pt>
                <c:pt idx="504">
                  <c:v>6.7307754743543917E-10</c:v>
                </c:pt>
                <c:pt idx="505">
                  <c:v>5.8562742917776955E-10</c:v>
                </c:pt>
                <c:pt idx="506">
                  <c:v>5.0920795961174257E-10</c:v>
                </c:pt>
                <c:pt idx="507">
                  <c:v>4.4247809214751289E-10</c:v>
                </c:pt>
                <c:pt idx="508">
                  <c:v>3.8425229111637506E-10</c:v>
                </c:pt>
                <c:pt idx="509">
                  <c:v>3.3348360648156826E-10</c:v>
                </c:pt>
                <c:pt idx="510">
                  <c:v>2.8924842986327924E-10</c:v>
                </c:pt>
                <c:pt idx="511">
                  <c:v>2.5073278796776767E-10</c:v>
                </c:pt>
                <c:pt idx="512">
                  <c:v>2.1722003848412398E-10</c:v>
                </c:pt>
                <c:pt idx="513">
                  <c:v>1.8807984243890907E-10</c:v>
                </c:pt>
                <c:pt idx="514">
                  <c:v>1.627582957788342E-10</c:v>
                </c:pt>
                <c:pt idx="515">
                  <c:v>1.4076911150507879E-10</c:v>
                </c:pt>
                <c:pt idx="516">
                  <c:v>1.2168575194593248E-10</c:v>
                </c:pt>
                <c:pt idx="517">
                  <c:v>1.051344186788053E-10</c:v>
                </c:pt>
                <c:pt idx="518">
                  <c:v>9.0787815163182937E-11</c:v>
                </c:pt>
                <c:pt idx="519">
                  <c:v>7.8359604297638783E-11</c:v>
                </c:pt>
                <c:pt idx="520">
                  <c:v>6.759948985268462E-11</c:v>
                </c:pt>
                <c:pt idx="521">
                  <c:v>5.828885704960909E-11</c:v>
                </c:pt>
                <c:pt idx="522">
                  <c:v>5.023691345374506E-11</c:v>
                </c:pt>
                <c:pt idx="523">
                  <c:v>4.3277276834142943E-11</c:v>
                </c:pt>
                <c:pt idx="524">
                  <c:v>3.7264961720290495E-11</c:v>
                </c:pt>
                <c:pt idx="525">
                  <c:v>3.2073721073334655E-11</c:v>
                </c:pt>
                <c:pt idx="526">
                  <c:v>2.7593703800460938E-11</c:v>
                </c:pt>
                <c:pt idx="527">
                  <c:v>2.3729392794057502E-11</c:v>
                </c:pt>
                <c:pt idx="528">
                  <c:v>2.0397791791555795E-11</c:v>
                </c:pt>
                <c:pt idx="529">
                  <c:v>1.7526832646971119E-11</c:v>
                </c:pt>
                <c:pt idx="530">
                  <c:v>1.5053977601689889E-11</c:v>
                </c:pt>
                <c:pt idx="531">
                  <c:v>1.2924993860156408E-11</c:v>
                </c:pt>
                <c:pt idx="532">
                  <c:v>1.1092880235859655E-11</c:v>
                </c:pt>
                <c:pt idx="533">
                  <c:v>9.5169278540001181E-12</c:v>
                </c:pt>
                <c:pt idx="534">
                  <c:v>8.1618988982667868E-12</c:v>
                </c:pt>
                <c:pt idx="535">
                  <c:v>6.9973091883765462E-12</c:v>
                </c:pt>
                <c:pt idx="536">
                  <c:v>5.996801989618204E-12</c:v>
                </c:pt>
                <c:pt idx="537">
                  <c:v>5.1376019018079645E-12</c:v>
                </c:pt>
                <c:pt idx="538">
                  <c:v>4.400038968056804E-12</c:v>
                </c:pt>
                <c:pt idx="539">
                  <c:v>3.7671342978106359E-12</c:v>
                </c:pt>
                <c:pt idx="540">
                  <c:v>3.2242395269290398E-12</c:v>
                </c:pt>
                <c:pt idx="541">
                  <c:v>2.7587233524218359E-12</c:v>
                </c:pt>
                <c:pt idx="542">
                  <c:v>2.3596991920743513E-12</c:v>
                </c:pt>
                <c:pt idx="543">
                  <c:v>2.017788739962493E-12</c:v>
                </c:pt>
                <c:pt idx="544">
                  <c:v>1.7249168272329719E-12</c:v>
                </c:pt>
                <c:pt idx="545">
                  <c:v>1.4741335621634301E-12</c:v>
                </c:pt>
                <c:pt idx="546">
                  <c:v>1.2594602222582736E-12</c:v>
                </c:pt>
                <c:pt idx="547">
                  <c:v>1.0757558111257988E-12</c:v>
                </c:pt>
                <c:pt idx="548">
                  <c:v>9.18601580546116E-13</c:v>
                </c:pt>
                <c:pt idx="549">
                  <c:v>7.8420115930190265E-13</c:v>
                </c:pt>
                <c:pt idx="550">
                  <c:v>6.6929423023655894E-13</c:v>
                </c:pt>
                <c:pt idx="551">
                  <c:v>5.7108196031932416E-13</c:v>
                </c:pt>
                <c:pt idx="552">
                  <c:v>4.8716261945296904E-13</c:v>
                </c:pt>
                <c:pt idx="553">
                  <c:v>4.1547602611915254E-13</c:v>
                </c:pt>
                <c:pt idx="554">
                  <c:v>3.5425563507969674E-13</c:v>
                </c:pt>
                <c:pt idx="555">
                  <c:v>3.0198723723639573E-13</c:v>
                </c:pt>
                <c:pt idx="556">
                  <c:v>2.5737337706141933E-13</c:v>
                </c:pt>
                <c:pt idx="557">
                  <c:v>2.1930271110837223E-13</c:v>
                </c:pt>
                <c:pt idx="558">
                  <c:v>1.8682363410031074E-13</c:v>
                </c:pt>
                <c:pt idx="559">
                  <c:v>1.5912158882004643E-13</c:v>
                </c:pt>
                <c:pt idx="560">
                  <c:v>1.354995541424449E-13</c:v>
                </c:pt>
                <c:pt idx="561">
                  <c:v>1.1536127349524992E-13</c:v>
                </c:pt>
                <c:pt idx="562">
                  <c:v>9.8196845091421186E-14</c:v>
                </c:pt>
                <c:pt idx="563">
                  <c:v>8.3570346567066557E-14</c:v>
                </c:pt>
                <c:pt idx="564">
                  <c:v>7.1109211170994546E-14</c:v>
                </c:pt>
                <c:pt idx="565">
                  <c:v>6.0495111254842384E-14</c:v>
                </c:pt>
                <c:pt idx="566">
                  <c:v>5.1456138266182701E-14</c:v>
                </c:pt>
                <c:pt idx="567">
                  <c:v>4.3760097419343187E-14</c:v>
                </c:pt>
                <c:pt idx="568">
                  <c:v>3.7208760292807872E-14</c:v>
                </c:pt>
                <c:pt idx="569">
                  <c:v>3.1632940289058427E-14</c:v>
                </c:pt>
                <c:pt idx="570">
                  <c:v>2.6888274638541918E-14</c:v>
                </c:pt>
                <c:pt idx="571">
                  <c:v>2.285161282265153E-14</c:v>
                </c:pt>
                <c:pt idx="572">
                  <c:v>1.9417925271354995E-14</c:v>
                </c:pt>
                <c:pt idx="573">
                  <c:v>1.649765825408634E-14</c:v>
                </c:pt>
                <c:pt idx="574">
                  <c:v>1.4014471285478718E-14</c:v>
                </c:pt>
                <c:pt idx="575">
                  <c:v>1.1903302333961248E-14</c:v>
                </c:pt>
                <c:pt idx="576">
                  <c:v>1.01087138452717E-14</c:v>
                </c:pt>
                <c:pt idx="577">
                  <c:v>8.5834792437539442E-15</c:v>
                </c:pt>
                <c:pt idx="578">
                  <c:v>7.2873752976874138E-15</c:v>
                </c:pt>
                <c:pt idx="579">
                  <c:v>6.1861506582401772E-15</c:v>
                </c:pt>
                <c:pt idx="580">
                  <c:v>5.2506451144713531E-15</c:v>
                </c:pt>
                <c:pt idx="581">
                  <c:v>4.4560377445199775E-15</c:v>
                </c:pt>
                <c:pt idx="582">
                  <c:v>3.7812052678961023E-15</c:v>
                </c:pt>
                <c:pt idx="583">
                  <c:v>3.2081745868234656E-15</c:v>
                </c:pt>
                <c:pt idx="584">
                  <c:v>2.7216558073886327E-15</c:v>
                </c:pt>
                <c:pt idx="585">
                  <c:v>2.3086440068416112E-15</c:v>
                </c:pt>
                <c:pt idx="586">
                  <c:v>1.9580797076463618E-15</c:v>
                </c:pt>
                <c:pt idx="587">
                  <c:v>1.660559471287106E-15</c:v>
                </c:pt>
                <c:pt idx="588">
                  <c:v>1.4080892694079282E-15</c:v>
                </c:pt>
                <c:pt idx="589">
                  <c:v>1.1938743560184311E-15</c:v>
                </c:pt>
                <c:pt idx="590">
                  <c:v>1.0121402774259345E-15</c:v>
                </c:pt>
                <c:pt idx="591">
                  <c:v>8.5798043804496997E-16</c:v>
                </c:pt>
                <c:pt idx="592">
                  <c:v>7.2722630896159089E-16</c:v>
                </c:pt>
                <c:pt idx="593">
                  <c:v>6.1633693819044226E-16</c:v>
                </c:pt>
                <c:pt idx="594">
                  <c:v>5.2230491076160638E-16</c:v>
                </c:pt>
                <c:pt idx="595">
                  <c:v>4.4257632499083137E-16</c:v>
                </c:pt>
                <c:pt idx="596">
                  <c:v>3.749827087063355E-16</c:v>
                </c:pt>
                <c:pt idx="597">
                  <c:v>3.176831045803823E-16</c:v>
                </c:pt>
                <c:pt idx="598">
                  <c:v>2.6911481454080724E-16</c:v>
                </c:pt>
                <c:pt idx="599">
                  <c:v>2.2795151595879575E-16</c:v>
                </c:pt>
                <c:pt idx="600">
                  <c:v>1.93067652432922E-16</c:v>
                </c:pt>
                <c:pt idx="601">
                  <c:v>1.6350816425091628E-16</c:v>
                </c:pt>
                <c:pt idx="602">
                  <c:v>1.384627620470115E-16</c:v>
                </c:pt>
                <c:pt idx="603">
                  <c:v>1.172440652625029E-16</c:v>
                </c:pt>
                <c:pt idx="604">
                  <c:v>9.9269027716778544E-17</c:v>
                </c:pt>
                <c:pt idx="605">
                  <c:v>8.4043158453113016E-17</c:v>
                </c:pt>
                <c:pt idx="606">
                  <c:v>7.114711920095391E-17</c:v>
                </c:pt>
                <c:pt idx="607">
                  <c:v>6.0225342160703771E-17</c:v>
                </c:pt>
                <c:pt idx="608">
                  <c:v>5.0976364945802007E-17</c:v>
                </c:pt>
                <c:pt idx="609">
                  <c:v>4.3144624774294504E-17</c:v>
                </c:pt>
                <c:pt idx="610">
                  <c:v>3.651349254232359E-17</c:v>
                </c:pt>
                <c:pt idx="611">
                  <c:v>3.0899360227011044E-17</c:v>
                </c:pt>
                <c:pt idx="612">
                  <c:v>2.6146622999527505E-17</c:v>
                </c:pt>
                <c:pt idx="613">
                  <c:v>2.2123421203814095E-17</c:v>
                </c:pt>
                <c:pt idx="614">
                  <c:v>1.8718027585687359E-17</c:v>
                </c:pt>
                <c:pt idx="615">
                  <c:v>1.583578236850619E-17</c:v>
                </c:pt>
                <c:pt idx="616">
                  <c:v>1.3396493410625112E-17</c:v>
                </c:pt>
                <c:pt idx="617">
                  <c:v>1.1332231130485141E-17</c:v>
                </c:pt>
                <c:pt idx="618">
                  <c:v>9.5854584714546658E-18</c:v>
                </c:pt>
                <c:pt idx="619">
                  <c:v>8.1074451785989996E-18</c:v>
                </c:pt>
                <c:pt idx="620">
                  <c:v>6.8569233098890972E-18</c:v>
                </c:pt>
                <c:pt idx="621">
                  <c:v>5.7989474058311885E-18</c:v>
                </c:pt>
                <c:pt idx="622">
                  <c:v>4.9039282663245599E-18</c:v>
                </c:pt>
                <c:pt idx="623">
                  <c:v>4.1468139772610485E-18</c:v>
                </c:pt>
                <c:pt idx="624">
                  <c:v>3.5063958166006684E-18</c:v>
                </c:pt>
                <c:pt idx="625">
                  <c:v>2.9647200562194678E-18</c:v>
                </c:pt>
                <c:pt idx="626">
                  <c:v>2.5065895516636458E-18</c:v>
                </c:pt>
                <c:pt idx="627">
                  <c:v>2.1191414539249991E-18</c:v>
                </c:pt>
                <c:pt idx="628">
                  <c:v>1.7914894504391482E-18</c:v>
                </c:pt>
                <c:pt idx="629">
                  <c:v>1.5144207023377241E-18</c:v>
                </c:pt>
                <c:pt idx="630">
                  <c:v>1.2801391386254372E-18</c:v>
                </c:pt>
                <c:pt idx="631">
                  <c:v>1.0820480354844852E-18</c:v>
                </c:pt>
                <c:pt idx="632">
                  <c:v>9.1456588449670897E-19</c:v>
                </c:pt>
                <c:pt idx="633">
                  <c:v>7.7297046608619629E-19</c:v>
                </c:pt>
                <c:pt idx="634">
                  <c:v>6.5326681860037024E-19</c:v>
                </c:pt>
                <c:pt idx="635">
                  <c:v>5.5207545007994597E-19</c:v>
                </c:pt>
                <c:pt idx="636">
                  <c:v>4.6653769664589173E-19</c:v>
                </c:pt>
                <c:pt idx="637">
                  <c:v>3.9423560370551918E-19</c:v>
                </c:pt>
                <c:pt idx="638">
                  <c:v>3.3312410659662374E-19</c:v>
                </c:pt>
                <c:pt idx="639">
                  <c:v>2.8147362681972129E-19</c:v>
                </c:pt>
                <c:pt idx="640">
                  <c:v>2.3782148780167005E-19</c:v>
                </c:pt>
                <c:pt idx="641">
                  <c:v>2.0093079811247796E-19</c:v>
                </c:pt>
                <c:pt idx="642">
                  <c:v>1.697556568334804E-19</c:v>
                </c:pt>
                <c:pt idx="643">
                  <c:v>1.4341171100946668E-19</c:v>
                </c:pt>
                <c:pt idx="644">
                  <c:v>1.2115124362618699E-19</c:v>
                </c:pt>
                <c:pt idx="645">
                  <c:v>1.0234209636971269E-19</c:v>
                </c:pt>
                <c:pt idx="646">
                  <c:v>8.6449838036294315E-20</c:v>
                </c:pt>
                <c:pt idx="647">
                  <c:v>7.3022679764799239E-20</c:v>
                </c:pt>
                <c:pt idx="648">
                  <c:v>6.1678714769073149E-20</c:v>
                </c:pt>
                <c:pt idx="649">
                  <c:v>5.2095125040485556E-20</c:v>
                </c:pt>
                <c:pt idx="650">
                  <c:v>4.3999052369394833E-20</c:v>
                </c:pt>
                <c:pt idx="651">
                  <c:v>3.7159877508949485E-20</c:v>
                </c:pt>
                <c:pt idx="652">
                  <c:v>3.1382690656789915E-20</c:v>
                </c:pt>
                <c:pt idx="653">
                  <c:v>2.6502769752525896E-20</c:v>
                </c:pt>
                <c:pt idx="654">
                  <c:v>2.2380911300236811E-20</c:v>
                </c:pt>
                <c:pt idx="655">
                  <c:v>1.8899482308620378E-20</c:v>
                </c:pt>
                <c:pt idx="656">
                  <c:v>1.595908215917502E-20</c:v>
                </c:pt>
                <c:pt idx="657">
                  <c:v>1.3475720326915284E-20</c:v>
                </c:pt>
                <c:pt idx="658">
                  <c:v>1.1378430362085571E-20</c:v>
                </c:pt>
                <c:pt idx="659">
                  <c:v>9.6072528008475738E-21</c:v>
                </c:pt>
                <c:pt idx="660">
                  <c:v>8.1115300470691917E-21</c:v>
                </c:pt>
                <c:pt idx="661">
                  <c:v>6.8484650461978715E-21</c:v>
                </c:pt>
                <c:pt idx="662">
                  <c:v>5.7819030006537393E-21</c:v>
                </c:pt>
                <c:pt idx="663">
                  <c:v>4.8813016610134764E-21</c:v>
                </c:pt>
                <c:pt idx="664">
                  <c:v>4.1208610449933969E-21</c:v>
                </c:pt>
                <c:pt idx="665">
                  <c:v>3.4787879343541558E-21</c:v>
                </c:pt>
                <c:pt idx="666">
                  <c:v>2.9366743055301451E-21</c:v>
                </c:pt>
                <c:pt idx="667">
                  <c:v>2.4789720685361141E-21</c:v>
                </c:pt>
                <c:pt idx="668">
                  <c:v>2.0925492113475844E-21</c:v>
                </c:pt>
                <c:pt idx="669">
                  <c:v>1.7663147497840959E-21</c:v>
                </c:pt>
                <c:pt idx="670">
                  <c:v>1.4909018302832651E-21</c:v>
                </c:pt>
                <c:pt idx="671">
                  <c:v>1.2583999800443903E-21</c:v>
                </c:pt>
                <c:pt idx="672">
                  <c:v>1.0621288916089483E-21</c:v>
                </c:pt>
                <c:pt idx="673">
                  <c:v>8.9644730666378252E-22</c:v>
                </c:pt>
                <c:pt idx="674">
                  <c:v>7.5659155956390877E-22</c:v>
                </c:pt>
                <c:pt idx="675">
                  <c:v>6.3853918301024457E-22</c:v>
                </c:pt>
                <c:pt idx="676">
                  <c:v>5.3889369001360601E-22</c:v>
                </c:pt>
                <c:pt idx="677">
                  <c:v>4.5478724809521561E-22</c:v>
                </c:pt>
                <c:pt idx="678">
                  <c:v>3.8379847028991224E-22</c:v>
                </c:pt>
                <c:pt idx="679">
                  <c:v>3.2388297755440592E-22</c:v>
                </c:pt>
                <c:pt idx="680">
                  <c:v>2.7331475062825756E-22</c:v>
                </c:pt>
                <c:pt idx="681">
                  <c:v>2.3063659661142753E-22</c:v>
                </c:pt>
                <c:pt idx="682">
                  <c:v>1.9461831518019567E-22</c:v>
                </c:pt>
                <c:pt idx="683">
                  <c:v>1.6422136880223439E-22</c:v>
                </c:pt>
                <c:pt idx="684">
                  <c:v>1.3856904677494244E-22</c:v>
                </c:pt>
                <c:pt idx="685">
                  <c:v>1.1692126963550879E-22</c:v>
                </c:pt>
                <c:pt idx="686">
                  <c:v>9.8653312931852089E-23</c:v>
                </c:pt>
                <c:pt idx="687">
                  <c:v>8.3237841247292921E-23</c:v>
                </c:pt>
                <c:pt idx="688">
                  <c:v>7.0229737944111982E-23</c:v>
                </c:pt>
                <c:pt idx="689">
                  <c:v>5.9253295981194185E-23</c:v>
                </c:pt>
                <c:pt idx="690">
                  <c:v>4.9991402666753241E-23</c:v>
                </c:pt>
                <c:pt idx="691">
                  <c:v>4.217640824023488E-23</c:v>
                </c:pt>
                <c:pt idx="692">
                  <c:v>3.5582416361816698E-23</c:v>
                </c:pt>
                <c:pt idx="693">
                  <c:v>3.0018775284587287E-23</c:v>
                </c:pt>
                <c:pt idx="694">
                  <c:v>2.5324582878724017E-23</c:v>
                </c:pt>
                <c:pt idx="695">
                  <c:v>2.1364047716385261E-23</c:v>
                </c:pt>
                <c:pt idx="696">
                  <c:v>1.8022572961690082E-23</c:v>
                </c:pt>
                <c:pt idx="697">
                  <c:v>1.520345053805168E-23</c:v>
                </c:pt>
                <c:pt idx="698">
                  <c:v>1.2825070542823339E-23</c:v>
                </c:pt>
                <c:pt idx="699">
                  <c:v>1.0818565668235671E-23</c:v>
                </c:pt>
                <c:pt idx="700">
                  <c:v>9.1258228707996044E-24</c:v>
                </c:pt>
                <c:pt idx="701">
                  <c:v>7.6978050774560743E-24</c:v>
                </c:pt>
                <c:pt idx="702">
                  <c:v>6.4931346218337555E-24</c:v>
                </c:pt>
                <c:pt idx="703">
                  <c:v>5.4768976238300152E-24</c:v>
                </c:pt>
                <c:pt idx="704">
                  <c:v>4.6196348779590163E-24</c:v>
                </c:pt>
                <c:pt idx="705">
                  <c:v>3.896490176786069E-24</c:v>
                </c:pt>
                <c:pt idx="706">
                  <c:v>3.2864915254641502E-24</c:v>
                </c:pt>
                <c:pt idx="707">
                  <c:v>2.7719445263449122E-24</c:v>
                </c:pt>
                <c:pt idx="708">
                  <c:v>2.3379204409873931E-24</c:v>
                </c:pt>
                <c:pt idx="709">
                  <c:v>1.9718241631615206E-24</c:v>
                </c:pt>
                <c:pt idx="710">
                  <c:v>1.663029637386402E-24</c:v>
                </c:pt>
                <c:pt idx="711">
                  <c:v>1.4025722010304943E-24</c:v>
                </c:pt>
                <c:pt idx="712">
                  <c:v>1.1828889678770336E-24</c:v>
                </c:pt>
                <c:pt idx="713">
                  <c:v>9.9759975643949641E-25</c:v>
                </c:pt>
                <c:pt idx="714">
                  <c:v>8.4132223502842855E-25</c:v>
                </c:pt>
                <c:pt idx="715">
                  <c:v>7.0951594262708965E-25</c:v>
                </c:pt>
                <c:pt idx="716">
                  <c:v>5.9835067782744159E-25</c:v>
                </c:pt>
                <c:pt idx="717">
                  <c:v>5.0459545111495613E-25</c:v>
                </c:pt>
                <c:pt idx="718">
                  <c:v>4.2552478964560185E-25</c:v>
                </c:pt>
                <c:pt idx="719">
                  <c:v>3.5883968457071802E-25</c:v>
                </c:pt>
                <c:pt idx="720">
                  <c:v>3.0260089392068019E-25</c:v>
                </c:pt>
                <c:pt idx="721">
                  <c:v>2.5517267109442377E-25</c:v>
                </c:pt>
                <c:pt idx="722">
                  <c:v>2.1517529019627023E-25</c:v>
                </c:pt>
                <c:pt idx="723">
                  <c:v>1.8144499379920924E-25</c:v>
                </c:pt>
                <c:pt idx="724">
                  <c:v>1.5300020335326863E-25</c:v>
                </c:pt>
                <c:pt idx="725">
                  <c:v>1.2901301348845739E-25</c:v>
                </c:pt>
                <c:pt idx="726">
                  <c:v>1.0878514442811864E-25</c:v>
                </c:pt>
                <c:pt idx="727">
                  <c:v>9.1727655635711013E-26</c:v>
                </c:pt>
                <c:pt idx="728">
                  <c:v>7.7343832726572576E-26</c:v>
                </c:pt>
                <c:pt idx="729">
                  <c:v>6.5214751534644373E-26</c:v>
                </c:pt>
                <c:pt idx="730">
                  <c:v>5.4987100732246312E-26</c:v>
                </c:pt>
                <c:pt idx="731">
                  <c:v>4.6362909819207087E-26</c:v>
                </c:pt>
                <c:pt idx="732">
                  <c:v>3.9090884510339194E-26</c:v>
                </c:pt>
                <c:pt idx="733">
                  <c:v>3.2959098108088361E-26</c:v>
                </c:pt>
                <c:pt idx="734">
                  <c:v>2.778882675556517E-26</c:v>
                </c:pt>
                <c:pt idx="735">
                  <c:v>2.3429349628151967E-26</c:v>
                </c:pt>
                <c:pt idx="736">
                  <c:v>1.9753563100295035E-26</c:v>
                </c:pt>
                <c:pt idx="737">
                  <c:v>1.6654281521033765E-26</c:v>
                </c:pt>
                <c:pt idx="738">
                  <c:v>1.4041117164467864E-26</c:v>
                </c:pt>
                <c:pt idx="739">
                  <c:v>1.1837848714935896E-26</c:v>
                </c:pt>
                <c:pt idx="740">
                  <c:v>9.9802018252620145E-27</c:v>
                </c:pt>
                <c:pt idx="741">
                  <c:v>8.4139772526004022E-27</c:v>
                </c:pt>
                <c:pt idx="742">
                  <c:v>7.0934721599676111E-27</c:v>
                </c:pt>
                <c:pt idx="743">
                  <c:v>5.9801486912798894E-27</c:v>
                </c:pt>
                <c:pt idx="744">
                  <c:v>5.0415111035080306E-27</c:v>
                </c:pt>
                <c:pt idx="745">
                  <c:v>4.2501588021475349E-27</c:v>
                </c:pt>
                <c:pt idx="746">
                  <c:v>3.582987735055838E-27</c:v>
                </c:pt>
                <c:pt idx="747">
                  <c:v>3.0205169109427653E-27</c:v>
                </c:pt>
                <c:pt idx="748">
                  <c:v>2.5463204461552519E-27</c:v>
                </c:pt>
                <c:pt idx="749">
                  <c:v>2.1465486116947834E-27</c:v>
                </c:pt>
                <c:pt idx="750">
                  <c:v>1.8095239383087719E-27</c:v>
                </c:pt>
                <c:pt idx="751">
                  <c:v>1.5254006224737086E-27</c:v>
                </c:pt>
                <c:pt idx="752">
                  <c:v>1.2858773159586478E-27</c:v>
                </c:pt>
                <c:pt idx="753">
                  <c:v>1.0839549348450857E-27</c:v>
                </c:pt>
                <c:pt idx="754">
                  <c:v>9.137324341287046E-28</c:v>
                </c:pt>
                <c:pt idx="755">
                  <c:v>7.70234598645827E-28</c:v>
                </c:pt>
                <c:pt idx="756">
                  <c:v>6.4926683295932665E-28</c:v>
                </c:pt>
                <c:pt idx="757">
                  <c:v>5.472927187638706E-28</c:v>
                </c:pt>
                <c:pt idx="758">
                  <c:v>4.613307715348969E-28</c:v>
                </c:pt>
                <c:pt idx="759">
                  <c:v>3.8886738685765136E-28</c:v>
                </c:pt>
                <c:pt idx="760">
                  <c:v>3.2778343860908094E-28</c:v>
                </c:pt>
                <c:pt idx="761">
                  <c:v>2.762923889217809E-28</c:v>
                </c:pt>
                <c:pt idx="762">
                  <c:v>2.3288810506615552E-28</c:v>
                </c:pt>
                <c:pt idx="763">
                  <c:v>1.963008612724223E-28</c:v>
                </c:pt>
                <c:pt idx="764">
                  <c:v>1.6546024222966412E-28</c:v>
                </c:pt>
                <c:pt idx="765">
                  <c:v>1.3946386584740659E-28</c:v>
                </c:pt>
                <c:pt idx="766">
                  <c:v>1.1755101285672222E-28</c:v>
                </c:pt>
                <c:pt idx="767">
                  <c:v>9.9080393601995806E-29</c:v>
                </c:pt>
                <c:pt idx="768">
                  <c:v>8.3511403212176234E-29</c:v>
                </c:pt>
                <c:pt idx="769">
                  <c:v>7.0388317959028549E-29</c:v>
                </c:pt>
                <c:pt idx="770">
                  <c:v>5.9326971505007327E-29</c:v>
                </c:pt>
                <c:pt idx="771">
                  <c:v>5.0003521935402242E-29</c:v>
                </c:pt>
                <c:pt idx="772">
                  <c:v>4.2144981675967581E-29</c:v>
                </c:pt>
                <c:pt idx="773">
                  <c:v>3.5521233645953789E-29</c:v>
                </c:pt>
                <c:pt idx="774">
                  <c:v>2.9938300495255149E-29</c:v>
                </c:pt>
                <c:pt idx="775">
                  <c:v>2.5232670305741772E-29</c:v>
                </c:pt>
                <c:pt idx="776">
                  <c:v>2.1266512970775029E-29</c:v>
                </c:pt>
                <c:pt idx="777">
                  <c:v>1.7923647494931558E-29</c:v>
                </c:pt>
                <c:pt idx="778">
                  <c:v>1.5106142369001073E-29</c:v>
                </c:pt>
                <c:pt idx="779">
                  <c:v>1.2731449658263204E-29</c:v>
                </c:pt>
                <c:pt idx="780">
                  <c:v>1.0729989040391483E-29</c:v>
                </c:pt>
                <c:pt idx="781">
                  <c:v>9.0431111740652094E-30</c:v>
                </c:pt>
                <c:pt idx="782">
                  <c:v>7.6213808496148746E-30</c:v>
                </c:pt>
                <c:pt idx="783">
                  <c:v>6.4231297293524522E-30</c:v>
                </c:pt>
                <c:pt idx="784">
                  <c:v>5.4132363487189043E-30</c:v>
                </c:pt>
                <c:pt idx="785">
                  <c:v>4.5620977111849931E-30</c:v>
                </c:pt>
                <c:pt idx="786">
                  <c:v>3.844762387082208E-30</c:v>
                </c:pt>
                <c:pt idx="787">
                  <c:v>3.2401997634193911E-30</c:v>
                </c:pt>
                <c:pt idx="788">
                  <c:v>2.7306840673859584E-30</c:v>
                </c:pt>
                <c:pt idx="789">
                  <c:v>2.3012751393032784E-30</c:v>
                </c:pt>
                <c:pt idx="790">
                  <c:v>1.9393807638538987E-30</c:v>
                </c:pt>
                <c:pt idx="791">
                  <c:v>1.6343877517539319E-30</c:v>
                </c:pt>
                <c:pt idx="792">
                  <c:v>1.3773509742998649E-30</c:v>
                </c:pt>
                <c:pt idx="793">
                  <c:v>1.1607312493164997E-30</c:v>
                </c:pt>
                <c:pt idx="794">
                  <c:v>9.781744064131248E-31</c:v>
                </c:pt>
                <c:pt idx="795">
                  <c:v>8.2432506313307307E-31</c:v>
                </c:pt>
                <c:pt idx="796">
                  <c:v>6.9466965993799359E-31</c:v>
                </c:pt>
                <c:pt idx="797">
                  <c:v>5.8540415784287026E-31</c:v>
                </c:pt>
                <c:pt idx="798">
                  <c:v>4.9332252479557808E-31</c:v>
                </c:pt>
                <c:pt idx="799">
                  <c:v>4.1572274494099115E-31</c:v>
                </c:pt>
                <c:pt idx="800">
                  <c:v>3.5032759753098161E-31</c:v>
                </c:pt>
              </c:numCache>
            </c:numRef>
          </c:yVal>
          <c:smooth val="0"/>
          <c:extLst>
            <c:ext xmlns:c16="http://schemas.microsoft.com/office/drawing/2014/chart" uri="{C3380CC4-5D6E-409C-BE32-E72D297353CC}">
              <c16:uniqueId val="{00000009-1D62-4DE3-8E9D-34C68BC76380}"/>
            </c:ext>
          </c:extLst>
        </c:ser>
        <c:ser>
          <c:idx val="10"/>
          <c:order val="10"/>
          <c:tx>
            <c:strRef>
              <c:f>Calc!$N$6</c:f>
              <c:strCache>
                <c:ptCount val="1"/>
                <c:pt idx="0">
                  <c:v>11</c:v>
                </c:pt>
              </c:strCache>
            </c:strRef>
          </c:tx>
          <c:spPr>
            <a:ln w="28575">
              <a:noFill/>
            </a:ln>
          </c:spPr>
          <c:marker>
            <c:symbol val="square"/>
            <c:size val="3"/>
            <c:spPr>
              <a:solidFill>
                <a:srgbClr val="CCFFCC"/>
              </a:solidFill>
              <a:ln>
                <a:solidFill>
                  <a:srgbClr val="CCFFCC"/>
                </a:solidFill>
                <a:prstDash val="solid"/>
              </a:ln>
            </c:spPr>
          </c:marker>
          <c:dPt>
            <c:idx val="492"/>
            <c:bubble3D val="0"/>
            <c:spPr>
              <a:ln w="28575">
                <a:solidFill>
                  <a:schemeClr val="tx1">
                    <a:lumMod val="50000"/>
                    <a:lumOff val="50000"/>
                  </a:schemeClr>
                </a:solidFill>
              </a:ln>
            </c:spPr>
            <c:extLst>
              <c:ext xmlns:c16="http://schemas.microsoft.com/office/drawing/2014/chart" uri="{C3380CC4-5D6E-409C-BE32-E72D297353CC}">
                <c16:uniqueId val="{0000000B-1D62-4DE3-8E9D-34C68BC76380}"/>
              </c:ext>
            </c:extLst>
          </c:dPt>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N$7:$N$807</c:f>
              <c:numCache>
                <c:formatCode>000,000,000</c:formatCode>
                <c:ptCount val="801"/>
                <c:pt idx="0">
                  <c:v>1.9840883002161691E-29</c:v>
                </c:pt>
                <c:pt idx="1">
                  <c:v>2.348557128045411E-29</c:v>
                </c:pt>
                <c:pt idx="2">
                  <c:v>2.7799614352802238E-29</c:v>
                </c:pt>
                <c:pt idx="3">
                  <c:v>3.2905908987413465E-29</c:v>
                </c:pt>
                <c:pt idx="4">
                  <c:v>3.8949910096351415E-29</c:v>
                </c:pt>
                <c:pt idx="5">
                  <c:v>4.6103770112037935E-29</c:v>
                </c:pt>
                <c:pt idx="6">
                  <c:v>5.4571237682378724E-29</c:v>
                </c:pt>
                <c:pt idx="7">
                  <c:v>6.4593454922775983E-29</c:v>
                </c:pt>
                <c:pt idx="8">
                  <c:v>7.6455817985897436E-29</c:v>
                </c:pt>
                <c:pt idx="9">
                  <c:v>9.0496095909035503E-29</c:v>
                </c:pt>
                <c:pt idx="10">
                  <c:v>1.0711403843069972E-28</c:v>
                </c:pt>
                <c:pt idx="11">
                  <c:v>1.2678274574586356E-28</c:v>
                </c:pt>
                <c:pt idx="12">
                  <c:v>1.5006212319177317E-28</c:v>
                </c:pt>
                <c:pt idx="13">
                  <c:v>1.7761480304133521E-28</c:v>
                </c:pt>
                <c:pt idx="14">
                  <c:v>2.1022498560652115E-28</c:v>
                </c:pt>
                <c:pt idx="15">
                  <c:v>2.4882073470434358E-28</c:v>
                </c:pt>
                <c:pt idx="16">
                  <c:v>2.9450036056034392E-28</c:v>
                </c:pt>
                <c:pt idx="17">
                  <c:v>3.4856363919648117E-28</c:v>
                </c:pt>
                <c:pt idx="18">
                  <c:v>4.1254875455670663E-28</c:v>
                </c:pt>
                <c:pt idx="19">
                  <c:v>4.8827601195067569E-28</c:v>
                </c:pt>
                <c:pt idx="20">
                  <c:v>5.7789956344058351E-28</c:v>
                </c:pt>
                <c:pt idx="21">
                  <c:v>6.8396861299558203E-28</c:v>
                </c:pt>
                <c:pt idx="22">
                  <c:v>8.0949983802489956E-28</c:v>
                </c:pt>
                <c:pt idx="23">
                  <c:v>9.5806308188175468E-28</c:v>
                </c:pt>
                <c:pt idx="24">
                  <c:v>1.1338827481050648E-27</c:v>
                </c:pt>
                <c:pt idx="25">
                  <c:v>1.34195777217886E-27</c:v>
                </c:pt>
                <c:pt idx="26">
                  <c:v>1.5882035730288797E-27</c:v>
                </c:pt>
                <c:pt idx="27">
                  <c:v>1.8796200092341053E-27</c:v>
                </c:pt>
                <c:pt idx="28">
                  <c:v>2.2244901016196445E-27</c:v>
                </c:pt>
                <c:pt idx="29">
                  <c:v>2.632615155345536E-27</c:v>
                </c:pt>
                <c:pt idx="30">
                  <c:v>3.1155929454535596E-27</c:v>
                </c:pt>
                <c:pt idx="31">
                  <c:v>3.6871468492141423E-27</c:v>
                </c:pt>
                <c:pt idx="32">
                  <c:v>4.3635152509924312E-27</c:v>
                </c:pt>
                <c:pt idx="33">
                  <c:v>5.1639122514776084E-27</c:v>
                </c:pt>
                <c:pt idx="34">
                  <c:v>6.1110727311935645E-27</c:v>
                </c:pt>
                <c:pt idx="35">
                  <c:v>7.2318972052278582E-27</c:v>
                </c:pt>
                <c:pt idx="36">
                  <c:v>8.5582147294892862E-27</c:v>
                </c:pt>
                <c:pt idx="37">
                  <c:v>1.0127685458244327E-26</c:v>
                </c:pt>
                <c:pt idx="38">
                  <c:v>1.1984868402451818E-26</c:v>
                </c:pt>
                <c:pt idx="39">
                  <c:v>1.4182484609986265E-26</c:v>
                </c:pt>
                <c:pt idx="40">
                  <c:v>1.6782911514026423E-26</c:v>
                </c:pt>
                <c:pt idx="41">
                  <c:v>1.9859950730548506E-26</c:v>
                </c:pt>
                <c:pt idx="42">
                  <c:v>2.3500919314310233E-26</c:v>
                </c:pt>
                <c:pt idx="43">
                  <c:v>2.780912362287984E-26</c:v>
                </c:pt>
                <c:pt idx="44">
                  <c:v>3.2906785747795528E-26</c:v>
                </c:pt>
                <c:pt idx="45">
                  <c:v>3.8938505255578949E-26</c:v>
                </c:pt>
                <c:pt idx="46">
                  <c:v>4.6075354099191282E-26</c:v>
                </c:pt>
                <c:pt idx="47">
                  <c:v>5.4519720438674945E-26</c:v>
                </c:pt>
                <c:pt idx="48">
                  <c:v>6.4511038251551065E-26</c:v>
                </c:pt>
                <c:pt idx="49">
                  <c:v>7.63325646145725E-26</c:v>
                </c:pt>
                <c:pt idx="50">
                  <c:v>9.0319396102322838E-26</c:v>
                </c:pt>
                <c:pt idx="51">
                  <c:v>1.0686795070719736E-25</c:v>
                </c:pt>
                <c:pt idx="52">
                  <c:v>1.2644718302302273E-25</c:v>
                </c:pt>
                <c:pt idx="53">
                  <c:v>1.496118493140672E-25</c:v>
                </c:pt>
                <c:pt idx="54">
                  <c:v>1.7701819688699711E-25</c:v>
                </c:pt>
                <c:pt idx="55">
                  <c:v>2.0944252052072115E-25</c:v>
                </c:pt>
                <c:pt idx="56">
                  <c:v>2.4780310950876747E-25</c:v>
                </c:pt>
                <c:pt idx="57">
                  <c:v>2.9318620440178951E-25</c:v>
                </c:pt>
                <c:pt idx="58">
                  <c:v>3.4687669548785626E-25</c:v>
                </c:pt>
                <c:pt idx="59">
                  <c:v>4.1039442858769467E-25</c:v>
                </c:pt>
                <c:pt idx="60">
                  <c:v>4.855371416211158E-25</c:v>
                </c:pt>
                <c:pt idx="61">
                  <c:v>5.7443124205090049E-25</c:v>
                </c:pt>
                <c:pt idx="62">
                  <c:v>6.7959185596991438E-25</c:v>
                </c:pt>
                <c:pt idx="63">
                  <c:v>8.0399384045635525E-25</c:v>
                </c:pt>
                <c:pt idx="64">
                  <c:v>9.5115575919776453E-25</c:v>
                </c:pt>
                <c:pt idx="65">
                  <c:v>1.12523918592237E-24</c:v>
                </c:pt>
                <c:pt idx="66">
                  <c:v>1.3311661310949095E-24</c:v>
                </c:pt>
                <c:pt idx="67">
                  <c:v>1.5747578967085107E-24</c:v>
                </c:pt>
                <c:pt idx="68">
                  <c:v>1.8628992661014615E-24</c:v>
                </c:pt>
                <c:pt idx="69">
                  <c:v>2.2037326474120719E-24</c:v>
                </c:pt>
                <c:pt idx="70">
                  <c:v>2.6068876304745231E-24</c:v>
                </c:pt>
                <c:pt idx="71">
                  <c:v>3.0837524111991629E-24</c:v>
                </c:pt>
                <c:pt idx="72">
                  <c:v>3.6477947125825109E-24</c:v>
                </c:pt>
                <c:pt idx="73">
                  <c:v>4.3149412203216171E-24</c:v>
                </c:pt>
                <c:pt idx="74">
                  <c:v>5.1040261923876764E-24</c:v>
                </c:pt>
                <c:pt idx="75">
                  <c:v>6.0373218417179458E-24</c:v>
                </c:pt>
                <c:pt idx="76">
                  <c:v>7.1411653836044684E-24</c:v>
                </c:pt>
                <c:pt idx="77">
                  <c:v>8.4467003484071263E-24</c:v>
                </c:pt>
                <c:pt idx="78">
                  <c:v>9.9907529615323214E-24</c:v>
                </c:pt>
                <c:pt idx="79">
                  <c:v>1.1816868175517063E-23</c:v>
                </c:pt>
                <c:pt idx="80">
                  <c:v>1.3976534409079114E-23</c:v>
                </c:pt>
                <c:pt idx="81">
                  <c:v>1.6530631329770499E-23</c:v>
                </c:pt>
                <c:pt idx="82">
                  <c:v>1.9551141257618739E-23</c:v>
                </c:pt>
                <c:pt idx="83">
                  <c:v>2.3123172140752273E-23</c:v>
                </c:pt>
                <c:pt idx="84">
                  <c:v>2.7347348765818557E-23</c:v>
                </c:pt>
                <c:pt idx="85">
                  <c:v>3.2342639158565359E-23</c:v>
                </c:pt>
                <c:pt idx="86">
                  <c:v>3.8249695289656086E-23</c:v>
                </c:pt>
                <c:pt idx="87">
                  <c:v>4.5234801565884708E-23</c:v>
                </c:pt>
                <c:pt idx="88">
                  <c:v>5.349454155679813E-23</c:v>
                </c:pt>
                <c:pt idx="89">
                  <c:v>6.3261313452969382E-23</c:v>
                </c:pt>
                <c:pt idx="90">
                  <c:v>7.4809848431615516E-23</c:v>
                </c:pt>
                <c:pt idx="91">
                  <c:v>8.8464914075404466E-23</c:v>
                </c:pt>
                <c:pt idx="92">
                  <c:v>1.0461041802740063E-22</c:v>
                </c:pt>
                <c:pt idx="93">
                  <c:v>1.2370016608556267E-22</c:v>
                </c:pt>
                <c:pt idx="94">
                  <c:v>1.4627057502593754E-22</c:v>
                </c:pt>
                <c:pt idx="95">
                  <c:v>1.7295569487191058E-22</c:v>
                </c:pt>
                <c:pt idx="96">
                  <c:v>2.0450495960496261E-22</c:v>
                </c:pt>
                <c:pt idx="97">
                  <c:v>2.4180416122022704E-22</c:v>
                </c:pt>
                <c:pt idx="98">
                  <c:v>2.8590023166772176E-22</c:v>
                </c:pt>
                <c:pt idx="99">
                  <c:v>3.3803052306689092E-22</c:v>
                </c:pt>
                <c:pt idx="100">
                  <c:v>3.9965740156345136E-22</c:v>
                </c:pt>
                <c:pt idx="101">
                  <c:v>4.7250911776647126E-22</c:v>
                </c:pt>
                <c:pt idx="102">
                  <c:v>5.5862809093460642E-22</c:v>
                </c:pt>
                <c:pt idx="103">
                  <c:v>6.6042794978143431E-22</c:v>
                </c:pt>
                <c:pt idx="104">
                  <c:v>7.807609156143275E-22</c:v>
                </c:pt>
                <c:pt idx="105">
                  <c:v>9.229974002025775E-22</c:v>
                </c:pt>
                <c:pt idx="106">
                  <c:v>1.0911200291864926E-21</c:v>
                </c:pt>
                <c:pt idx="107">
                  <c:v>1.289834701306596E-21</c:v>
                </c:pt>
                <c:pt idx="108">
                  <c:v>1.5247017652416224E-21</c:v>
                </c:pt>
                <c:pt idx="109">
                  <c:v>1.802290952361734E-21</c:v>
                </c:pt>
                <c:pt idx="110">
                  <c:v>2.1303643605213519E-21</c:v>
                </c:pt>
                <c:pt idx="111">
                  <c:v>2.5180925591727134E-21</c:v>
                </c:pt>
                <c:pt idx="112">
                  <c:v>2.9763098008485006E-21</c:v>
                </c:pt>
                <c:pt idx="113">
                  <c:v>3.5178154035307546E-21</c:v>
                </c:pt>
                <c:pt idx="114">
                  <c:v>4.1577296421748009E-21</c:v>
                </c:pt>
                <c:pt idx="115">
                  <c:v>4.9139139905820408E-21</c:v>
                </c:pt>
                <c:pt idx="116">
                  <c:v>5.8074673280399626E-21</c:v>
                </c:pt>
                <c:pt idx="117">
                  <c:v>6.8633118171791662E-21</c:v>
                </c:pt>
                <c:pt idx="118">
                  <c:v>8.11088462749456E-21</c:v>
                </c:pt>
                <c:pt idx="119">
                  <c:v>9.5849545903555688E-21</c:v>
                </c:pt>
                <c:pt idx="120">
                  <c:v>1.1326586305520978E-20</c:v>
                </c:pt>
                <c:pt idx="121">
                  <c:v>1.3384278269828942E-20</c:v>
                </c:pt>
                <c:pt idx="122">
                  <c:v>1.581530637620803E-20</c:v>
                </c:pt>
                <c:pt idx="123">
                  <c:v>1.8687309765522943E-20</c:v>
                </c:pt>
                <c:pt idx="124">
                  <c:v>2.2080162658277213E-20</c:v>
                </c:pt>
                <c:pt idx="125">
                  <c:v>2.6088183628470902E-20</c:v>
                </c:pt>
                <c:pt idx="126">
                  <c:v>3.0822743020682988E-20</c:v>
                </c:pt>
                <c:pt idx="127">
                  <c:v>3.6415340104454684E-20</c:v>
                </c:pt>
                <c:pt idx="128">
                  <c:v>4.3021234402539996E-20</c:v>
                </c:pt>
                <c:pt idx="129">
                  <c:v>5.0823730769422008E-20</c:v>
                </c:pt>
                <c:pt idx="130">
                  <c:v>6.0039235643399842E-20</c:v>
                </c:pt>
                <c:pt idx="131">
                  <c:v>7.0923222931950413E-20</c:v>
                </c:pt>
                <c:pt idx="132">
                  <c:v>8.3777272784237609E-20</c:v>
                </c:pt>
                <c:pt idx="133">
                  <c:v>9.8957375725581477E-20</c:v>
                </c:pt>
                <c:pt idx="134">
                  <c:v>1.1688372906413809E-19</c:v>
                </c:pt>
                <c:pt idx="135">
                  <c:v>1.3805229305738983E-19</c:v>
                </c:pt>
                <c:pt idx="136">
                  <c:v>1.6304842213687406E-19</c:v>
                </c:pt>
                <c:pt idx="137">
                  <c:v>1.9256294281898299E-19</c:v>
                </c:pt>
                <c:pt idx="138">
                  <c:v>2.2741111628977546E-19</c:v>
                </c:pt>
                <c:pt idx="139">
                  <c:v>2.6855500182217632E-19</c:v>
                </c:pt>
                <c:pt idx="140">
                  <c:v>3.1712982925912279E-19</c:v>
                </c:pt>
                <c:pt idx="141">
                  <c:v>3.7447509723933419E-19</c:v>
                </c:pt>
                <c:pt idx="142">
                  <c:v>4.4217124155266068E-19</c:v>
                </c:pt>
                <c:pt idx="143">
                  <c:v>5.2208286839817502E-19</c:v>
                </c:pt>
                <c:pt idx="144">
                  <c:v>6.1640972439101296E-19</c:v>
                </c:pt>
                <c:pt idx="145">
                  <c:v>7.2774678363911361E-19</c:v>
                </c:pt>
                <c:pt idx="146">
                  <c:v>8.5915507763371368E-19</c:v>
                </c:pt>
                <c:pt idx="147">
                  <c:v>1.0142451825887523E-18</c:v>
                </c:pt>
                <c:pt idx="148">
                  <c:v>1.1972756188881473E-18</c:v>
                </c:pt>
                <c:pt idx="149">
                  <c:v>1.4132688174666842E-18</c:v>
                </c:pt>
                <c:pt idx="150">
                  <c:v>1.6681477788498688E-18</c:v>
                </c:pt>
                <c:pt idx="151">
                  <c:v>1.9688971046542323E-18</c:v>
                </c:pt>
                <c:pt idx="152">
                  <c:v>2.323752733224367E-18</c:v>
                </c:pt>
                <c:pt idx="153">
                  <c:v>2.742425477935203E-18</c:v>
                </c:pt>
                <c:pt idx="154">
                  <c:v>3.2363643686969203E-18</c:v>
                </c:pt>
                <c:pt idx="155">
                  <c:v>3.8190668580659911E-18</c:v>
                </c:pt>
                <c:pt idx="156">
                  <c:v>4.5064442009234845E-18</c:v>
                </c:pt>
                <c:pt idx="157">
                  <c:v>5.317251783607608E-18</c:v>
                </c:pt>
                <c:pt idx="158">
                  <c:v>6.2735959030569565E-18</c:v>
                </c:pt>
                <c:pt idx="159">
                  <c:v>7.4015305239593943E-18</c:v>
                </c:pt>
                <c:pt idx="160">
                  <c:v>8.7317599249728286E-18</c:v>
                </c:pt>
                <c:pt idx="161">
                  <c:v>1.0300465945813511E-17</c:v>
                </c:pt>
                <c:pt idx="162">
                  <c:v>1.2150281838152211E-17</c:v>
                </c:pt>
                <c:pt idx="163">
                  <c:v>1.4331438590204012E-17</c:v>
                </c:pt>
                <c:pt idx="164">
                  <c:v>1.6903114137742627E-17</c:v>
                </c:pt>
                <c:pt idx="165">
                  <c:v>1.9935021210438462E-17</c:v>
                </c:pt>
                <c:pt idx="166">
                  <c:v>2.350927582956354E-17</c:v>
                </c:pt>
                <c:pt idx="167">
                  <c:v>2.7722595832590209E-17</c:v>
                </c:pt>
                <c:pt idx="168">
                  <c:v>3.2688887441165334E-17</c:v>
                </c:pt>
                <c:pt idx="169">
                  <c:v>3.8542288032993354E-17</c:v>
                </c:pt>
                <c:pt idx="170">
                  <c:v>4.5440745184963551E-17</c:v>
                </c:pt>
                <c:pt idx="171">
                  <c:v>5.3570226028532167E-17</c:v>
                </c:pt>
                <c:pt idx="172">
                  <c:v>6.3149667355159898E-17</c:v>
                </c:pt>
                <c:pt idx="173">
                  <c:v>7.4436796146527807E-17</c:v>
                </c:pt>
                <c:pt idx="174">
                  <c:v>8.7734972769541004E-17</c:v>
                </c:pt>
                <c:pt idx="175">
                  <c:v>1.0340123554127759E-16</c:v>
                </c:pt>
                <c:pt idx="176">
                  <c:v>1.2185575640257275E-16</c:v>
                </c:pt>
                <c:pt idx="177">
                  <c:v>1.435929538232319E-16</c:v>
                </c:pt>
                <c:pt idx="178">
                  <c:v>1.6919455171171552E-16</c:v>
                </c:pt>
                <c:pt idx="179">
                  <c:v>1.9934492308753328E-16</c:v>
                </c:pt>
                <c:pt idx="180">
                  <c:v>2.3484911584616294E-16</c:v>
                </c:pt>
                <c:pt idx="181">
                  <c:v>2.766540265659159E-16</c:v>
                </c:pt>
                <c:pt idx="182">
                  <c:v>3.2587326868210832E-16</c:v>
                </c:pt>
                <c:pt idx="183">
                  <c:v>3.8381637548138615E-16</c:v>
                </c:pt>
                <c:pt idx="184">
                  <c:v>4.5202308857891937E-16</c:v>
                </c:pt>
                <c:pt idx="185">
                  <c:v>5.3230361155421162E-16</c:v>
                </c:pt>
                <c:pt idx="186">
                  <c:v>6.2678585941392282E-16</c:v>
                </c:pt>
                <c:pt idx="187">
                  <c:v>7.3797091122887053E-16</c:v>
                </c:pt>
                <c:pt idx="188">
                  <c:v>8.6879807998142645E-16</c:v>
                </c:pt>
                <c:pt idx="189">
                  <c:v>1.022721255401643E-15</c:v>
                </c:pt>
                <c:pt idx="190">
                  <c:v>1.2037984582467164E-15</c:v>
                </c:pt>
                <c:pt idx="191">
                  <c:v>1.4167968749409861E-15</c:v>
                </c:pt>
                <c:pt idx="192">
                  <c:v>1.6673160277302369E-15</c:v>
                </c:pt>
                <c:pt idx="193">
                  <c:v>1.9619321868163048E-15</c:v>
                </c:pt>
                <c:pt idx="194">
                  <c:v>2.3083676581593261E-15</c:v>
                </c:pt>
                <c:pt idx="195">
                  <c:v>2.715689196375653E-15</c:v>
                </c:pt>
                <c:pt idx="196">
                  <c:v>3.1945405110940542E-15</c:v>
                </c:pt>
                <c:pt idx="197">
                  <c:v>3.7574146743340006E-15</c:v>
                </c:pt>
                <c:pt idx="198">
                  <c:v>4.4189732157871707E-15</c:v>
                </c:pt>
                <c:pt idx="199">
                  <c:v>5.1964198353958892E-15</c:v>
                </c:pt>
                <c:pt idx="200">
                  <c:v>6.1099379951462757E-15</c:v>
                </c:pt>
                <c:pt idx="201">
                  <c:v>7.1832032056763889E-15</c:v>
                </c:pt>
                <c:pt idx="202">
                  <c:v>8.4439826343135458E-15</c:v>
                </c:pt>
                <c:pt idx="203">
                  <c:v>9.9248367714765586E-15</c:v>
                </c:pt>
                <c:pt idx="204">
                  <c:v>1.166394035071299E-14</c:v>
                </c:pt>
                <c:pt idx="205">
                  <c:v>1.3706042580475131E-14</c:v>
                </c:pt>
                <c:pt idx="206">
                  <c:v>1.610359007854599E-14</c:v>
                </c:pt>
                <c:pt idx="207">
                  <c:v>1.8918039778667616E-14</c:v>
                </c:pt>
                <c:pt idx="208">
                  <c:v>2.2221393591285098E-14</c:v>
                </c:pt>
                <c:pt idx="209">
                  <c:v>2.609799184809304E-14</c:v>
                </c:pt>
                <c:pt idx="210">
                  <c:v>3.0646608660981654E-14</c:v>
                </c:pt>
                <c:pt idx="211">
                  <c:v>3.5982899416124106E-14</c:v>
                </c:pt>
                <c:pt idx="212">
                  <c:v>4.2242258860693868E-14</c:v>
                </c:pt>
                <c:pt idx="213">
                  <c:v>4.9583157804832115E-14</c:v>
                </c:pt>
                <c:pt idx="214">
                  <c:v>5.8191037564930316E-14</c:v>
                </c:pt>
                <c:pt idx="215">
                  <c:v>6.8282854158348584E-14</c:v>
                </c:pt>
                <c:pt idx="216">
                  <c:v>8.0112379203805881E-14</c:v>
                </c:pt>
                <c:pt idx="217">
                  <c:v>9.397638180806714E-14</c:v>
                </c:pt>
                <c:pt idx="218">
                  <c:v>1.1022183579940953E-13</c:v>
                </c:pt>
                <c:pt idx="219">
                  <c:v>1.2925431992913114E-13</c:v>
                </c:pt>
                <c:pt idx="220">
                  <c:v>1.5154780559594915E-13</c:v>
                </c:pt>
                <c:pt idx="221">
                  <c:v>1.7765605782023373E-13</c:v>
                </c:pt>
                <c:pt idx="222">
                  <c:v>2.0822591125577642E-13</c:v>
                </c:pt>
                <c:pt idx="223">
                  <c:v>2.440127247229366E-13</c:v>
                </c:pt>
                <c:pt idx="224">
                  <c:v>2.8589836593552548E-13</c:v>
                </c:pt>
                <c:pt idx="225">
                  <c:v>3.3491213375784683E-13</c:v>
                </c:pt>
                <c:pt idx="226">
                  <c:v>3.9225508959413604E-13</c:v>
                </c:pt>
                <c:pt idx="227">
                  <c:v>4.5932834367095283E-13</c:v>
                </c:pt>
                <c:pt idx="228">
                  <c:v>5.3776592749989593E-13</c:v>
                </c:pt>
                <c:pt idx="229">
                  <c:v>6.2947298239197993E-13</c:v>
                </c:pt>
                <c:pt idx="230">
                  <c:v>7.3667010746499704E-13</c:v>
                </c:pt>
                <c:pt idx="231">
                  <c:v>8.6194484134312386E-13</c:v>
                </c:pt>
                <c:pt idx="232">
                  <c:v>1.0083114022057669E-12</c:v>
                </c:pt>
                <c:pt idx="233">
                  <c:v>1.1792799838622295E-12</c:v>
                </c:pt>
                <c:pt idx="234">
                  <c:v>1.3789371043686937E-12</c:v>
                </c:pt>
                <c:pt idx="235">
                  <c:v>1.6120387320712378E-12</c:v>
                </c:pt>
                <c:pt idx="236">
                  <c:v>1.8841181760641162E-12</c:v>
                </c:pt>
                <c:pt idx="237">
                  <c:v>2.2016110286786044E-12</c:v>
                </c:pt>
                <c:pt idx="238">
                  <c:v>2.5719997921841988E-12</c:v>
                </c:pt>
                <c:pt idx="239">
                  <c:v>3.0039812165347138E-12</c:v>
                </c:pt>
                <c:pt idx="240">
                  <c:v>3.5076598266730264E-12</c:v>
                </c:pt>
                <c:pt idx="241">
                  <c:v>4.0947716344752873E-12</c:v>
                </c:pt>
                <c:pt idx="242">
                  <c:v>4.7789426207327018E-12</c:v>
                </c:pt>
                <c:pt idx="243">
                  <c:v>5.5759872466302839E-12</c:v>
                </c:pt>
                <c:pt idx="244">
                  <c:v>6.504253023242236E-12</c:v>
                </c:pt>
                <c:pt idx="245">
                  <c:v>7.5850180442721487E-12</c:v>
                </c:pt>
                <c:pt idx="246">
                  <c:v>8.8429493858380637E-12</c:v>
                </c:pt>
                <c:pt idx="247">
                  <c:v>1.0306631413458662E-11</c:v>
                </c:pt>
                <c:pt idx="248">
                  <c:v>1.2009174328380089E-11</c:v>
                </c:pt>
                <c:pt idx="249">
                  <c:v>1.3988914752921628E-11</c:v>
                </c:pt>
                <c:pt idx="250">
                  <c:v>1.6290221819862107E-11</c:v>
                </c:pt>
                <c:pt idx="251">
                  <c:v>1.8964424118814106E-11</c:v>
                </c:pt>
                <c:pt idx="252">
                  <c:v>2.2070874990600471E-11</c:v>
                </c:pt>
                <c:pt idx="253">
                  <c:v>2.5678176079436099E-11</c:v>
                </c:pt>
                <c:pt idx="254">
                  <c:v>2.9865581786106802E-11</c:v>
                </c:pt>
                <c:pt idx="255">
                  <c:v>3.4724610350778252E-11</c:v>
                </c:pt>
                <c:pt idx="256">
                  <c:v>4.0360890772844333E-11</c:v>
                </c:pt>
                <c:pt idx="257">
                  <c:v>4.6896278692807595E-11</c:v>
                </c:pt>
                <c:pt idx="258">
                  <c:v>5.4471278767437178E-11</c:v>
                </c:pt>
                <c:pt idx="259">
                  <c:v>6.3247816018994814E-11</c:v>
                </c:pt>
                <c:pt idx="260">
                  <c:v>7.3412404191780765E-11</c:v>
                </c:pt>
                <c:pt idx="261">
                  <c:v>8.5179765369529055E-11</c:v>
                </c:pt>
                <c:pt idx="262">
                  <c:v>9.8796962065700554E-11</c:v>
                </c:pt>
                <c:pt idx="263">
                  <c:v>1.1454811077162656E-10</c:v>
                </c:pt>
                <c:pt idx="264">
                  <c:v>1.3275975461680738E-10</c:v>
                </c:pt>
                <c:pt idx="265">
                  <c:v>1.5380698244946765E-10</c:v>
                </c:pt>
                <c:pt idx="266">
                  <c:v>1.7812039237781862E-10</c:v>
                </c:pt>
                <c:pt idx="267">
                  <c:v>2.0619400972333242E-10</c:v>
                </c:pt>
                <c:pt idx="268">
                  <c:v>2.3859428253249129E-10</c:v>
                </c:pt>
                <c:pt idx="269">
                  <c:v>2.7597029238406928E-10</c:v>
                </c:pt>
                <c:pt idx="270">
                  <c:v>3.1906533433130519E-10</c:v>
                </c:pt>
                <c:pt idx="271">
                  <c:v>3.6873003755241253E-10</c:v>
                </c:pt>
                <c:pt idx="272">
                  <c:v>4.2593721777281858E-10</c:v>
                </c:pt>
                <c:pt idx="273">
                  <c:v>4.9179867389360849E-10</c:v>
                </c:pt>
                <c:pt idx="274">
                  <c:v>5.6758416463964938E-10</c:v>
                </c:pt>
                <c:pt idx="275">
                  <c:v>6.5474282655251588E-10</c:v>
                </c:pt>
                <c:pt idx="276">
                  <c:v>7.5492732241939633E-10</c:v>
                </c:pt>
                <c:pt idx="277">
                  <c:v>8.7002103936453684E-10</c:v>
                </c:pt>
                <c:pt idx="278">
                  <c:v>1.0021686884404459E-9</c:v>
                </c:pt>
                <c:pt idx="279">
                  <c:v>1.1538106927343071E-9</c:v>
                </c:pt>
                <c:pt idx="280">
                  <c:v>1.3277217888253731E-9</c:v>
                </c:pt>
                <c:pt idx="281">
                  <c:v>1.5270543069438083E-9</c:v>
                </c:pt>
                <c:pt idx="282">
                  <c:v>1.7553866384134113E-9</c:v>
                </c:pt>
                <c:pt idx="283">
                  <c:v>2.0167774448985527E-9</c:v>
                </c:pt>
                <c:pt idx="284">
                  <c:v>2.3158262125651468E-9</c:v>
                </c:pt>
                <c:pt idx="285">
                  <c:v>2.6577408054017432E-9</c:v>
                </c:pt>
                <c:pt idx="286">
                  <c:v>3.0484127254655747E-9</c:v>
                </c:pt>
                <c:pt idx="287">
                  <c:v>3.494500843485325E-9</c:v>
                </c:pt>
                <c:pt idx="288">
                  <c:v>4.003524420753282E-9</c:v>
                </c:pt>
                <c:pt idx="289">
                  <c:v>4.5839663021680874E-9</c:v>
                </c:pt>
                <c:pt idx="290">
                  <c:v>5.2453872201345813E-9</c:v>
                </c:pt>
                <c:pt idx="291">
                  <c:v>5.9985522091605315E-9</c:v>
                </c:pt>
                <c:pt idx="292">
                  <c:v>6.8555701906547118E-9</c:v>
                </c:pt>
                <c:pt idx="293">
                  <c:v>7.8300478457173195E-9</c:v>
                </c:pt>
                <c:pt idx="294">
                  <c:v>8.9372589495654042E-9</c:v>
                </c:pt>
                <c:pt idx="295">
                  <c:v>1.0194330393409428E-8</c:v>
                </c:pt>
                <c:pt idx="296">
                  <c:v>1.1620446166672088E-8</c:v>
                </c:pt>
                <c:pt idx="297">
                  <c:v>1.3237070612790564E-8</c:v>
                </c:pt>
                <c:pt idx="298">
                  <c:v>1.5068192303633844E-8</c:v>
                </c:pt>
                <c:pt idx="299">
                  <c:v>1.7140589898735295E-8</c:v>
                </c:pt>
                <c:pt idx="300">
                  <c:v>1.9484121363803913E-8</c:v>
                </c:pt>
                <c:pt idx="301">
                  <c:v>2.2132037915809221E-8</c:v>
                </c:pt>
                <c:pt idx="302">
                  <c:v>2.5121324036572753E-8</c:v>
                </c:pt>
                <c:pt idx="303">
                  <c:v>2.8493064850260652E-8</c:v>
                </c:pt>
                <c:pt idx="304">
                  <c:v>3.2292842089230493E-8</c:v>
                </c:pt>
                <c:pt idx="305">
                  <c:v>3.6571159773921839E-8</c:v>
                </c:pt>
                <c:pt idx="306">
                  <c:v>4.1383900602286632E-8</c:v>
                </c:pt>
                <c:pt idx="307">
                  <c:v>4.6792813878844478E-8</c:v>
                </c:pt>
                <c:pt idx="308">
                  <c:v>5.2866035608956841E-8</c:v>
                </c:pt>
                <c:pt idx="309">
                  <c:v>5.9678641136361249E-8</c:v>
                </c:pt>
                <c:pt idx="310">
                  <c:v>6.7313230407435542E-8</c:v>
                </c:pt>
                <c:pt idx="311">
                  <c:v>7.586054560016817E-8</c:v>
                </c:pt>
                <c:pt idx="312">
                  <c:v>8.5420120455626386E-8</c:v>
                </c:pt>
                <c:pt idx="313">
                  <c:v>9.6100960191311743E-8</c:v>
                </c:pt>
                <c:pt idx="314">
                  <c:v>1.0802225035603229E-7</c:v>
                </c:pt>
                <c:pt idx="315">
                  <c:v>1.2131409240205098E-7</c:v>
                </c:pt>
                <c:pt idx="316">
                  <c:v>1.3611826310025932E-7</c:v>
                </c:pt>
                <c:pt idx="317">
                  <c:v>1.5258899420658985E-7</c:v>
                </c:pt>
                <c:pt idx="318">
                  <c:v>1.7089376800240147E-7</c:v>
                </c:pt>
                <c:pt idx="319">
                  <c:v>1.9121412347881529E-7</c:v>
                </c:pt>
                <c:pt idx="320">
                  <c:v>2.1374646701681489E-7</c:v>
                </c:pt>
                <c:pt idx="321">
                  <c:v>2.387028804346872E-7</c:v>
                </c:pt>
                <c:pt idx="322">
                  <c:v>2.663119182369863E-7</c:v>
                </c:pt>
                <c:pt idx="323">
                  <c:v>2.9681938481136579E-7</c:v>
                </c:pt>
                <c:pt idx="324">
                  <c:v>3.3048908118996455E-7</c:v>
                </c:pt>
                <c:pt idx="325">
                  <c:v>3.6760350983130567E-7</c:v>
                </c:pt>
                <c:pt idx="326">
                  <c:v>4.0846452469988516E-7</c:v>
                </c:pt>
                <c:pt idx="327">
                  <c:v>4.5339391273893928E-7</c:v>
                </c:pt>
                <c:pt idx="328">
                  <c:v>5.0273389166529598E-7</c:v>
                </c:pt>
                <c:pt idx="329">
                  <c:v>5.568475078836312E-7</c:v>
                </c:pt>
                <c:pt idx="330">
                  <c:v>6.1611891724360141E-7</c:v>
                </c:pt>
                <c:pt idx="331">
                  <c:v>6.8095353037238323E-7</c:v>
                </c:pt>
                <c:pt idx="332">
                  <c:v>7.5177800343400516E-7</c:v>
                </c:pt>
                <c:pt idx="333">
                  <c:v>8.2904005442531986E-7</c:v>
                </c:pt>
                <c:pt idx="334">
                  <c:v>9.1320808454727677E-7</c:v>
                </c:pt>
                <c:pt idx="335">
                  <c:v>1.0047705838221351E-6</c:v>
                </c:pt>
                <c:pt idx="336">
                  <c:v>1.1042352999961433E-6</c:v>
                </c:pt>
                <c:pt idx="337">
                  <c:v>1.2121281499067612E-6</c:v>
                </c:pt>
                <c:pt idx="338">
                  <c:v>1.3289918529384934E-6</c:v>
                </c:pt>
                <c:pt idx="339">
                  <c:v>1.4553842669745101E-6</c:v>
                </c:pt>
                <c:pt idx="340">
                  <c:v>1.5918764084046786E-6</c:v>
                </c:pt>
                <c:pt idx="341">
                  <c:v>1.7390501393040523E-6</c:v>
                </c:pt>
                <c:pt idx="342">
                  <c:v>1.8974955068750096E-6</c:v>
                </c:pt>
                <c:pt idx="343">
                  <c:v>2.0678077226737577E-6</c:v>
                </c:pt>
                <c:pt idx="344">
                  <c:v>2.2505837720343219E-6</c:v>
                </c:pt>
                <c:pt idx="345">
                  <c:v>2.4464186474711438E-6</c:v>
                </c:pt>
                <c:pt idx="346">
                  <c:v>2.6559012036891427E-6</c:v>
                </c:pt>
                <c:pt idx="347">
                  <c:v>2.8796096361514492E-6</c:v>
                </c:pt>
                <c:pt idx="348">
                  <c:v>3.118106589938429E-6</c:v>
                </c:pt>
                <c:pt idx="349">
                  <c:v>3.3719339108513078E-6</c:v>
                </c:pt>
                <c:pt idx="350">
                  <c:v>3.6416070563369465E-6</c:v>
                </c:pt>
                <c:pt idx="351">
                  <c:v>3.9276091897905474E-6</c:v>
                </c:pt>
                <c:pt idx="352">
                  <c:v>4.2303849880746121E-6</c:v>
                </c:pt>
                <c:pt idx="353">
                  <c:v>4.5503341986043428E-6</c:v>
                </c:pt>
                <c:pt idx="354">
                  <c:v>4.8878049890139424E-6</c:v>
                </c:pt>
                <c:pt idx="355">
                  <c:v>5.2430871391404176E-6</c:v>
                </c:pt>
                <c:pt idx="356">
                  <c:v>5.6164051317401901E-6</c:v>
                </c:pt>
                <c:pt idx="357">
                  <c:v>6.007911204876819E-6</c:v>
                </c:pt>
                <c:pt idx="358">
                  <c:v>6.417678435161609E-6</c:v>
                </c:pt>
                <c:pt idx="359">
                  <c:v>6.8456939268678265E-6</c:v>
                </c:pt>
                <c:pt idx="360">
                  <c:v>7.2918521872374207E-6</c:v>
                </c:pt>
                <c:pt idx="361">
                  <c:v>7.7559487729204335E-6</c:v>
                </c:pt>
                <c:pt idx="362">
                  <c:v>8.2376742962957228E-6</c:v>
                </c:pt>
                <c:pt idx="363">
                  <c:v>8.7366088832808097E-6</c:v>
                </c:pt>
                <c:pt idx="364">
                  <c:v>9.2522171760189919E-6</c:v>
                </c:pt>
                <c:pt idx="365">
                  <c:v>9.7838439744131267E-6</c:v>
                </c:pt>
                <c:pt idx="366">
                  <c:v>1.0330710609746145E-5</c:v>
                </c:pt>
                <c:pt idx="367">
                  <c:v>1.0891912141493919E-5</c:v>
                </c:pt>
                <c:pt idx="368">
                  <c:v>1.1466415464820946E-5</c:v>
                </c:pt>
                <c:pt idx="369">
                  <c:v>1.2053058411093927E-5</c:v>
                </c:pt>
                <c:pt idx="370">
                  <c:v>1.2650549917026847E-5</c:v>
                </c:pt>
                <c:pt idx="371">
                  <c:v>1.3257471329771258E-5</c:v>
                </c:pt>
                <c:pt idx="372">
                  <c:v>1.3872278905418494E-5</c:v>
                </c:pt>
                <c:pt idx="373">
                  <c:v>1.4493307547034785E-5</c:v>
                </c:pt>
                <c:pt idx="374">
                  <c:v>1.5118775815596597E-5</c:v>
                </c:pt>
                <c:pt idx="375">
                  <c:v>1.5746792233146443E-5</c:v>
                </c:pt>
                <c:pt idx="376">
                  <c:v>1.6375362882306491E-5</c:v>
                </c:pt>
                <c:pt idx="377">
                  <c:v>1.700240029013889E-5</c:v>
                </c:pt>
                <c:pt idx="378">
                  <c:v>1.7625733567454646E-5</c:v>
                </c:pt>
                <c:pt idx="379">
                  <c:v>1.8243119757272358E-5</c:v>
                </c:pt>
                <c:pt idx="380">
                  <c:v>1.8852256328482422E-5</c:v>
                </c:pt>
                <c:pt idx="381">
                  <c:v>1.9450794733165838E-5</c:v>
                </c:pt>
                <c:pt idx="382">
                  <c:v>2.00363549287382E-5</c:v>
                </c:pt>
                <c:pt idx="383">
                  <c:v>2.0606540749456066E-5</c:v>
                </c:pt>
                <c:pt idx="384">
                  <c:v>2.115895599613171E-5</c:v>
                </c:pt>
                <c:pt idx="385">
                  <c:v>2.1691221098474466E-5</c:v>
                </c:pt>
                <c:pt idx="386">
                  <c:v>2.2200990191595765E-5</c:v>
                </c:pt>
                <c:pt idx="387">
                  <c:v>2.2685968437176769E-5</c:v>
                </c:pt>
                <c:pt idx="388">
                  <c:v>2.3143929410843312E-5</c:v>
                </c:pt>
                <c:pt idx="389">
                  <c:v>2.3572732370673896E-5</c:v>
                </c:pt>
                <c:pt idx="390">
                  <c:v>2.3970339217653064E-5</c:v>
                </c:pt>
                <c:pt idx="391">
                  <c:v>2.4334830957447942E-5</c:v>
                </c:pt>
                <c:pt idx="392">
                  <c:v>2.4664423474223874E-5</c:v>
                </c:pt>
                <c:pt idx="393">
                  <c:v>2.4957482431390401E-5</c:v>
                </c:pt>
                <c:pt idx="394">
                  <c:v>2.5212537121185469E-5</c:v>
                </c:pt>
                <c:pt idx="395">
                  <c:v>2.5428293094814614E-5</c:v>
                </c:pt>
                <c:pt idx="396">
                  <c:v>2.5603643417359423E-5</c:v>
                </c:pt>
                <c:pt idx="397">
                  <c:v>2.5737678406702418E-5</c:v>
                </c:pt>
                <c:pt idx="398">
                  <c:v>2.5829693733070812E-5</c:v>
                </c:pt>
                <c:pt idx="399">
                  <c:v>2.5879196775225807E-5</c:v>
                </c:pt>
                <c:pt idx="400">
                  <c:v>2.5885911150517808E-5</c:v>
                </c:pt>
                <c:pt idx="401">
                  <c:v>2.5849779358651643E-5</c:v>
                </c:pt>
                <c:pt idx="402">
                  <c:v>2.5770963502687437E-5</c:v>
                </c:pt>
                <c:pt idx="403">
                  <c:v>2.5649844075158487E-5</c:v>
                </c:pt>
                <c:pt idx="404">
                  <c:v>2.5487016821798049E-5</c:v>
                </c:pt>
                <c:pt idx="405">
                  <c:v>2.528328771982498E-5</c:v>
                </c:pt>
                <c:pt idx="406">
                  <c:v>2.5039666131624235E-5</c:v>
                </c:pt>
                <c:pt idx="407">
                  <c:v>2.4757356217579197E-5</c:v>
                </c:pt>
                <c:pt idx="408">
                  <c:v>2.4437746713371538E-5</c:v>
                </c:pt>
                <c:pt idx="409">
                  <c:v>2.4082399196919228E-5</c:v>
                </c:pt>
                <c:pt idx="410">
                  <c:v>2.3693034987946058E-5</c:v>
                </c:pt>
                <c:pt idx="411">
                  <c:v>2.3271520838685801E-5</c:v>
                </c:pt>
                <c:pt idx="412">
                  <c:v>2.2819853587197801E-5</c:v>
                </c:pt>
                <c:pt idx="413">
                  <c:v>2.2340143955016859E-5</c:v>
                </c:pt>
                <c:pt idx="414">
                  <c:v>2.1834599678261229E-5</c:v>
                </c:pt>
                <c:pt idx="415">
                  <c:v>2.1305508165802759E-5</c:v>
                </c:pt>
                <c:pt idx="416">
                  <c:v>2.0755218879653944E-5</c:v>
                </c:pt>
                <c:pt idx="417">
                  <c:v>2.0186125631387193E-5</c:v>
                </c:pt>
                <c:pt idx="418">
                  <c:v>1.9600648984270877E-5</c:v>
                </c:pt>
                <c:pt idx="419">
                  <c:v>1.9001218944025351E-5</c:v>
                </c:pt>
                <c:pt idx="420">
                  <c:v>1.8390258111873843E-5</c:v>
                </c:pt>
                <c:pt idx="421">
                  <c:v>1.7770165462101287E-5</c:v>
                </c:pt>
                <c:pt idx="422">
                  <c:v>1.7143300892924656E-5</c:v>
                </c:pt>
                <c:pt idx="423">
                  <c:v>1.6511970684398066E-5</c:v>
                </c:pt>
                <c:pt idx="424">
                  <c:v>1.5878413980646404E-5</c:v>
                </c:pt>
                <c:pt idx="425">
                  <c:v>1.5244790396265287E-5</c:v>
                </c:pt>
                <c:pt idx="426">
                  <c:v>1.4613168828573629E-5</c:v>
                </c:pt>
                <c:pt idx="427">
                  <c:v>1.3985517538886947E-5</c:v>
                </c:pt>
                <c:pt idx="428">
                  <c:v>1.3363695547414822E-5</c:v>
                </c:pt>
                <c:pt idx="429">
                  <c:v>1.2749445368083304E-5</c:v>
                </c:pt>
                <c:pt idx="430">
                  <c:v>1.2144387091821141E-5</c:v>
                </c:pt>
                <c:pt idx="431">
                  <c:v>1.1550013809897466E-5</c:v>
                </c:pt>
                <c:pt idx="432">
                  <c:v>1.0967688352978669E-5</c:v>
                </c:pt>
                <c:pt idx="433">
                  <c:v>1.0398641306892091E-5</c:v>
                </c:pt>
                <c:pt idx="434">
                  <c:v>9.8439702528026605E-6</c:v>
                </c:pt>
                <c:pt idx="435">
                  <c:v>9.3046401677560222E-6</c:v>
                </c:pt>
                <c:pt idx="436">
                  <c:v>8.7814849114155575E-6</c:v>
                </c:pt>
                <c:pt idx="437">
                  <c:v>8.2752097163718755E-6</c:v>
                </c:pt>
                <c:pt idx="438">
                  <c:v>7.7863945926630976E-6</c:v>
                </c:pt>
                <c:pt idx="439">
                  <c:v>7.3154985520980359E-6</c:v>
                </c:pt>
                <c:pt idx="440">
                  <c:v>6.8628645545897847E-6</c:v>
                </c:pt>
                <c:pt idx="441">
                  <c:v>6.4287250769113717E-6</c:v>
                </c:pt>
                <c:pt idx="442">
                  <c:v>6.0132082039994604E-6</c:v>
                </c:pt>
                <c:pt idx="443">
                  <c:v>5.6163441440388068E-6</c:v>
                </c:pt>
                <c:pt idx="444">
                  <c:v>5.2380720709395344E-6</c:v>
                </c:pt>
                <c:pt idx="445">
                  <c:v>4.8782472013343245E-6</c:v>
                </c:pt>
                <c:pt idx="446">
                  <c:v>4.536648017723189E-6</c:v>
                </c:pt>
                <c:pt idx="447">
                  <c:v>4.2129835547354791E-6</c:v>
                </c:pt>
                <c:pt idx="448">
                  <c:v>3.9069006715004078E-6</c:v>
                </c:pt>
                <c:pt idx="449">
                  <c:v>3.6179912396766565E-6</c:v>
                </c:pt>
                <c:pt idx="450">
                  <c:v>3.3457991836343336E-6</c:v>
                </c:pt>
                <c:pt idx="451">
                  <c:v>3.0898273164703951E-6</c:v>
                </c:pt>
                <c:pt idx="452">
                  <c:v>2.8495439228411205E-6</c:v>
                </c:pt>
                <c:pt idx="453">
                  <c:v>2.6243890468886689E-6</c:v>
                </c:pt>
                <c:pt idx="454">
                  <c:v>2.4137804507137799E-6</c:v>
                </c:pt>
                <c:pt idx="455">
                  <c:v>2.2171192158073125E-6</c:v>
                </c:pt>
                <c:pt idx="456">
                  <c:v>2.0337949665141719E-6</c:v>
                </c:pt>
                <c:pt idx="457">
                  <c:v>1.8631907008942912E-6</c:v>
                </c:pt>
                <c:pt idx="458">
                  <c:v>1.7046872202095345E-6</c:v>
                </c:pt>
                <c:pt idx="459">
                  <c:v>1.5576671536587319E-6</c:v>
                </c:pt>
                <c:pt idx="460">
                  <c:v>1.421518579873395E-6</c:v>
                </c:pt>
                <c:pt idx="461">
                  <c:v>1.2956382510544639E-6</c:v>
                </c:pt>
                <c:pt idx="462">
                  <c:v>1.179434429466926E-6</c:v>
                </c:pt>
                <c:pt idx="463">
                  <c:v>1.0723293493139673E-6</c:v>
                </c:pt>
                <c:pt idx="464">
                  <c:v>9.7376131979624366E-7</c:v>
                </c:pt>
                <c:pt idx="465">
                  <c:v>8.8318648744036086E-7</c:v>
                </c:pt>
                <c:pt idx="466">
                  <c:v>8.0008027757799252E-7</c:v>
                </c:pt>
                <c:pt idx="467">
                  <c:v>7.2393853620129113E-7</c:v>
                </c:pt>
                <c:pt idx="468">
                  <c:v>6.5427839434340315E-7</c:v>
                </c:pt>
                <c:pt idx="469">
                  <c:v>5.9063887767132211E-7</c:v>
                </c:pt>
                <c:pt idx="470">
                  <c:v>5.3258128416857107E-7</c:v>
                </c:pt>
                <c:pt idx="471">
                  <c:v>4.7968935266633579E-7</c:v>
                </c:pt>
                <c:pt idx="472">
                  <c:v>4.3156924459240055E-7</c:v>
                </c:pt>
                <c:pt idx="473">
                  <c:v>3.8784936068576786E-7</c:v>
                </c:pt>
                <c:pt idx="474">
                  <c:v>3.4818001360837404E-7</c:v>
                </c:pt>
                <c:pt idx="475">
                  <c:v>3.1223297640991369E-7</c:v>
                </c:pt>
                <c:pt idx="476">
                  <c:v>2.7970092570047604E-7</c:v>
                </c:pt>
                <c:pt idx="477">
                  <c:v>2.5029679719037001E-7</c:v>
                </c:pt>
                <c:pt idx="478">
                  <c:v>2.2375306999542633E-7</c:v>
                </c:pt>
                <c:pt idx="479">
                  <c:v>1.9982099480551817E-7</c:v>
                </c:pt>
                <c:pt idx="480">
                  <c:v>1.7826977969702716E-7</c:v>
                </c:pt>
                <c:pt idx="481">
                  <c:v>1.588857460568611E-7</c:v>
                </c:pt>
                <c:pt idx="482">
                  <c:v>1.4147146579394103E-7</c:v>
                </c:pt>
                <c:pt idx="483">
                  <c:v>1.2584488975863063E-7</c:v>
                </c:pt>
                <c:pt idx="484">
                  <c:v>1.1183847608361162E-7</c:v>
                </c:pt>
                <c:pt idx="485">
                  <c:v>9.9298326010945384E-8</c:v>
                </c:pt>
                <c:pt idx="486">
                  <c:v>8.8083333687109089E-8</c:v>
                </c:pt>
                <c:pt idx="487">
                  <c:v>7.8064355396116858E-8</c:v>
                </c:pt>
                <c:pt idx="488">
                  <c:v>6.9123402763975986E-8</c:v>
                </c:pt>
                <c:pt idx="489">
                  <c:v>6.1152863607779344E-8</c:v>
                </c:pt>
                <c:pt idx="490">
                  <c:v>5.4054753320122967E-8</c:v>
                </c:pt>
                <c:pt idx="491">
                  <c:v>4.7739998973602733E-8</c:v>
                </c:pt>
                <c:pt idx="492">
                  <c:v>4.2127757699187453E-8</c:v>
                </c:pt>
                <c:pt idx="493">
                  <c:v>3.7144770333593079E-8</c:v>
                </c:pt>
                <c:pt idx="494">
                  <c:v>3.2724750841208117E-8</c:v>
                </c:pt>
                <c:pt idx="495">
                  <c:v>2.8807811591808171E-8</c:v>
                </c:pt>
                <c:pt idx="496">
                  <c:v>2.5339924212021247E-8</c:v>
                </c:pt>
                <c:pt idx="497">
                  <c:v>2.2272415421908043E-8</c:v>
                </c:pt>
                <c:pt idx="498">
                  <c:v>1.9561497013434461E-8</c:v>
                </c:pt>
                <c:pt idx="499">
                  <c:v>1.7167828920470618E-8</c:v>
                </c:pt>
                <c:pt idx="500">
                  <c:v>1.5056114165608897E-8</c:v>
                </c:pt>
                <c:pt idx="501">
                  <c:v>1.3194724343103799E-8</c:v>
                </c:pt>
                <c:pt idx="502">
                  <c:v>1.1555354205234153E-8</c:v>
                </c:pt>
                <c:pt idx="503">
                  <c:v>1.0112703857246345E-8</c:v>
                </c:pt>
                <c:pt idx="504">
                  <c:v>8.8441870298879196E-9</c:v>
                </c:pt>
                <c:pt idx="505">
                  <c:v>7.7296638847024121E-9</c:v>
                </c:pt>
                <c:pt idx="506">
                  <c:v>6.7511968124023964E-9</c:v>
                </c:pt>
                <c:pt idx="507">
                  <c:v>5.8928277056552038E-9</c:v>
                </c:pt>
                <c:pt idx="508">
                  <c:v>5.1403752217220868E-9</c:v>
                </c:pt>
                <c:pt idx="509">
                  <c:v>4.4812505950481513E-9</c:v>
                </c:pt>
                <c:pt idx="510">
                  <c:v>3.9042906128593247E-9</c:v>
                </c:pt>
                <c:pt idx="511">
                  <c:v>3.3996064260907689E-9</c:v>
                </c:pt>
                <c:pt idx="512">
                  <c:v>2.9584469317957223E-9</c:v>
                </c:pt>
                <c:pt idx="513">
                  <c:v>2.5730755300502617E-9</c:v>
                </c:pt>
                <c:pt idx="514">
                  <c:v>2.2366591269734252E-9</c:v>
                </c:pt>
                <c:pt idx="515">
                  <c:v>1.9431683247187407E-9</c:v>
                </c:pt>
                <c:pt idx="516">
                  <c:v>1.6872878082305817E-9</c:v>
                </c:pt>
                <c:pt idx="517">
                  <c:v>1.4643360064388811E-9</c:v>
                </c:pt>
                <c:pt idx="518">
                  <c:v>1.2701931717632748E-9</c:v>
                </c:pt>
                <c:pt idx="519">
                  <c:v>1.1012370858239432E-9</c:v>
                </c:pt>
                <c:pt idx="520">
                  <c:v>9.5428566073457332E-10</c:v>
                </c:pt>
                <c:pt idx="521">
                  <c:v>8.2654576400278927E-10</c:v>
                </c:pt>
                <c:pt idx="522">
                  <c:v>7.155676506924813E-10</c:v>
                </c:pt>
                <c:pt idx="523">
                  <c:v>6.192044389907643E-10</c:v>
                </c:pt>
                <c:pt idx="524">
                  <c:v>5.355761146103092E-10</c:v>
                </c:pt>
                <c:pt idx="525">
                  <c:v>4.6303759553875424E-10</c:v>
                </c:pt>
                <c:pt idx="526">
                  <c:v>4.0015043155518125E-10</c:v>
                </c:pt>
                <c:pt idx="527">
                  <c:v>3.456577527384757E-10</c:v>
                </c:pt>
                <c:pt idx="528">
                  <c:v>2.9846211798969888E-10</c:v>
                </c:pt>
                <c:pt idx="529">
                  <c:v>2.5760594849612811E-10</c:v>
                </c:pt>
                <c:pt idx="530">
                  <c:v>2.2225426221127576E-10</c:v>
                </c:pt>
                <c:pt idx="531">
                  <c:v>1.9167945395427344E-10</c:v>
                </c:pt>
                <c:pt idx="532">
                  <c:v>1.6524789179304905E-10</c:v>
                </c:pt>
                <c:pt idx="533">
                  <c:v>1.4240812412130733E-10</c:v>
                </c:pt>
                <c:pt idx="534">
                  <c:v>1.2268051342221327E-10</c:v>
                </c:pt>
                <c:pt idx="535">
                  <c:v>1.0564813228388163E-10</c:v>
                </c:pt>
                <c:pt idx="536">
                  <c:v>9.0948774941470707E-11</c:v>
                </c:pt>
                <c:pt idx="537">
                  <c:v>7.8267953611560779E-11</c:v>
                </c:pt>
                <c:pt idx="538">
                  <c:v>6.7332763294546505E-11</c:v>
                </c:pt>
                <c:pt idx="539">
                  <c:v>5.7906511681541887E-11</c:v>
                </c:pt>
                <c:pt idx="540">
                  <c:v>4.9784022438059029E-11</c:v>
                </c:pt>
                <c:pt idx="541">
                  <c:v>4.2787530564867531E-11</c:v>
                </c:pt>
                <c:pt idx="542">
                  <c:v>3.6763097866393325E-11</c:v>
                </c:pt>
                <c:pt idx="543">
                  <c:v>3.1577484891126783E-11</c:v>
                </c:pt>
                <c:pt idx="544">
                  <c:v>2.7115423141456603E-11</c:v>
                </c:pt>
                <c:pt idx="545">
                  <c:v>2.3277237969686785E-11</c:v>
                </c:pt>
                <c:pt idx="546">
                  <c:v>1.9976778463405526E-11</c:v>
                </c:pt>
                <c:pt idx="547">
                  <c:v>1.7139615850686745E-11</c:v>
                </c:pt>
                <c:pt idx="548">
                  <c:v>1.4701476591549786E-11</c:v>
                </c:pt>
                <c:pt idx="549">
                  <c:v>1.2606880428161095E-11</c:v>
                </c:pt>
                <c:pt idx="550">
                  <c:v>1.0807957298684005E-11</c:v>
                </c:pt>
                <c:pt idx="551">
                  <c:v>9.2634202290793008E-12</c:v>
                </c:pt>
                <c:pt idx="552">
                  <c:v>7.9376741496456682E-12</c:v>
                </c:pt>
                <c:pt idx="553">
                  <c:v>6.8000430801052965E-12</c:v>
                </c:pt>
                <c:pt idx="554">
                  <c:v>5.8241003259265319E-12</c:v>
                </c:pt>
                <c:pt idx="555">
                  <c:v>4.9870882629358613E-12</c:v>
                </c:pt>
                <c:pt idx="556">
                  <c:v>4.2694159872072042E-12</c:v>
                </c:pt>
                <c:pt idx="557">
                  <c:v>3.6542245996714421E-12</c:v>
                </c:pt>
                <c:pt idx="558">
                  <c:v>3.1270112039590753E-12</c:v>
                </c:pt>
                <c:pt idx="559">
                  <c:v>2.6753038431524146E-12</c:v>
                </c:pt>
                <c:pt idx="560">
                  <c:v>2.2883806055177486E-12</c:v>
                </c:pt>
                <c:pt idx="561">
                  <c:v>1.9570270079284507E-12</c:v>
                </c:pt>
                <c:pt idx="562">
                  <c:v>1.6733265336737869E-12</c:v>
                </c:pt>
                <c:pt idx="563">
                  <c:v>1.4304798720853151E-12</c:v>
                </c:pt>
                <c:pt idx="564">
                  <c:v>1.2226489927450837E-12</c:v>
                </c:pt>
                <c:pt idx="565">
                  <c:v>1.0448226974638173E-12</c:v>
                </c:pt>
                <c:pt idx="566">
                  <c:v>8.9270073798991957E-13</c:v>
                </c:pt>
                <c:pt idx="567">
                  <c:v>7.6259397469767514E-13</c:v>
                </c:pt>
                <c:pt idx="568">
                  <c:v>6.513383885054229E-13</c:v>
                </c:pt>
                <c:pt idx="569">
                  <c:v>5.5622105131899232E-13</c:v>
                </c:pt>
                <c:pt idx="570">
                  <c:v>4.7491641495607424E-13</c:v>
                </c:pt>
                <c:pt idx="571">
                  <c:v>4.0543149966458061E-13</c:v>
                </c:pt>
                <c:pt idx="572">
                  <c:v>3.4605875529823629E-13</c:v>
                </c:pt>
                <c:pt idx="573">
                  <c:v>2.9533553470811112E-13</c:v>
                </c:pt>
                <c:pt idx="574">
                  <c:v>2.5200926324596033E-13</c:v>
                </c:pt>
                <c:pt idx="575">
                  <c:v>2.1500751332908613E-13</c:v>
                </c:pt>
                <c:pt idx="576">
                  <c:v>1.8341230130588412E-13</c:v>
                </c:pt>
                <c:pt idx="577">
                  <c:v>1.5643801758374877E-13</c:v>
                </c:pt>
                <c:pt idx="578">
                  <c:v>1.3341248205272063E-13</c:v>
                </c:pt>
                <c:pt idx="579">
                  <c:v>1.1376068693373929E-13</c:v>
                </c:pt>
                <c:pt idx="580">
                  <c:v>9.6990849753950191E-14</c:v>
                </c:pt>
                <c:pt idx="581">
                  <c:v>8.2682451473554023E-14</c:v>
                </c:pt>
                <c:pt idx="582">
                  <c:v>7.0475979961113863E-14</c:v>
                </c:pt>
                <c:pt idx="583">
                  <c:v>6.0064137997244223E-14</c:v>
                </c:pt>
                <c:pt idx="584">
                  <c:v>5.1184308613293477E-14</c:v>
                </c:pt>
                <c:pt idx="585">
                  <c:v>4.3612099565677429E-14</c:v>
                </c:pt>
                <c:pt idx="586">
                  <c:v>3.715581373564195E-14</c:v>
                </c:pt>
                <c:pt idx="587">
                  <c:v>3.1651713773472807E-14</c:v>
                </c:pt>
                <c:pt idx="588">
                  <c:v>2.6959967846586953E-14</c:v>
                </c:pt>
                <c:pt idx="589">
                  <c:v>2.2961179311998663E-14</c:v>
                </c:pt>
                <c:pt idx="590">
                  <c:v>1.9553416868765311E-14</c:v>
                </c:pt>
                <c:pt idx="591">
                  <c:v>1.664967356145918E-14</c:v>
                </c:pt>
                <c:pt idx="592">
                  <c:v>1.4175693166173453E-14</c:v>
                </c:pt>
                <c:pt idx="593">
                  <c:v>1.2068111224921743E-14</c:v>
                </c:pt>
                <c:pt idx="594">
                  <c:v>1.0272865500138073E-14</c:v>
                </c:pt>
                <c:pt idx="595">
                  <c:v>8.7438370690761218E-15</c:v>
                </c:pt>
                <c:pt idx="596">
                  <c:v>7.4416888155242066E-15</c:v>
                </c:pt>
                <c:pt idx="597">
                  <c:v>6.3328728305071155E-15</c:v>
                </c:pt>
                <c:pt idx="598">
                  <c:v>5.3887823141069301E-15</c:v>
                </c:pt>
                <c:pt idx="599">
                  <c:v>4.5850270717305652E-15</c:v>
                </c:pt>
                <c:pt idx="600">
                  <c:v>3.9008147013496048E-15</c:v>
                </c:pt>
                <c:pt idx="601">
                  <c:v>3.3184221437023479E-15</c:v>
                </c:pt>
                <c:pt idx="602">
                  <c:v>2.8227444753559224E-15</c:v>
                </c:pt>
                <c:pt idx="603">
                  <c:v>2.4009097169465658E-15</c:v>
                </c:pt>
                <c:pt idx="604">
                  <c:v>2.0419500504447672E-15</c:v>
                </c:pt>
                <c:pt idx="605">
                  <c:v>1.7365212283945011E-15</c:v>
                </c:pt>
                <c:pt idx="606">
                  <c:v>1.4766631477489442E-15</c:v>
                </c:pt>
                <c:pt idx="607">
                  <c:v>1.2555955795853125E-15</c:v>
                </c:pt>
                <c:pt idx="608">
                  <c:v>1.0675439179860887E-15</c:v>
                </c:pt>
                <c:pt idx="609">
                  <c:v>9.0759055768019567E-16</c:v>
                </c:pt>
                <c:pt idx="610">
                  <c:v>7.7154814862029857E-16</c:v>
                </c:pt>
                <c:pt idx="611">
                  <c:v>6.5585152196249524E-16</c:v>
                </c:pt>
                <c:pt idx="612">
                  <c:v>5.5746554915013232E-16</c:v>
                </c:pt>
                <c:pt idx="613">
                  <c:v>4.7380659535116668E-16</c:v>
                </c:pt>
                <c:pt idx="614">
                  <c:v>4.0267557008241528E-16</c:v>
                </c:pt>
                <c:pt idx="615">
                  <c:v>3.4220086983901061E-16</c:v>
                </c:pt>
                <c:pt idx="616">
                  <c:v>2.9078975707896145E-16</c:v>
                </c:pt>
                <c:pt idx="617">
                  <c:v>2.4708693312818843E-16</c:v>
                </c:pt>
                <c:pt idx="618">
                  <c:v>2.0993924472191288E-16</c:v>
                </c:pt>
                <c:pt idx="619">
                  <c:v>1.7836561947948285E-16</c:v>
                </c:pt>
                <c:pt idx="620">
                  <c:v>1.5153145848095458E-16</c:v>
                </c:pt>
                <c:pt idx="621">
                  <c:v>1.2872682756168237E-16</c:v>
                </c:pt>
                <c:pt idx="622">
                  <c:v>1.0934788579769202E-16</c:v>
                </c:pt>
                <c:pt idx="623">
                  <c:v>9.2881072326390817E-17</c:v>
                </c:pt>
                <c:pt idx="624">
                  <c:v>7.8889643204061046E-17</c:v>
                </c:pt>
                <c:pt idx="625">
                  <c:v>6.7002210208803162E-17</c:v>
                </c:pt>
                <c:pt idx="626">
                  <c:v>5.6902984864340542E-17</c:v>
                </c:pt>
                <c:pt idx="627">
                  <c:v>4.832347478009182E-17</c:v>
                </c:pt>
                <c:pt idx="628">
                  <c:v>4.1035416777615069E-17</c:v>
                </c:pt>
                <c:pt idx="629">
                  <c:v>3.4844763147543989E-17</c:v>
                </c:pt>
                <c:pt idx="630">
                  <c:v>2.9586564560293609E-17</c:v>
                </c:pt>
                <c:pt idx="631">
                  <c:v>2.5120616325734849E-17</c:v>
                </c:pt>
                <c:pt idx="632">
                  <c:v>2.1327754450981357E-17</c:v>
                </c:pt>
                <c:pt idx="633">
                  <c:v>1.810670478261677E-17</c:v>
                </c:pt>
                <c:pt idx="634">
                  <c:v>1.5371402869249687E-17</c:v>
                </c:pt>
                <c:pt idx="635">
                  <c:v>1.3048714408569148E-17</c:v>
                </c:pt>
                <c:pt idx="636">
                  <c:v>1.1076496561631073E-17</c:v>
                </c:pt>
                <c:pt idx="637">
                  <c:v>9.4019492937301363E-18</c:v>
                </c:pt>
                <c:pt idx="638">
                  <c:v>7.9802134622973857E-18</c:v>
                </c:pt>
                <c:pt idx="639">
                  <c:v>6.7731788127831802E-18</c:v>
                </c:pt>
                <c:pt idx="640">
                  <c:v>5.7484705282981883E-18</c:v>
                </c:pt>
                <c:pt idx="641">
                  <c:v>4.8785876498027433E-18</c:v>
                </c:pt>
                <c:pt idx="642">
                  <c:v>4.1401706606399973E-18</c:v>
                </c:pt>
                <c:pt idx="643">
                  <c:v>3.5133789153141567E-18</c:v>
                </c:pt>
                <c:pt idx="644">
                  <c:v>2.9813614750142654E-18</c:v>
                </c:pt>
                <c:pt idx="645">
                  <c:v>2.5298073660761915E-18</c:v>
                </c:pt>
                <c:pt idx="646">
                  <c:v>2.1465633660035604E-18</c:v>
                </c:pt>
                <c:pt idx="647">
                  <c:v>1.8213091990949604E-18</c:v>
                </c:pt>
                <c:pt idx="648">
                  <c:v>1.5452815361841585E-18</c:v>
                </c:pt>
                <c:pt idx="649">
                  <c:v>1.3110394800310626E-18</c:v>
                </c:pt>
                <c:pt idx="650">
                  <c:v>1.1122653128991096E-18</c:v>
                </c:pt>
                <c:pt idx="651">
                  <c:v>9.4359521441843228E-19</c:v>
                </c:pt>
                <c:pt idx="652">
                  <c:v>8.0047545032168827E-19</c:v>
                </c:pt>
                <c:pt idx="653">
                  <c:v>6.7904020670395037E-19</c:v>
                </c:pt>
                <c:pt idx="654">
                  <c:v>5.7600781779694598E-19</c:v>
                </c:pt>
                <c:pt idx="655">
                  <c:v>4.8859262283597069E-19</c:v>
                </c:pt>
                <c:pt idx="656">
                  <c:v>4.1443010225269931E-19</c:v>
                </c:pt>
                <c:pt idx="657">
                  <c:v>3.5151329602180167E-19</c:v>
                </c:pt>
                <c:pt idx="658">
                  <c:v>2.9813880678144152E-19</c:v>
                </c:pt>
                <c:pt idx="659">
                  <c:v>2.5286094524345534E-19</c:v>
                </c:pt>
                <c:pt idx="660">
                  <c:v>2.1445279210054244E-19</c:v>
                </c:pt>
                <c:pt idx="661">
                  <c:v>1.8187313484240559E-19</c:v>
                </c:pt>
                <c:pt idx="662">
                  <c:v>1.5423839447915119E-19</c:v>
                </c:pt>
                <c:pt idx="663">
                  <c:v>1.3079879025047085E-19</c:v>
                </c:pt>
                <c:pt idx="664">
                  <c:v>1.1091810351847391E-19</c:v>
                </c:pt>
                <c:pt idx="665">
                  <c:v>9.4056498166008279E-20</c:v>
                </c:pt>
                <c:pt idx="666">
                  <c:v>7.9755936513350388E-20</c:v>
                </c:pt>
                <c:pt idx="667">
                  <c:v>6.7627799182421182E-20</c:v>
                </c:pt>
                <c:pt idx="668">
                  <c:v>5.7342376316102264E-20</c:v>
                </c:pt>
                <c:pt idx="669">
                  <c:v>4.8619947675863555E-20</c:v>
                </c:pt>
                <c:pt idx="670">
                  <c:v>4.1223211712454815E-20</c:v>
                </c:pt>
                <c:pt idx="671">
                  <c:v>3.4950859876282924E-20</c:v>
                </c:pt>
                <c:pt idx="672">
                  <c:v>2.963212315624728E-20</c:v>
                </c:pt>
                <c:pt idx="673">
                  <c:v>2.5122143936450004E-20</c:v>
                </c:pt>
                <c:pt idx="674">
                  <c:v>2.129804842676524E-20</c:v>
                </c:pt>
                <c:pt idx="675">
                  <c:v>1.8055613752667659E-20</c:v>
                </c:pt>
                <c:pt idx="676">
                  <c:v>1.5306439779292786E-20</c:v>
                </c:pt>
                <c:pt idx="677">
                  <c:v>1.2975549325734249E-20</c:v>
                </c:pt>
                <c:pt idx="678">
                  <c:v>1.0999351957259337E-20</c:v>
                </c:pt>
                <c:pt idx="679">
                  <c:v>9.3239163362994413E-21</c:v>
                </c:pt>
                <c:pt idx="680">
                  <c:v>7.9035044281563931E-21</c:v>
                </c:pt>
                <c:pt idx="681">
                  <c:v>6.6993279178309152E-21</c:v>
                </c:pt>
                <c:pt idx="682">
                  <c:v>5.678493188649925E-21</c:v>
                </c:pt>
                <c:pt idx="683">
                  <c:v>4.8131063029040465E-21</c:v>
                </c:pt>
                <c:pt idx="684">
                  <c:v>4.0795137449768848E-21</c:v>
                </c:pt>
                <c:pt idx="685">
                  <c:v>3.4576583555322735E-21</c:v>
                </c:pt>
                <c:pt idx="686">
                  <c:v>2.9305329986963189E-21</c:v>
                </c:pt>
                <c:pt idx="687">
                  <c:v>2.4837171470395848E-21</c:v>
                </c:pt>
                <c:pt idx="688">
                  <c:v>2.104983812554369E-21</c:v>
                </c:pt>
                <c:pt idx="689">
                  <c:v>1.7839661557620347E-21</c:v>
                </c:pt>
                <c:pt idx="690">
                  <c:v>1.511874721143606E-21</c:v>
                </c:pt>
                <c:pt idx="691">
                  <c:v>1.2812576185220014E-21</c:v>
                </c:pt>
                <c:pt idx="692">
                  <c:v>1.0857971340495126E-21</c:v>
                </c:pt>
                <c:pt idx="693">
                  <c:v>9.2013724209094217E-22</c:v>
                </c:pt>
                <c:pt idx="694">
                  <c:v>7.7973732758482155E-22</c:v>
                </c:pt>
                <c:pt idx="695">
                  <c:v>6.6074813965294103E-22</c:v>
                </c:pt>
                <c:pt idx="696">
                  <c:v>5.5990660076401043E-22</c:v>
                </c:pt>
                <c:pt idx="697">
                  <c:v>4.7444660787448268E-22</c:v>
                </c:pt>
                <c:pt idx="698">
                  <c:v>4.0202339638860517E-22</c:v>
                </c:pt>
                <c:pt idx="699">
                  <c:v>3.4064940647013819E-22</c:v>
                </c:pt>
                <c:pt idx="700">
                  <c:v>2.8863990394421144E-22</c:v>
                </c:pt>
                <c:pt idx="701">
                  <c:v>2.4456687336778445E-22</c:v>
                </c:pt>
                <c:pt idx="702">
                  <c:v>2.0721992593018585E-22</c:v>
                </c:pt>
                <c:pt idx="703">
                  <c:v>1.755731557817722E-22</c:v>
                </c:pt>
                <c:pt idx="704">
                  <c:v>1.4875704037227288E-22</c:v>
                </c:pt>
                <c:pt idx="705">
                  <c:v>1.2603461776539149E-22</c:v>
                </c:pt>
                <c:pt idx="706">
                  <c:v>1.0678129044337587E-22</c:v>
                </c:pt>
                <c:pt idx="707">
                  <c:v>9.0467703963534824E-23</c:v>
                </c:pt>
                <c:pt idx="708">
                  <c:v>7.6645232675537507E-23</c:v>
                </c:pt>
                <c:pt idx="709">
                  <c:v>6.4933675810900317E-23</c:v>
                </c:pt>
                <c:pt idx="710">
                  <c:v>5.5010827576126613E-23</c:v>
                </c:pt>
                <c:pt idx="711">
                  <c:v>4.6603636022508216E-23</c:v>
                </c:pt>
                <c:pt idx="712">
                  <c:v>3.9480708847395979E-23</c:v>
                </c:pt>
                <c:pt idx="713">
                  <c:v>3.3445961065473219E-23</c:v>
                </c:pt>
                <c:pt idx="714">
                  <c:v>2.8333230687573978E-23</c:v>
                </c:pt>
                <c:pt idx="715">
                  <c:v>2.4001714993041325E-23</c:v>
                </c:pt>
                <c:pt idx="716">
                  <c:v>2.0332102419436489E-23</c:v>
                </c:pt>
                <c:pt idx="717">
                  <c:v>1.7223294108766641E-23</c:v>
                </c:pt>
                <c:pt idx="718">
                  <c:v>1.458962528282455E-23</c:v>
                </c:pt>
                <c:pt idx="719">
                  <c:v>1.2358510291339386E-23</c:v>
                </c:pt>
                <c:pt idx="720">
                  <c:v>1.0468446774728361E-23</c:v>
                </c:pt>
                <c:pt idx="721">
                  <c:v>8.8673242125911648E-24</c:v>
                </c:pt>
                <c:pt idx="722">
                  <c:v>7.5109904642461563E-24</c:v>
                </c:pt>
                <c:pt idx="723">
                  <c:v>6.362036974378598E-24</c:v>
                </c:pt>
                <c:pt idx="724">
                  <c:v>5.3887693078539201E-24</c:v>
                </c:pt>
                <c:pt idx="725">
                  <c:v>4.5643347561753114E-24</c:v>
                </c:pt>
                <c:pt idx="726">
                  <c:v>3.865983064366249E-24</c:v>
                </c:pt>
                <c:pt idx="727">
                  <c:v>3.274439976682947E-24</c:v>
                </c:pt>
                <c:pt idx="728">
                  <c:v>2.7733763936983121E-24</c:v>
                </c:pt>
                <c:pt idx="729">
                  <c:v>2.3489585565647041E-24</c:v>
                </c:pt>
                <c:pt idx="730">
                  <c:v>1.9894668972684711E-24</c:v>
                </c:pt>
                <c:pt idx="731">
                  <c:v>1.6849730784296305E-24</c:v>
                </c:pt>
                <c:pt idx="732">
                  <c:v>1.4270663437116562E-24</c:v>
                </c:pt>
                <c:pt idx="733">
                  <c:v>1.2086216539292936E-24</c:v>
                </c:pt>
                <c:pt idx="734">
                  <c:v>1.0236032315342401E-24</c:v>
                </c:pt>
                <c:pt idx="735">
                  <c:v>8.6689810900478788E-25</c:v>
                </c:pt>
                <c:pt idx="736">
                  <c:v>7.3417510109836925E-25</c:v>
                </c:pt>
                <c:pt idx="737">
                  <c:v>6.2176531961486856E-25</c:v>
                </c:pt>
                <c:pt idx="738">
                  <c:v>5.2656094163881569E-25</c:v>
                </c:pt>
                <c:pt idx="739">
                  <c:v>4.45929444048895E-25</c:v>
                </c:pt>
                <c:pt idx="740">
                  <c:v>3.7764094250627422E-25</c:v>
                </c:pt>
                <c:pt idx="741">
                  <c:v>3.1980663355212372E-25</c:v>
                </c:pt>
                <c:pt idx="742">
                  <c:v>2.7082664401469744E-25</c:v>
                </c:pt>
                <c:pt idx="743">
                  <c:v>2.2934585071872361E-25</c:v>
                </c:pt>
                <c:pt idx="744">
                  <c:v>1.9421645297168033E-25</c:v>
                </c:pt>
                <c:pt idx="745">
                  <c:v>1.6446626612927515E-25</c:v>
                </c:pt>
                <c:pt idx="746">
                  <c:v>1.3927186213234163E-25</c:v>
                </c:pt>
                <c:pt idx="747">
                  <c:v>1.1793581638333919E-25</c:v>
                </c:pt>
                <c:pt idx="748">
                  <c:v>9.986743343306532E-26</c:v>
                </c:pt>
                <c:pt idx="749">
                  <c:v>8.4566419842585002E-26</c:v>
                </c:pt>
                <c:pt idx="750">
                  <c:v>7.1609053738866859E-26</c:v>
                </c:pt>
                <c:pt idx="751">
                  <c:v>6.0636469458006345E-26</c:v>
                </c:pt>
                <c:pt idx="752">
                  <c:v>5.1344733940330586E-26</c:v>
                </c:pt>
                <c:pt idx="753">
                  <c:v>4.347644095894663E-26</c:v>
                </c:pt>
                <c:pt idx="754">
                  <c:v>3.6813591118714287E-26</c:v>
                </c:pt>
                <c:pt idx="755">
                  <c:v>3.1171561031779709E-26</c:v>
                </c:pt>
                <c:pt idx="756">
                  <c:v>2.6393995115511154E-26</c:v>
                </c:pt>
                <c:pt idx="757">
                  <c:v>2.2348478920631938E-26</c:v>
                </c:pt>
                <c:pt idx="758">
                  <c:v>1.8922874469509235E-26</c:v>
                </c:pt>
                <c:pt idx="759">
                  <c:v>1.6022216344574255E-26</c:v>
                </c:pt>
                <c:pt idx="760">
                  <c:v>1.3566082759120684E-26</c:v>
                </c:pt>
                <c:pt idx="761">
                  <c:v>1.1486368951105185E-26</c:v>
                </c:pt>
                <c:pt idx="762">
                  <c:v>9.7254013527853808E-27</c:v>
                </c:pt>
                <c:pt idx="763">
                  <c:v>8.2343403980678366E-27</c:v>
                </c:pt>
                <c:pt idx="764">
                  <c:v>6.9718278085582504E-27</c:v>
                </c:pt>
                <c:pt idx="765">
                  <c:v>5.9028409465691129E-27</c:v>
                </c:pt>
                <c:pt idx="766">
                  <c:v>4.9977225517439954E-27</c:v>
                </c:pt>
                <c:pt idx="767">
                  <c:v>4.2313590195470263E-27</c:v>
                </c:pt>
                <c:pt idx="768">
                  <c:v>3.5824844896516332E-27</c:v>
                </c:pt>
                <c:pt idx="769">
                  <c:v>3.0330914879810353E-27</c:v>
                </c:pt>
                <c:pt idx="770">
                  <c:v>2.5679318131904534E-27</c:v>
                </c:pt>
                <c:pt idx="771">
                  <c:v>2.1740938529373988E-27</c:v>
                </c:pt>
                <c:pt idx="772">
                  <c:v>1.8406446310103316E-27</c:v>
                </c:pt>
                <c:pt idx="773">
                  <c:v>1.558326674309978E-27</c:v>
                </c:pt>
                <c:pt idx="774">
                  <c:v>1.3193013073926456E-27</c:v>
                </c:pt>
                <c:pt idx="775">
                  <c:v>1.1169312658198294E-27</c:v>
                </c:pt>
                <c:pt idx="776">
                  <c:v>9.455966078564683E-28</c:v>
                </c:pt>
                <c:pt idx="777">
                  <c:v>8.0053882538024062E-28</c:v>
                </c:pt>
                <c:pt idx="778">
                  <c:v>6.7772883593019228E-28</c:v>
                </c:pt>
                <c:pt idx="779">
                  <c:v>5.7375519834426702E-28</c:v>
                </c:pt>
                <c:pt idx="780">
                  <c:v>4.8572945466678843E-28</c:v>
                </c:pt>
                <c:pt idx="781">
                  <c:v>4.1120597531763981E-28</c:v>
                </c:pt>
                <c:pt idx="782">
                  <c:v>3.4811408580058521E-28</c:v>
                </c:pt>
                <c:pt idx="783">
                  <c:v>2.9470059394126207E-28</c:v>
                </c:pt>
                <c:pt idx="784">
                  <c:v>2.494811240684283E-28</c:v>
                </c:pt>
                <c:pt idx="785">
                  <c:v>2.1119890923658501E-28</c:v>
                </c:pt>
                <c:pt idx="786">
                  <c:v>1.7878989867500492E-28</c:v>
                </c:pt>
                <c:pt idx="787">
                  <c:v>1.5135321297046542E-28</c:v>
                </c:pt>
                <c:pt idx="788">
                  <c:v>1.2812612757645882E-28</c:v>
                </c:pt>
                <c:pt idx="789">
                  <c:v>1.0846289077869958E-28</c:v>
                </c:pt>
                <c:pt idx="790">
                  <c:v>9.1816788517190144E-29</c:v>
                </c:pt>
                <c:pt idx="791">
                  <c:v>7.7724958533018877E-29</c:v>
                </c:pt>
                <c:pt idx="792">
                  <c:v>6.5795532463663588E-29</c:v>
                </c:pt>
                <c:pt idx="793">
                  <c:v>5.5696749135479305E-29</c:v>
                </c:pt>
                <c:pt idx="794">
                  <c:v>4.7147736907444473E-29</c:v>
                </c:pt>
                <c:pt idx="795">
                  <c:v>3.9910709262652628E-29</c:v>
                </c:pt>
                <c:pt idx="796">
                  <c:v>3.3784357015110602E-29</c:v>
                </c:pt>
                <c:pt idx="797">
                  <c:v>2.8598253702963449E-29</c:v>
                </c:pt>
                <c:pt idx="798">
                  <c:v>2.4208118844124751E-29</c:v>
                </c:pt>
                <c:pt idx="799">
                  <c:v>2.049180755998204E-29</c:v>
                </c:pt>
                <c:pt idx="800">
                  <c:v>1.734591518973894E-29</c:v>
                </c:pt>
              </c:numCache>
            </c:numRef>
          </c:yVal>
          <c:smooth val="0"/>
          <c:extLst>
            <c:ext xmlns:c16="http://schemas.microsoft.com/office/drawing/2014/chart" uri="{C3380CC4-5D6E-409C-BE32-E72D297353CC}">
              <c16:uniqueId val="{0000000C-1D62-4DE3-8E9D-34C68BC76380}"/>
            </c:ext>
          </c:extLst>
        </c:ser>
        <c:ser>
          <c:idx val="11"/>
          <c:order val="11"/>
          <c:tx>
            <c:strRef>
              <c:f>Calc!$O$6</c:f>
              <c:strCache>
                <c:ptCount val="1"/>
                <c:pt idx="0">
                  <c:v>12</c:v>
                </c:pt>
              </c:strCache>
            </c:strRef>
          </c:tx>
          <c:spPr>
            <a:ln w="28575">
              <a:noFill/>
            </a:ln>
          </c:spPr>
          <c:marker>
            <c:symbol val="triangle"/>
            <c:size val="5"/>
            <c:spPr>
              <a:solidFill>
                <a:srgbClr val="FFFF99"/>
              </a:solidFill>
              <a:ln>
                <a:solidFill>
                  <a:srgbClr val="FFFF99"/>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O$7:$O$807</c:f>
              <c:numCache>
                <c:formatCode>000,000,000</c:formatCode>
                <c:ptCount val="801"/>
                <c:pt idx="0">
                  <c:v>1.0857397130688361E-16</c:v>
                </c:pt>
                <c:pt idx="1">
                  <c:v>1.1931402420061024E-16</c:v>
                </c:pt>
                <c:pt idx="2">
                  <c:v>1.3111572301434816E-16</c:v>
                </c:pt>
                <c:pt idx="3">
                  <c:v>1.4408392577045454E-16</c:v>
                </c:pt>
                <c:pt idx="4">
                  <c:v>1.5833383765519448E-16</c:v>
                </c:pt>
                <c:pt idx="5">
                  <c:v>1.7399203096951528E-16</c:v>
                </c:pt>
                <c:pt idx="6">
                  <c:v>1.911975654964954E-16</c:v>
                </c:pt>
                <c:pt idx="7">
                  <c:v>2.1010321915771871E-16</c:v>
                </c:pt>
                <c:pt idx="8">
                  <c:v>2.3087683979991686E-16</c:v>
                </c:pt>
                <c:pt idx="9">
                  <c:v>2.5370283001710556E-16</c:v>
                </c:pt>
                <c:pt idx="10">
                  <c:v>2.7878377808156682E-16</c:v>
                </c:pt>
                <c:pt idx="11">
                  <c:v>3.0634224933956718E-16</c:v>
                </c:pt>
                <c:pt idx="12">
                  <c:v>3.3662275383582933E-16</c:v>
                </c:pt>
                <c:pt idx="13">
                  <c:v>3.6989390747661217E-16</c:v>
                </c:pt>
                <c:pt idx="14">
                  <c:v>4.0645080573856928E-16</c:v>
                </c:pt>
                <c:pt idx="15">
                  <c:v>4.4661763079386433E-16</c:v>
                </c:pt>
                <c:pt idx="16">
                  <c:v>4.907505149673835E-16</c:v>
                </c:pt>
                <c:pt idx="17">
                  <c:v>5.392406856878755E-16</c:v>
                </c:pt>
                <c:pt idx="18">
                  <c:v>5.9251791955969274E-16</c:v>
                </c:pt>
                <c:pt idx="19">
                  <c:v>6.5105433588823914E-16</c:v>
                </c:pt>
                <c:pt idx="20">
                  <c:v>7.1536856296289203E-16</c:v>
                </c:pt>
                <c:pt idx="21">
                  <c:v>7.8603031366212851E-16</c:v>
                </c:pt>
                <c:pt idx="22">
                  <c:v>8.6366541052511525E-16</c:v>
                </c:pt>
                <c:pt idx="23">
                  <c:v>9.4896130436324854E-16</c:v>
                </c:pt>
                <c:pt idx="24">
                  <c:v>1.0426731347979448E-15</c:v>
                </c:pt>
                <c:pt idx="25">
                  <c:v>1.1456303858447921E-15</c:v>
                </c:pt>
                <c:pt idx="26">
                  <c:v>1.2587441948599173E-15</c:v>
                </c:pt>
                <c:pt idx="27">
                  <c:v>1.3830153788675803E-15</c:v>
                </c:pt>
                <c:pt idx="28">
                  <c:v>1.5195432485464203E-15</c:v>
                </c:pt>
                <c:pt idx="29">
                  <c:v>1.6695352870220984E-15</c:v>
                </c:pt>
                <c:pt idx="30">
                  <c:v>1.8343177781523617E-15</c:v>
                </c:pt>
                <c:pt idx="31">
                  <c:v>2.0153474772653624E-15</c:v>
                </c:pt>
                <c:pt idx="32">
                  <c:v>2.2142244263915624E-15</c:v>
                </c:pt>
                <c:pt idx="33">
                  <c:v>2.4327060259948829E-15</c:v>
                </c:pt>
                <c:pt idx="34">
                  <c:v>2.6727224861435696E-15</c:v>
                </c:pt>
                <c:pt idx="35">
                  <c:v>2.9363937920608519E-15</c:v>
                </c:pt>
                <c:pt idx="36">
                  <c:v>3.2260483321637468E-15</c:v>
                </c:pt>
                <c:pt idx="37">
                  <c:v>3.5442433511463304E-15</c:v>
                </c:pt>
                <c:pt idx="38">
                  <c:v>3.8937874065191656E-15</c:v>
                </c:pt>
                <c:pt idx="39">
                  <c:v>4.2777650244112181E-15</c:v>
                </c:pt>
                <c:pt idx="40">
                  <c:v>4.6995637695286354E-15</c:v>
                </c:pt>
                <c:pt idx="41">
                  <c:v>5.1629039651060407E-15</c:v>
                </c:pt>
                <c:pt idx="42">
                  <c:v>5.6718713216623368E-15</c:v>
                </c:pt>
                <c:pt idx="43">
                  <c:v>6.2309527585803E-15</c:v>
                </c:pt>
                <c:pt idx="44">
                  <c:v>6.8450757301841694E-15</c:v>
                </c:pt>
                <c:pt idx="45">
                  <c:v>7.5196513983283315E-15</c:v>
                </c:pt>
                <c:pt idx="46">
                  <c:v>8.2606220267904793E-15</c:v>
                </c:pt>
                <c:pt idx="47">
                  <c:v>9.0745130092747965E-15</c:v>
                </c:pt>
                <c:pt idx="48">
                  <c:v>9.968489982876704E-15</c:v>
                </c:pt>
                <c:pt idx="49">
                  <c:v>1.0950421522793591E-14</c:v>
                </c:pt>
                <c:pt idx="50">
                  <c:v>1.2028947962249841E-14</c:v>
                </c:pt>
                <c:pt idx="51">
                  <c:v>1.3213556934457881E-14</c:v>
                </c:pt>
                <c:pt idx="52">
                  <c:v>1.45146662914047E-14</c:v>
                </c:pt>
                <c:pt idx="53">
                  <c:v>1.5943715117832166E-14</c:v>
                </c:pt>
                <c:pt idx="54">
                  <c:v>1.751326362850385E-14</c:v>
                </c:pt>
                <c:pt idx="55">
                  <c:v>1.9237102813325069E-14</c:v>
                </c:pt>
                <c:pt idx="56">
                  <c:v>2.1130374778736569E-14</c:v>
                </c:pt>
                <c:pt idx="57">
                  <c:v>2.3209704825768283E-14</c:v>
                </c:pt>
                <c:pt idx="58">
                  <c:v>2.5493346405979629E-14</c:v>
                </c:pt>
                <c:pt idx="59">
                  <c:v>2.8001340207084702E-14</c:v>
                </c:pt>
                <c:pt idx="60">
                  <c:v>3.0755688741311853E-14</c:v>
                </c:pt>
                <c:pt idx="61">
                  <c:v>3.3780547942477725E-14</c:v>
                </c:pt>
                <c:pt idx="62">
                  <c:v>3.710243742350768E-14</c:v>
                </c:pt>
                <c:pt idx="63">
                  <c:v>4.0750471205936267E-14</c:v>
                </c:pt>
                <c:pt idx="64">
                  <c:v>4.4756610908096343E-14</c:v>
                </c:pt>
                <c:pt idx="65">
                  <c:v>4.9155943570759375E-14</c:v>
                </c:pt>
                <c:pt idx="66">
                  <c:v>5.3986986509518151E-14</c:v>
                </c:pt>
                <c:pt idx="67">
                  <c:v>5.9292021813961148E-14</c:v>
                </c:pt>
                <c:pt idx="68">
                  <c:v>6.5117463366665351E-14</c:v>
                </c:pt>
                <c:pt idx="69">
                  <c:v>7.1514259532255547E-14</c:v>
                </c:pt>
                <c:pt idx="70">
                  <c:v>7.8538334970693264E-14</c:v>
                </c:pt>
                <c:pt idx="71">
                  <c:v>8.6251075361959424E-14</c:v>
                </c:pt>
                <c:pt idx="72">
                  <c:v>9.4719859194308854E-14</c:v>
                </c:pt>
                <c:pt idx="73">
                  <c:v>1.0401864116823417E-13</c:v>
                </c:pt>
                <c:pt idx="74">
                  <c:v>1.1422859220655962E-13</c:v>
                </c:pt>
                <c:pt idx="75">
                  <c:v>1.2543880154138133E-13</c:v>
                </c:pt>
                <c:pt idx="76">
                  <c:v>1.3774704687476739E-13</c:v>
                </c:pt>
                <c:pt idx="77">
                  <c:v>1.5126063918670043E-13</c:v>
                </c:pt>
                <c:pt idx="78">
                  <c:v>1.6609734939540633E-13</c:v>
                </c:pt>
                <c:pt idx="79">
                  <c:v>1.823864247672596E-13</c:v>
                </c:pt>
                <c:pt idx="80">
                  <c:v>2.0026970373146457E-13</c:v>
                </c:pt>
                <c:pt idx="81">
                  <c:v>2.1990283858518652E-13</c:v>
                </c:pt>
                <c:pt idx="82">
                  <c:v>2.4145663648436558E-13</c:v>
                </c:pt>
                <c:pt idx="83">
                  <c:v>2.651185301116832E-13</c:v>
                </c:pt>
                <c:pt idx="84">
                  <c:v>2.9109419050425346E-13</c:v>
                </c:pt>
                <c:pt idx="85">
                  <c:v>3.1960929571864461E-13</c:v>
                </c:pt>
                <c:pt idx="86">
                  <c:v>3.5091147031926765E-13</c:v>
                </c:pt>
                <c:pt idx="87">
                  <c:v>3.8527241210917898E-13</c:v>
                </c:pt>
                <c:pt idx="88">
                  <c:v>4.2299022409129653E-13</c:v>
                </c:pt>
                <c:pt idx="89">
                  <c:v>4.6439197136582028E-13</c:v>
                </c:pt>
                <c:pt idx="90">
                  <c:v>5.0983648455041941E-13</c:v>
                </c:pt>
                <c:pt idx="91">
                  <c:v>5.5971743336860129E-13</c:v>
                </c:pt>
                <c:pt idx="92">
                  <c:v>6.1446669630544891E-13</c:v>
                </c:pt>
                <c:pt idx="93">
                  <c:v>6.7455805469696597E-13</c:v>
                </c:pt>
                <c:pt idx="94">
                  <c:v>7.4051124231933545E-13</c:v>
                </c:pt>
                <c:pt idx="95">
                  <c:v>8.1289638449949799E-13</c:v>
                </c:pt>
                <c:pt idx="96">
                  <c:v>8.923388640025901E-13</c:v>
                </c:pt>
                <c:pt idx="97">
                  <c:v>9.7952465449034885E-13</c:v>
                </c:pt>
                <c:pt idx="98">
                  <c:v>1.0752061662169918E-12</c:v>
                </c:pt>
                <c:pt idx="99">
                  <c:v>1.1802086528655502E-12</c:v>
                </c:pt>
                <c:pt idx="100">
                  <c:v>1.2954372330624293E-12</c:v>
                </c:pt>
                <c:pt idx="101">
                  <c:v>1.4218845851783787E-12</c:v>
                </c:pt>
                <c:pt idx="102">
                  <c:v>1.5606393795701318E-12</c:v>
                </c:pt>
                <c:pt idx="103">
                  <c:v>1.7128955184826655E-12</c:v>
                </c:pt>
                <c:pt idx="104">
                  <c:v>1.8799622604668249E-12</c:v>
                </c:pt>
                <c:pt idx="105">
                  <c:v>2.0632753134212023E-12</c:v>
                </c:pt>
                <c:pt idx="106">
                  <c:v>2.2644089883009405E-12</c:v>
                </c:pt>
                <c:pt idx="107">
                  <c:v>2.4850895142090214E-12</c:v>
                </c:pt>
                <c:pt idx="108">
                  <c:v>2.7272096250692988E-12</c:v>
                </c:pt>
                <c:pt idx="109">
                  <c:v>2.9928445384455347E-12</c:v>
                </c:pt>
                <c:pt idx="110">
                  <c:v>3.2842694584028062E-12</c:v>
                </c:pt>
                <c:pt idx="111">
                  <c:v>3.6039787466908069E-12</c:v>
                </c:pt>
                <c:pt idx="112">
                  <c:v>3.9547069200635174E-12</c:v>
                </c:pt>
                <c:pt idx="113">
                  <c:v>4.339451646337963E-12</c:v>
                </c:pt>
                <c:pt idx="114">
                  <c:v>4.7614989279543669E-12</c:v>
                </c:pt>
                <c:pt idx="115">
                  <c:v>5.2244506794537347E-12</c:v>
                </c:pt>
                <c:pt idx="116">
                  <c:v>5.7322549245736162E-12</c:v>
                </c:pt>
                <c:pt idx="117">
                  <c:v>6.2892388597268153E-12</c:v>
                </c:pt>
                <c:pt idx="118">
                  <c:v>6.9001450536342251E-12</c:v>
                </c:pt>
                <c:pt idx="119">
                  <c:v>7.5701710780035547E-12</c:v>
                </c:pt>
                <c:pt idx="120">
                  <c:v>8.3050128915785259E-12</c:v>
                </c:pt>
                <c:pt idx="121">
                  <c:v>9.1109123298300277E-12</c:v>
                </c:pt>
                <c:pt idx="122">
                  <c:v>9.9947090852532197E-12</c:v>
                </c:pt>
                <c:pt idx="123">
                  <c:v>1.0963897598918745E-11</c:v>
                </c:pt>
                <c:pt idx="124">
                  <c:v>1.2026689322868803E-11</c:v>
                </c:pt>
                <c:pt idx="125">
                  <c:v>1.3192080855444874E-11</c:v>
                </c:pt>
                <c:pt idx="126">
                  <c:v>1.4469928497999617E-11</c:v>
                </c:pt>
                <c:pt idx="127">
                  <c:v>1.5871029832026804E-11</c:v>
                </c:pt>
                <c:pt idx="128">
                  <c:v>1.7407212970914903E-11</c:v>
                </c:pt>
                <c:pt idx="129">
                  <c:v>1.9091434200703649E-11</c:v>
                </c:pt>
                <c:pt idx="130">
                  <c:v>2.093788478983526E-11</c:v>
                </c:pt>
                <c:pt idx="131">
                  <c:v>2.2962107819436175E-11</c:v>
                </c:pt>
                <c:pt idx="132">
                  <c:v>2.5181125963646996E-11</c:v>
                </c:pt>
                <c:pt idx="133">
                  <c:v>2.7613581234528527E-11</c:v>
                </c:pt>
                <c:pt idx="134">
                  <c:v>3.0279887798702507E-11</c:v>
                </c:pt>
                <c:pt idx="135">
                  <c:v>3.3202399073828507E-11</c:v>
                </c:pt>
                <c:pt idx="136">
                  <c:v>3.6405590422976862E-11</c:v>
                </c:pt>
                <c:pt idx="137">
                  <c:v>3.9916258884746859E-11</c:v>
                </c:pt>
                <c:pt idx="138">
                  <c:v>4.3763741507415013E-11</c:v>
                </c:pt>
                <c:pt idx="139">
                  <c:v>4.7980153997446807E-11</c:v>
                </c:pt>
                <c:pt idx="140">
                  <c:v>5.2600651547335297E-11</c:v>
                </c:pt>
                <c:pt idx="141">
                  <c:v>5.7663713876046077E-11</c:v>
                </c:pt>
                <c:pt idx="142">
                  <c:v>6.3211456698518569E-11</c:v>
                </c:pt>
                <c:pt idx="143">
                  <c:v>6.9289972039977417E-11</c:v>
                </c:pt>
                <c:pt idx="144">
                  <c:v>7.5949700027598236E-11</c:v>
                </c:pt>
                <c:pt idx="145">
                  <c:v>8.3245835027893787E-11</c:v>
                </c:pt>
                <c:pt idx="146">
                  <c:v>9.1238769254573332E-11</c:v>
                </c:pt>
                <c:pt idx="147">
                  <c:v>9.9994577250389569E-11</c:v>
                </c:pt>
                <c:pt idx="148">
                  <c:v>1.0958554494946657E-10</c:v>
                </c:pt>
                <c:pt idx="149">
                  <c:v>1.2009074735584834E-10</c:v>
                </c:pt>
                <c:pt idx="150">
                  <c:v>1.3159667923168718E-10</c:v>
                </c:pt>
                <c:pt idx="151">
                  <c:v>1.4419794357704149E-10</c:v>
                </c:pt>
                <c:pt idx="152">
                  <c:v>1.5799800310510109E-10</c:v>
                </c:pt>
                <c:pt idx="153">
                  <c:v>1.7311000037473289E-10</c:v>
                </c:pt>
                <c:pt idx="154">
                  <c:v>1.8965765273931432E-10</c:v>
                </c:pt>
                <c:pt idx="155">
                  <c:v>2.0777622881028023E-10</c:v>
                </c:pt>
                <c:pt idx="156">
                  <c:v>2.2761361371892724E-10</c:v>
                </c:pt>
                <c:pt idx="157">
                  <c:v>2.4933147109465059E-10</c:v>
                </c:pt>
                <c:pt idx="158">
                  <c:v>2.7310651036577975E-10</c:v>
                </c:pt>
                <c:pt idx="159">
                  <c:v>2.9913186873492402E-10</c:v>
                </c:pt>
                <c:pt idx="160">
                  <c:v>3.2761861798878903E-10</c:v>
                </c:pt>
                <c:pt idx="161">
                  <c:v>3.5879740717768755E-10</c:v>
                </c:pt>
                <c:pt idx="162">
                  <c:v>3.9292025314782869E-10</c:v>
                </c:pt>
                <c:pt idx="163">
                  <c:v>4.3026249193553165E-10</c:v>
                </c:pt>
                <c:pt idx="164">
                  <c:v>4.7112490514290864E-10</c:v>
                </c:pt>
                <c:pt idx="165">
                  <c:v>5.1583603661577911E-10</c:v>
                </c:pt>
                <c:pt idx="166">
                  <c:v>5.6475471604374824E-10</c:v>
                </c:pt>
                <c:pt idx="167">
                  <c:v>6.182728075065332E-10</c:v>
                </c:pt>
                <c:pt idx="168">
                  <c:v>6.7681820250848951E-10</c:v>
                </c:pt>
                <c:pt idx="169">
                  <c:v>7.408580786824756E-10</c:v>
                </c:pt>
                <c:pt idx="170">
                  <c:v>8.1090244711457742E-10</c:v>
                </c:pt>
                <c:pt idx="171">
                  <c:v>8.8750801315187887E-10</c:v>
                </c:pt>
                <c:pt idx="172">
                  <c:v>9.7128237761713257E-10</c:v>
                </c:pt>
                <c:pt idx="173">
                  <c:v>1.0628886075775584E-9</c:v>
                </c:pt>
                <c:pt idx="174">
                  <c:v>1.1630502082116801E-9</c:v>
                </c:pt>
                <c:pt idx="175">
                  <c:v>1.272556529900892E-9</c:v>
                </c:pt>
                <c:pt idx="176">
                  <c:v>1.3922686474535745E-9</c:v>
                </c:pt>
                <c:pt idx="177">
                  <c:v>1.5231257513640591E-9</c:v>
                </c:pt>
                <c:pt idx="178">
                  <c:v>1.6661520942299801E-9</c:v>
                </c:pt>
                <c:pt idx="179">
                  <c:v>1.8224645389160957E-9</c:v>
                </c:pt>
                <c:pt idx="180">
                  <c:v>1.9932807587762893E-9</c:v>
                </c:pt>
                <c:pt idx="181">
                  <c:v>2.1799281442452178E-9</c:v>
                </c:pt>
                <c:pt idx="182">
                  <c:v>2.3838534744055252E-9</c:v>
                </c:pt>
                <c:pt idx="183">
                  <c:v>2.6066334167444194E-9</c:v>
                </c:pt>
                <c:pt idx="184">
                  <c:v>2.8499859232538043E-9</c:v>
                </c:pt>
                <c:pt idx="185">
                  <c:v>3.1157825963237974E-9</c:v>
                </c:pt>
                <c:pt idx="186">
                  <c:v>3.4060621035490759E-9</c:v>
                </c:pt>
                <c:pt idx="187">
                  <c:v>3.7230447266364108E-9</c:v>
                </c:pt>
                <c:pt idx="188">
                  <c:v>4.0691481360913707E-9</c:v>
                </c:pt>
                <c:pt idx="189">
                  <c:v>4.4470044902975956E-9</c:v>
                </c:pt>
                <c:pt idx="190">
                  <c:v>4.8594789650075787E-9</c:v>
                </c:pt>
                <c:pt idx="191">
                  <c:v>5.3096898271658376E-9</c:v>
                </c:pt>
                <c:pt idx="192">
                  <c:v>5.8010301754090783E-9</c:v>
                </c:pt>
                <c:pt idx="193">
                  <c:v>6.337191478560949E-9</c:v>
                </c:pt>
                <c:pt idx="194">
                  <c:v>6.9221890529877968E-9</c:v>
                </c:pt>
                <c:pt idx="195">
                  <c:v>7.5603896298344175E-9</c:v>
                </c:pt>
                <c:pt idx="196">
                  <c:v>8.2565411739410943E-9</c:v>
                </c:pt>
                <c:pt idx="197">
                  <c:v>9.0158051276858098E-9</c:v>
                </c:pt>
                <c:pt idx="198">
                  <c:v>9.8437912651208326E-9</c:v>
                </c:pt>
                <c:pt idx="199">
                  <c:v>1.0746595354611411E-8</c:v>
                </c:pt>
                <c:pt idx="200">
                  <c:v>1.1730839841758772E-8</c:v>
                </c:pt>
                <c:pt idx="201">
                  <c:v>1.2803717778726024E-8</c:v>
                </c:pt>
                <c:pt idx="202">
                  <c:v>1.3973040241204457E-8</c:v>
                </c:pt>
                <c:pt idx="203">
                  <c:v>1.5247287490180438E-8</c:v>
                </c:pt>
                <c:pt idx="204">
                  <c:v>1.6635664152409341E-8</c:v>
                </c:pt>
                <c:pt idx="205">
                  <c:v>1.8148158711081141E-8</c:v>
                </c:pt>
                <c:pt idx="206">
                  <c:v>1.9795607616591984E-8</c:v>
                </c:pt>
                <c:pt idx="207">
                  <c:v>2.1589764346612987E-8</c:v>
                </c:pt>
                <c:pt idx="208">
                  <c:v>2.354337376478184E-8</c:v>
                </c:pt>
                <c:pt idx="209">
                  <c:v>2.56702521483237E-8</c:v>
                </c:pt>
                <c:pt idx="210">
                  <c:v>2.7985373276720507E-8</c:v>
                </c:pt>
                <c:pt idx="211">
                  <c:v>3.0504960996177418E-8</c:v>
                </c:pt>
                <c:pt idx="212">
                  <c:v>3.3246588698050262E-8</c:v>
                </c:pt>
                <c:pt idx="213">
                  <c:v>3.6229286173543364E-8</c:v>
                </c:pt>
                <c:pt idx="214">
                  <c:v>3.9473654331837203E-8</c:v>
                </c:pt>
                <c:pt idx="215">
                  <c:v>4.3001988294262706E-8</c:v>
                </c:pt>
                <c:pt idx="216">
                  <c:v>4.6838409403144015E-8</c:v>
                </c:pt>
                <c:pt idx="217">
                  <c:v>5.1009006710367323E-8</c:v>
                </c:pt>
                <c:pt idx="218">
                  <c:v>5.5541988537506268E-8</c:v>
                </c:pt>
                <c:pt idx="219">
                  <c:v>6.0467844726261295E-8</c:v>
                </c:pt>
                <c:pt idx="220">
                  <c:v>6.5819520224953365E-8</c:v>
                </c:pt>
                <c:pt idx="221">
                  <c:v>7.1632600683585137E-8</c:v>
                </c:pt>
                <c:pt idx="222">
                  <c:v>7.7945510756407368E-8</c:v>
                </c:pt>
                <c:pt idx="223">
                  <c:v>8.4799725836698166E-8</c:v>
                </c:pt>
                <c:pt idx="224">
                  <c:v>9.2239997973315726E-8</c:v>
                </c:pt>
                <c:pt idx="225">
                  <c:v>1.0031459674225254E-7</c:v>
                </c:pt>
                <c:pt idx="226">
                  <c:v>1.0907556586842204E-7</c:v>
                </c:pt>
                <c:pt idx="227">
                  <c:v>1.185789964130356E-7</c:v>
                </c:pt>
                <c:pt idx="228">
                  <c:v>1.2888531735952564E-7</c:v>
                </c:pt>
                <c:pt idx="229">
                  <c:v>1.400596044457325E-7</c:v>
                </c:pt>
                <c:pt idx="230">
                  <c:v>1.5217190810133209E-7</c:v>
                </c:pt>
                <c:pt idx="231">
                  <c:v>1.6529760135669683E-7</c:v>
                </c:pt>
                <c:pt idx="232">
                  <c:v>1.795177485918874E-7</c:v>
                </c:pt>
                <c:pt idx="233">
                  <c:v>1.9491949599153356E-7</c:v>
                </c:pt>
                <c:pt idx="234">
                  <c:v>2.115964845622265E-7</c:v>
                </c:pt>
                <c:pt idx="235">
                  <c:v>2.296492865528242E-7</c:v>
                </c:pt>
                <c:pt idx="236">
                  <c:v>2.4918586609389054E-7</c:v>
                </c:pt>
                <c:pt idx="237">
                  <c:v>2.703220648393147E-7</c:v>
                </c:pt>
                <c:pt idx="238">
                  <c:v>2.9318211334995894E-7</c:v>
                </c:pt>
                <c:pt idx="239">
                  <c:v>3.1789916890481082E-7</c:v>
                </c:pt>
                <c:pt idx="240">
                  <c:v>3.4461588035832692E-7</c:v>
                </c:pt>
                <c:pt idx="241">
                  <c:v>3.7348498058225367E-7</c:v>
                </c:pt>
                <c:pt idx="242">
                  <c:v>4.0466990693467419E-7</c:v>
                </c:pt>
                <c:pt idx="243">
                  <c:v>4.3834545008711556E-7</c:v>
                </c:pt>
                <c:pt idx="244">
                  <c:v>4.7469843141063412E-7</c:v>
                </c:pt>
                <c:pt idx="245">
                  <c:v>5.1392840897227333E-7</c:v>
                </c:pt>
                <c:pt idx="246">
                  <c:v>5.5624841202275811E-7</c:v>
                </c:pt>
                <c:pt idx="247">
                  <c:v>6.0188570366282374E-7</c:v>
                </c:pt>
                <c:pt idx="248">
                  <c:v>6.5108257115756686E-7</c:v>
                </c:pt>
                <c:pt idx="249">
                  <c:v>7.0409714312410353E-7</c:v>
                </c:pt>
                <c:pt idx="250">
                  <c:v>7.6120423254554048E-7</c:v>
                </c:pt>
                <c:pt idx="251">
                  <c:v>8.2269620426236398E-7</c:v>
                </c:pt>
                <c:pt idx="252">
                  <c:v>8.8888386525901007E-7</c:v>
                </c:pt>
                <c:pt idx="253">
                  <c:v>9.6009737569693768E-7</c:v>
                </c:pt>
                <c:pt idx="254">
                  <c:v>1.0366871782445575E-6</c:v>
                </c:pt>
                <c:pt idx="255">
                  <c:v>1.1190249428169883E-6</c:v>
                </c:pt>
                <c:pt idx="256">
                  <c:v>1.2075045233643115E-6</c:v>
                </c:pt>
                <c:pt idx="257">
                  <c:v>1.3025429228335932E-6</c:v>
                </c:pt>
                <c:pt idx="258">
                  <c:v>1.4045812618775081E-6</c:v>
                </c:pt>
                <c:pt idx="259">
                  <c:v>1.5140857462896649E-6</c:v>
                </c:pt>
                <c:pt idx="260">
                  <c:v>1.6315486275135758E-6</c:v>
                </c:pt>
                <c:pt idx="261">
                  <c:v>1.7574891498989625E-6</c:v>
                </c:pt>
                <c:pt idx="262">
                  <c:v>1.8924544776655862E-6</c:v>
                </c:pt>
                <c:pt idx="263">
                  <c:v>2.0370205937830402E-6</c:v>
                </c:pt>
                <c:pt idx="264">
                  <c:v>2.1917931621853667E-6</c:v>
                </c:pt>
                <c:pt idx="265">
                  <c:v>2.3574083439151852E-6</c:v>
                </c:pt>
                <c:pt idx="266">
                  <c:v>2.5345335569358399E-6</c:v>
                </c:pt>
                <c:pt idx="267">
                  <c:v>2.7238681684647551E-6</c:v>
                </c:pt>
                <c:pt idx="268">
                  <c:v>2.9261441077736247E-6</c:v>
                </c:pt>
                <c:pt idx="269">
                  <c:v>3.1421263864734497E-6</c:v>
                </c:pt>
                <c:pt idx="270">
                  <c:v>3.3726135123646875E-6</c:v>
                </c:pt>
                <c:pt idx="271">
                  <c:v>3.6184377819904798E-6</c:v>
                </c:pt>
                <c:pt idx="272">
                  <c:v>3.8804654360930312E-6</c:v>
                </c:pt>
                <c:pt idx="273">
                  <c:v>4.1595966612513837E-6</c:v>
                </c:pt>
                <c:pt idx="274">
                  <c:v>4.456765420082134E-6</c:v>
                </c:pt>
                <c:pt idx="275">
                  <c:v>4.7729390915278389E-6</c:v>
                </c:pt>
                <c:pt idx="276">
                  <c:v>5.1091179019541093E-6</c:v>
                </c:pt>
                <c:pt idx="277">
                  <c:v>5.4663341270406537E-6</c:v>
                </c:pt>
                <c:pt idx="278">
                  <c:v>5.8456510438028553E-6</c:v>
                </c:pt>
                <c:pt idx="279">
                  <c:v>6.248161611534451E-6</c:v>
                </c:pt>
                <c:pt idx="280">
                  <c:v>6.6749868600405117E-6</c:v>
                </c:pt>
                <c:pt idx="281">
                  <c:v>7.127273963253345E-6</c:v>
                </c:pt>
                <c:pt idx="282">
                  <c:v>7.6061939762137558E-6</c:v>
                </c:pt>
                <c:pt idx="283">
                  <c:v>8.1129392134819081E-6</c:v>
                </c:pt>
                <c:pt idx="284">
                  <c:v>8.6487202473364942E-6</c:v>
                </c:pt>
                <c:pt idx="285">
                  <c:v>9.2147625046576641E-6</c:v>
                </c:pt>
                <c:pt idx="286">
                  <c:v>9.8123024421880085E-6</c:v>
                </c:pt>
                <c:pt idx="287">
                  <c:v>1.0442583280959249E-5</c:v>
                </c:pt>
                <c:pt idx="288">
                  <c:v>1.1106850282078978E-5</c:v>
                </c:pt>
                <c:pt idx="289">
                  <c:v>1.1806345547820927E-5</c:v>
                </c:pt>
                <c:pt idx="290">
                  <c:v>1.2542302334077425E-5</c:v>
                </c:pt>
                <c:pt idx="291">
                  <c:v>1.3315938862733289E-5</c:v>
                </c:pt>
                <c:pt idx="292">
                  <c:v>1.4128451625432785E-5</c:v>
                </c:pt>
                <c:pt idx="293">
                  <c:v>1.4981008173544875E-5</c:v>
                </c:pt>
                <c:pt idx="294">
                  <c:v>1.5874739392910814E-5</c:v>
                </c:pt>
                <c:pt idx="295">
                  <c:v>1.6810731266183979E-5</c:v>
                </c:pt>
                <c:pt idx="296">
                  <c:v>1.7790016130259191E-5</c:v>
                </c:pt>
                <c:pt idx="297">
                  <c:v>1.8813563441429839E-5</c:v>
                </c:pt>
                <c:pt idx="298">
                  <c:v>1.9882270066507505E-5</c:v>
                </c:pt>
                <c:pt idx="299">
                  <c:v>2.0996950124176249E-5</c:v>
                </c:pt>
                <c:pt idx="300">
                  <c:v>2.2158324407309924E-5</c:v>
                </c:pt>
                <c:pt idx="301">
                  <c:v>2.3367009423830441E-5</c:v>
                </c:pt>
                <c:pt idx="302">
                  <c:v>2.4623506100894762E-5</c:v>
                </c:pt>
                <c:pt idx="303">
                  <c:v>2.592818820471135E-5</c:v>
                </c:pt>
                <c:pt idx="304">
                  <c:v>2.7281290536062397E-5</c:v>
                </c:pt>
                <c:pt idx="305">
                  <c:v>2.8682896969563715E-5</c:v>
                </c:pt>
                <c:pt idx="306">
                  <c:v>3.0132928412767667E-5</c:v>
                </c:pt>
                <c:pt idx="307">
                  <c:v>3.1631130769305475E-5</c:v>
                </c:pt>
                <c:pt idx="308">
                  <c:v>3.3177062998287188E-5</c:v>
                </c:pt>
                <c:pt idx="309">
                  <c:v>3.4770085370014281E-5</c:v>
                </c:pt>
                <c:pt idx="310">
                  <c:v>3.6409348025592743E-5</c:v>
                </c:pt>
                <c:pt idx="311">
                  <c:v>3.8093779955146939E-5</c:v>
                </c:pt>
                <c:pt idx="312">
                  <c:v>3.9822078515879663E-5</c:v>
                </c:pt>
                <c:pt idx="313">
                  <c:v>4.1592699617062855E-5</c:v>
                </c:pt>
                <c:pt idx="314">
                  <c:v>4.3403848704039302E-5</c:v>
                </c:pt>
                <c:pt idx="315">
                  <c:v>4.5253472677302825E-5</c:v>
                </c:pt>
                <c:pt idx="316">
                  <c:v>4.7139252885567003E-5</c:v>
                </c:pt>
                <c:pt idx="317">
                  <c:v>4.9058599333270435E-5</c:v>
                </c:pt>
                <c:pt idx="318">
                  <c:v>5.1008646243060113E-5</c:v>
                </c:pt>
                <c:pt idx="319">
                  <c:v>5.298624911230317E-5</c:v>
                </c:pt>
                <c:pt idx="320">
                  <c:v>5.4987983399469543E-5</c:v>
                </c:pt>
                <c:pt idx="321">
                  <c:v>5.7010144971200271E-5</c:v>
                </c:pt>
                <c:pt idx="322">
                  <c:v>5.9048752433906598E-5</c:v>
                </c:pt>
                <c:pt idx="323">
                  <c:v>6.109955146478503E-5</c:v>
                </c:pt>
                <c:pt idx="324">
                  <c:v>6.3158021246096009E-5</c:v>
                </c:pt>
                <c:pt idx="325">
                  <c:v>6.5219383093435203E-5</c:v>
                </c:pt>
                <c:pt idx="326">
                  <c:v>6.7278611353512656E-5</c:v>
                </c:pt>
                <c:pt idx="327">
                  <c:v>6.9330446629675316E-5</c:v>
                </c:pt>
                <c:pt idx="328">
                  <c:v>7.1369411374151608E-5</c:v>
                </c:pt>
                <c:pt idx="329">
                  <c:v>7.3389827864832213E-5</c:v>
                </c:pt>
                <c:pt idx="330">
                  <c:v>7.5385838561501498E-5</c:v>
                </c:pt>
                <c:pt idx="331">
                  <c:v>7.7351428811968544E-5</c:v>
                </c:pt>
                <c:pt idx="332">
                  <c:v>7.9280451852717447E-5</c:v>
                </c:pt>
                <c:pt idx="333">
                  <c:v>8.1166656021799765E-5</c:v>
                </c:pt>
                <c:pt idx="334">
                  <c:v>8.3003714073976467E-5</c:v>
                </c:pt>
                <c:pt idx="335">
                  <c:v>8.4785254459948754E-5</c:v>
                </c:pt>
                <c:pt idx="336">
                  <c:v>8.6504894403233913E-5</c:v>
                </c:pt>
                <c:pt idx="337">
                  <c:v>8.8156274580239962E-5</c:v>
                </c:pt>
                <c:pt idx="338">
                  <c:v>8.9733095181781486E-5</c:v>
                </c:pt>
                <c:pt idx="339">
                  <c:v>9.1229153108076893E-5</c:v>
                </c:pt>
                <c:pt idx="340">
                  <c:v>9.2638380024621543E-5</c:v>
                </c:pt>
                <c:pt idx="341">
                  <c:v>9.3954880983671257E-5</c:v>
                </c:pt>
                <c:pt idx="342">
                  <c:v>9.5172973295839312E-5</c:v>
                </c:pt>
                <c:pt idx="343">
                  <c:v>9.6287225318918506E-5</c:v>
                </c:pt>
                <c:pt idx="344">
                  <c:v>9.7292494816892609E-5</c:v>
                </c:pt>
                <c:pt idx="345">
                  <c:v>9.818396653157883E-5</c:v>
                </c:pt>
                <c:pt idx="346">
                  <c:v>9.895718860276239E-5</c:v>
                </c:pt>
                <c:pt idx="347">
                  <c:v>9.9608107470325024E-5</c:v>
                </c:pt>
                <c:pt idx="348">
                  <c:v>1.0013310089399719E-4</c:v>
                </c:pt>
                <c:pt idx="349">
                  <c:v>1.00529008733112E-4</c:v>
                </c:pt>
                <c:pt idx="350">
                  <c:v>1.0079316114021668E-4</c:v>
                </c:pt>
                <c:pt idx="351">
                  <c:v>1.0092340383867413E-4</c:v>
                </c:pt>
                <c:pt idx="352">
                  <c:v>1.009181201753426E-4</c:v>
                </c:pt>
                <c:pt idx="353">
                  <c:v>1.0077624966503223E-4</c:v>
                </c:pt>
                <c:pt idx="354">
                  <c:v>1.0049730277337126E-4</c:v>
                </c:pt>
                <c:pt idx="355">
                  <c:v>1.0008137171883988E-4</c:v>
                </c:pt>
                <c:pt idx="356">
                  <c:v>9.9529137112534192E-5</c:v>
                </c:pt>
                <c:pt idx="357">
                  <c:v>9.8841870295381643E-5</c:v>
                </c:pt>
                <c:pt idx="358">
                  <c:v>9.8021431276501045E-5</c:v>
                </c:pt>
                <c:pt idx="359">
                  <c:v>9.707026222259229E-5</c:v>
                </c:pt>
                <c:pt idx="360">
                  <c:v>9.5991376496094741E-5</c:v>
                </c:pt>
                <c:pt idx="361">
                  <c:v>9.4788343288664776E-5</c:v>
                </c:pt>
                <c:pt idx="362">
                  <c:v>9.3465267945610822E-5</c:v>
                </c:pt>
                <c:pt idx="363">
                  <c:v>9.2026768125592323E-5</c:v>
                </c:pt>
                <c:pt idx="364">
                  <c:v>9.047794598738178E-5</c:v>
                </c:pt>
                <c:pt idx="365">
                  <c:v>8.8824356641153948E-5</c:v>
                </c:pt>
                <c:pt idx="366">
                  <c:v>8.7071973144811743E-5</c:v>
                </c:pt>
                <c:pt idx="367">
                  <c:v>8.5227148365738073E-5</c:v>
                </c:pt>
                <c:pt idx="368">
                  <c:v>8.3296574064340155E-5</c:v>
                </c:pt>
                <c:pt idx="369">
                  <c:v>8.1287237587372054E-5</c:v>
                </c:pt>
                <c:pt idx="370">
                  <c:v>7.920637658568115E-5</c:v>
                </c:pt>
                <c:pt idx="371">
                  <c:v>7.706143219240941E-5</c:v>
                </c:pt>
                <c:pt idx="372">
                  <c:v>7.4860001113386562E-5</c:v>
                </c:pt>
                <c:pt idx="373">
                  <c:v>7.2609787091257983E-5</c:v>
                </c:pt>
                <c:pt idx="374">
                  <c:v>7.031855220868015E-5</c:v>
                </c:pt>
                <c:pt idx="375">
                  <c:v>6.799406849361284E-5</c:v>
                </c:pt>
                <c:pt idx="376">
                  <c:v>6.5644070281428094E-5</c:v>
                </c:pt>
                <c:pt idx="377">
                  <c:v>6.3276207774378074E-5</c:v>
                </c:pt>
                <c:pt idx="378">
                  <c:v>6.0898002219200035E-5</c:v>
                </c:pt>
                <c:pt idx="379">
                  <c:v>5.8516803098615828E-5</c:v>
                </c:pt>
                <c:pt idx="380">
                  <c:v>5.6139747702653826E-5</c:v>
                </c:pt>
                <c:pt idx="381">
                  <c:v>5.3773723411581772E-5</c:v>
                </c:pt>
                <c:pt idx="382">
                  <c:v>5.1425332984375428E-5</c:v>
                </c:pt>
                <c:pt idx="383">
                  <c:v>4.9100863105701101E-5</c:v>
                </c:pt>
                <c:pt idx="384">
                  <c:v>4.6806256400990594E-5</c:v>
                </c:pt>
                <c:pt idx="385">
                  <c:v>4.4547087084108166E-5</c:v>
                </c:pt>
                <c:pt idx="386">
                  <c:v>4.2328540355989593E-5</c:v>
                </c:pt>
                <c:pt idx="387">
                  <c:v>4.015539562625397E-5</c:v>
                </c:pt>
                <c:pt idx="388">
                  <c:v>3.8032013583817662E-5</c:v>
                </c:pt>
                <c:pt idx="389">
                  <c:v>3.5962327097679128E-5</c:v>
                </c:pt>
                <c:pt idx="390">
                  <c:v>3.3949835885923436E-5</c:v>
                </c:pt>
                <c:pt idx="391">
                  <c:v>3.1997604850218392E-5</c:v>
                </c:pt>
                <c:pt idx="392">
                  <c:v>3.0108265935178613E-5</c:v>
                </c:pt>
                <c:pt idx="393">
                  <c:v>2.8284023337421997E-5</c:v>
                </c:pt>
                <c:pt idx="394">
                  <c:v>2.6526661858340151E-5</c:v>
                </c:pt>
                <c:pt idx="395">
                  <c:v>2.4837558167862607E-5</c:v>
                </c:pt>
                <c:pt idx="396">
                  <c:v>2.3217694724047937E-5</c:v>
                </c:pt>
                <c:pt idx="397">
                  <c:v>2.1667676075350798E-5</c:v>
                </c:pt>
                <c:pt idx="398">
                  <c:v>2.0187747258935195E-5</c:v>
                </c:pt>
                <c:pt idx="399">
                  <c:v>1.8777813999456384E-5</c:v>
                </c:pt>
                <c:pt idx="400">
                  <c:v>1.7437464408190549E-5</c:v>
                </c:pt>
                <c:pt idx="401">
                  <c:v>1.6165991882127883E-5</c:v>
                </c:pt>
                <c:pt idx="402">
                  <c:v>1.4962418906414157E-5</c:v>
                </c:pt>
                <c:pt idx="403">
                  <c:v>1.3825521471053059E-5</c:v>
                </c:pt>
                <c:pt idx="404">
                  <c:v>1.2753853823739741E-5</c:v>
                </c:pt>
                <c:pt idx="405">
                  <c:v>1.1745773294705334E-5</c:v>
                </c:pt>
                <c:pt idx="406">
                  <c:v>1.0799464946115399E-5</c:v>
                </c:pt>
                <c:pt idx="407">
                  <c:v>9.912965817457766E-6</c:v>
                </c:pt>
                <c:pt idx="408">
                  <c:v>9.0841885590386085E-6</c:v>
                </c:pt>
                <c:pt idx="409">
                  <c:v>8.3109442677455195E-6</c:v>
                </c:pt>
                <c:pt idx="410">
                  <c:v>7.5909643621958348E-6</c:v>
                </c:pt>
                <c:pt idx="411">
                  <c:v>6.9219213578526615E-6</c:v>
                </c:pt>
                <c:pt idx="412">
                  <c:v>6.3014484262593814E-6</c:v>
                </c:pt>
                <c:pt idx="413">
                  <c:v>5.727157645847323E-6</c:v>
                </c:pt>
                <c:pt idx="414">
                  <c:v>5.1966568744716811E-6</c:v>
                </c:pt>
                <c:pt idx="415">
                  <c:v>4.707565195626118E-6</c:v>
                </c:pt>
                <c:pt idx="416">
                  <c:v>4.2575269109161914E-6</c:v>
                </c:pt>
                <c:pt idx="417">
                  <c:v>3.844224070613676E-6</c:v>
                </c:pt>
                <c:pt idx="418">
                  <c:v>3.4653875517907888E-6</c:v>
                </c:pt>
                <c:pt idx="419">
                  <c:v>3.1188067095109326E-6</c:v>
                </c:pt>
                <c:pt idx="420">
                  <c:v>2.8023376407339498E-6</c:v>
                </c:pt>
                <c:pt idx="421">
                  <c:v>2.513910112927286E-6</c:v>
                </c:pt>
                <c:pt idx="422">
                  <c:v>2.2515332198403324E-6</c:v>
                </c:pt>
                <c:pt idx="423">
                  <c:v>2.0132998355152762E-6</c:v>
                </c:pt>
                <c:pt idx="424">
                  <c:v>1.7973899444204702E-6</c:v>
                </c:pt>
                <c:pt idx="425">
                  <c:v>1.6020729306754276E-6</c:v>
                </c:pt>
                <c:pt idx="426">
                  <c:v>1.425708912787494E-6</c:v>
                </c:pt>
                <c:pt idx="427">
                  <c:v>1.2667492122518005E-6</c:v>
                </c:pt>
                <c:pt idx="428">
                  <c:v>1.1237360449102545E-6</c:v>
                </c:pt>
                <c:pt idx="429">
                  <c:v>9.953015232595105E-7</c:v>
                </c:pt>
                <c:pt idx="430">
                  <c:v>8.8016605609005671E-7</c:v>
                </c:pt>
                <c:pt idx="431">
                  <c:v>7.7713622907689266E-7</c:v>
                </c:pt>
                <c:pt idx="432">
                  <c:v>6.8510224637692533E-7</c:v>
                </c:pt>
                <c:pt idx="433">
                  <c:v>6.0303500906478397E-7</c:v>
                </c:pt>
                <c:pt idx="434">
                  <c:v>5.2998290149802692E-7</c:v>
                </c:pt>
                <c:pt idx="435">
                  <c:v>4.6506835157803759E-7</c:v>
                </c:pt>
                <c:pt idx="436">
                  <c:v>4.0748422548767982E-7</c:v>
                </c:pt>
                <c:pt idx="437">
                  <c:v>3.5649011195498869E-7</c:v>
                </c:pt>
                <c:pt idx="438">
                  <c:v>3.1140854551516657E-7</c:v>
                </c:pt>
                <c:pt idx="439">
                  <c:v>2.7162121271145876E-7</c:v>
                </c:pt>
                <c:pt idx="440">
                  <c:v>2.3656517976672484E-7</c:v>
                </c:pt>
                <c:pt idx="441">
                  <c:v>2.0572917503753216E-7</c:v>
                </c:pt>
                <c:pt idx="442">
                  <c:v>1.7864995458554169E-7</c:v>
                </c:pt>
                <c:pt idx="443">
                  <c:v>1.5490877450949752E-7</c:v>
                </c:pt>
                <c:pt idx="444">
                  <c:v>1.3412798930745793E-7</c:v>
                </c:pt>
                <c:pt idx="445">
                  <c:v>1.1596779150567444E-7</c:v>
                </c:pt>
                <c:pt idx="446">
                  <c:v>1.0012310411116079E-7</c:v>
                </c:pt>
                <c:pt idx="447">
                  <c:v>8.6320634125482642E-8</c:v>
                </c:pt>
                <c:pt idx="448">
                  <c:v>7.4316092396341438E-8</c:v>
                </c:pt>
                <c:pt idx="449">
                  <c:v>6.3891582474425728E-8</c:v>
                </c:pt>
                <c:pt idx="450">
                  <c:v>5.4853158873646205E-8</c:v>
                </c:pt>
                <c:pt idx="451">
                  <c:v>4.7028553187656474E-8</c:v>
                </c:pt>
                <c:pt idx="452">
                  <c:v>4.0265064875510781E-8</c:v>
                </c:pt>
                <c:pt idx="453">
                  <c:v>3.4427612173277349E-8</c:v>
                </c:pt>
                <c:pt idx="454">
                  <c:v>2.9396937493765348E-8</c:v>
                </c:pt>
                <c:pt idx="455">
                  <c:v>2.5067960819627733E-8</c:v>
                </c:pt>
                <c:pt idx="456">
                  <c:v>2.1348273952134838E-8</c:v>
                </c:pt>
                <c:pt idx="457">
                  <c:v>1.8156768025154666E-8</c:v>
                </c:pt>
                <c:pt idx="458">
                  <c:v>1.5422386408243965E-8</c:v>
                </c:pt>
                <c:pt idx="459">
                  <c:v>1.3082994982038167E-8</c:v>
                </c:pt>
                <c:pt idx="460">
                  <c:v>1.1084361752326673E-8</c:v>
                </c:pt>
                <c:pt idx="461">
                  <c:v>9.3792378566649959E-9</c:v>
                </c:pt>
                <c:pt idx="462">
                  <c:v>7.9265321909551905E-9</c:v>
                </c:pt>
                <c:pt idx="463">
                  <c:v>6.6905721265651223E-9</c:v>
                </c:pt>
                <c:pt idx="464">
                  <c:v>5.6404430862995516E-9</c:v>
                </c:pt>
                <c:pt idx="465">
                  <c:v>4.749400086566152E-9</c:v>
                </c:pt>
                <c:pt idx="466">
                  <c:v>3.994344721633147E-9</c:v>
                </c:pt>
                <c:pt idx="467">
                  <c:v>3.3553614537366866E-9</c:v>
                </c:pt>
                <c:pt idx="468">
                  <c:v>2.8153074711757177E-9</c:v>
                </c:pt>
                <c:pt idx="469">
                  <c:v>2.3594507779937052E-9</c:v>
                </c:pt>
                <c:pt idx="470">
                  <c:v>1.9751515771982381E-9</c:v>
                </c:pt>
                <c:pt idx="471">
                  <c:v>1.651582399654377E-9</c:v>
                </c:pt>
                <c:pt idx="472">
                  <c:v>1.3794828087675327E-9</c:v>
                </c:pt>
                <c:pt idx="473">
                  <c:v>1.1509448737237379E-9</c:v>
                </c:pt>
                <c:pt idx="474">
                  <c:v>9.5922594905153316E-10</c:v>
                </c:pt>
                <c:pt idx="475">
                  <c:v>7.9858562398401581E-10</c:v>
                </c:pt>
                <c:pt idx="476">
                  <c:v>6.6414401049758008E-10</c:v>
                </c:pt>
                <c:pt idx="477">
                  <c:v>5.5175882346020205E-10</c:v>
                </c:pt>
                <c:pt idx="478">
                  <c:v>4.5791896992903128E-10</c:v>
                </c:pt>
                <c:pt idx="479">
                  <c:v>3.7965260753251048E-10</c:v>
                </c:pt>
                <c:pt idx="480">
                  <c:v>3.1444785456825736E-10</c:v>
                </c:pt>
                <c:pt idx="481">
                  <c:v>2.6018453767129553E-10</c:v>
                </c:pt>
                <c:pt idx="482">
                  <c:v>2.1507554754571146E-10</c:v>
                </c:pt>
                <c:pt idx="483">
                  <c:v>1.7761654030937555E-10</c:v>
                </c:pt>
                <c:pt idx="484">
                  <c:v>1.4654287255472233E-10</c:v>
                </c:pt>
                <c:pt idx="485">
                  <c:v>1.2079279340067097E-10</c:v>
                </c:pt>
                <c:pt idx="486">
                  <c:v>9.9476037738993888E-11</c:v>
                </c:pt>
                <c:pt idx="487">
                  <c:v>8.1847072693622877E-11</c:v>
                </c:pt>
                <c:pt idx="488">
                  <c:v>6.7282345120324215E-11</c:v>
                </c:pt>
                <c:pt idx="489">
                  <c:v>5.5260962845709301E-11</c:v>
                </c:pt>
                <c:pt idx="490">
                  <c:v>4.534831729924866E-11</c:v>
                </c:pt>
                <c:pt idx="491">
                  <c:v>3.7182221195325774E-11</c:v>
                </c:pt>
                <c:pt idx="492">
                  <c:v>3.0461192879320295E-11</c:v>
                </c:pt>
                <c:pt idx="493">
                  <c:v>2.4934569704551881E-11</c:v>
                </c:pt>
                <c:pt idx="494">
                  <c:v>2.0394177133871687E-11</c:v>
                </c:pt>
                <c:pt idx="495">
                  <c:v>1.6667318875421833E-11</c:v>
                </c:pt>
                <c:pt idx="496">
                  <c:v>1.361088691910874E-11</c:v>
                </c:pt>
                <c:pt idx="497">
                  <c:v>1.1106419431257564E-11</c:v>
                </c:pt>
                <c:pt idx="498">
                  <c:v>9.0559596252303992E-12</c:v>
                </c:pt>
                <c:pt idx="499">
                  <c:v>7.3785904372235914E-12</c:v>
                </c:pt>
                <c:pt idx="500">
                  <c:v>6.007538530405301E-12</c:v>
                </c:pt>
                <c:pt idx="501">
                  <c:v>4.887757211861655E-12</c:v>
                </c:pt>
                <c:pt idx="502">
                  <c:v>3.9739116173777089E-12</c:v>
                </c:pt>
                <c:pt idx="503">
                  <c:v>3.2287013015803202E-12</c:v>
                </c:pt>
                <c:pt idx="504">
                  <c:v>2.6214654324427683E-12</c:v>
                </c:pt>
                <c:pt idx="505">
                  <c:v>2.1270243643666527E-12</c:v>
                </c:pt>
                <c:pt idx="506">
                  <c:v>1.7247186587897019E-12</c:v>
                </c:pt>
                <c:pt idx="507">
                  <c:v>1.3976128153244665E-12</c:v>
                </c:pt>
                <c:pt idx="508">
                  <c:v>1.1318362264538511E-12</c:v>
                </c:pt>
                <c:pt idx="509">
                  <c:v>9.1603831089734709E-13</c:v>
                </c:pt>
                <c:pt idx="510">
                  <c:v>7.4093853283145173E-13</c:v>
                </c:pt>
                <c:pt idx="511">
                  <c:v>5.9895517810302271E-13</c:v>
                </c:pt>
                <c:pt idx="512">
                  <c:v>4.8389942226170417E-13</c:v>
                </c:pt>
                <c:pt idx="513">
                  <c:v>3.9072346419202612E-13</c:v>
                </c:pt>
                <c:pt idx="514">
                  <c:v>3.153133781567755E-13</c:v>
                </c:pt>
                <c:pt idx="515">
                  <c:v>2.5431891164110672E-13</c:v>
                </c:pt>
                <c:pt idx="516">
                  <c:v>2.0501377389005106E-13</c:v>
                </c:pt>
                <c:pt idx="517">
                  <c:v>1.6518106084038235E-13</c:v>
                </c:pt>
                <c:pt idx="518">
                  <c:v>1.3301938060441052E-13</c:v>
                </c:pt>
                <c:pt idx="519">
                  <c:v>1.0706600891879113E-13</c:v>
                </c:pt>
                <c:pt idx="520">
                  <c:v>8.6134040723287391E-14</c:v>
                </c:pt>
                <c:pt idx="521">
                  <c:v>6.926103316380319E-14</c:v>
                </c:pt>
                <c:pt idx="522">
                  <c:v>5.5667074447187906E-14</c:v>
                </c:pt>
                <c:pt idx="523">
                  <c:v>4.4720576961713584E-14</c:v>
                </c:pt>
                <c:pt idx="524">
                  <c:v>3.5910394407066824E-14</c:v>
                </c:pt>
                <c:pt idx="525">
                  <c:v>2.8823111837896845E-14</c:v>
                </c:pt>
                <c:pt idx="526">
                  <c:v>2.3124563307390423E-14</c:v>
                </c:pt>
                <c:pt idx="527">
                  <c:v>1.8544801559455083E-14</c:v>
                </c:pt>
                <c:pt idx="528">
                  <c:v>1.4865884109105036E-14</c:v>
                </c:pt>
                <c:pt idx="529">
                  <c:v>1.1911955200951861E-14</c:v>
                </c:pt>
                <c:pt idx="530">
                  <c:v>9.54119782012145E-15</c:v>
                </c:pt>
                <c:pt idx="531">
                  <c:v>7.6393077050965316E-15</c:v>
                </c:pt>
                <c:pt idx="532">
                  <c:v>6.1142051327837415E-15</c:v>
                </c:pt>
                <c:pt idx="533">
                  <c:v>4.8917525644404596E-15</c:v>
                </c:pt>
                <c:pt idx="534">
                  <c:v>3.9122890885336224E-15</c:v>
                </c:pt>
                <c:pt idx="535">
                  <c:v>3.1278276545040935E-15</c:v>
                </c:pt>
                <c:pt idx="536">
                  <c:v>2.4997897494324958E-15</c:v>
                </c:pt>
                <c:pt idx="537">
                  <c:v>1.99717557498027E-15</c:v>
                </c:pt>
                <c:pt idx="538">
                  <c:v>1.5950868806405407E-15</c:v>
                </c:pt>
                <c:pt idx="539">
                  <c:v>1.273535180392316E-15</c:v>
                </c:pt>
                <c:pt idx="540">
                  <c:v>1.0164807642089184E-15</c:v>
                </c:pt>
                <c:pt idx="541">
                  <c:v>8.110582402716151E-16</c:v>
                </c:pt>
                <c:pt idx="542">
                  <c:v>6.4695274053094854E-16</c:v>
                </c:pt>
                <c:pt idx="543">
                  <c:v>5.1589774602626157E-16</c:v>
                </c:pt>
                <c:pt idx="544">
                  <c:v>4.1127102958096339E-16</c:v>
                </c:pt>
                <c:pt idx="545">
                  <c:v>3.2776970986471253E-16</c:v>
                </c:pt>
                <c:pt idx="546">
                  <c:v>2.6114905672059787E-16</c:v>
                </c:pt>
                <c:pt idx="547">
                  <c:v>2.0801264186782331E-16</c:v>
                </c:pt>
                <c:pt idx="548">
                  <c:v>1.656438211848689E-16</c:v>
                </c:pt>
                <c:pt idx="549">
                  <c:v>1.3187047040714413E-16</c:v>
                </c:pt>
                <c:pt idx="550">
                  <c:v>1.0495646131408257E-16</c:v>
                </c:pt>
                <c:pt idx="551">
                  <c:v>8.3514630393956894E-17</c:v>
                </c:pt>
                <c:pt idx="552">
                  <c:v>6.6437013548457387E-17</c:v>
                </c:pt>
                <c:pt idx="553">
                  <c:v>5.2838944941020239E-17</c:v>
                </c:pt>
                <c:pt idx="554">
                  <c:v>4.2014283208378163E-17</c:v>
                </c:pt>
                <c:pt idx="555">
                  <c:v>3.3399564458168769E-17</c:v>
                </c:pt>
                <c:pt idx="556">
                  <c:v>2.6545313506455164E-17</c:v>
                </c:pt>
                <c:pt idx="557">
                  <c:v>2.1093092713842404E-17</c:v>
                </c:pt>
                <c:pt idx="558">
                  <c:v>1.6757147787449009E-17</c:v>
                </c:pt>
                <c:pt idx="559">
                  <c:v>1.3309735160094302E-17</c:v>
                </c:pt>
                <c:pt idx="560">
                  <c:v>1.0569396655498075E-17</c:v>
                </c:pt>
                <c:pt idx="561">
                  <c:v>8.3915926786183442E-18</c:v>
                </c:pt>
                <c:pt idx="562">
                  <c:v>6.6612220614378868E-18</c:v>
                </c:pt>
                <c:pt idx="563">
                  <c:v>5.2866505379047011E-18</c:v>
                </c:pt>
                <c:pt idx="564">
                  <c:v>4.1949451264023632E-18</c:v>
                </c:pt>
                <c:pt idx="565">
                  <c:v>3.3280720991594339E-18</c:v>
                </c:pt>
                <c:pt idx="566">
                  <c:v>2.6398646433866281E-18</c:v>
                </c:pt>
                <c:pt idx="567">
                  <c:v>2.0936051263302284E-18</c:v>
                </c:pt>
                <c:pt idx="568">
                  <c:v>1.6600979629823879E-18</c:v>
                </c:pt>
                <c:pt idx="569">
                  <c:v>1.3161339767256443E-18</c:v>
                </c:pt>
                <c:pt idx="570">
                  <c:v>1.0432670662777642E-18</c:v>
                </c:pt>
                <c:pt idx="571">
                  <c:v>8.2683993238881772E-19</c:v>
                </c:pt>
                <c:pt idx="572">
                  <c:v>6.5520836626640473E-19</c:v>
                </c:pt>
                <c:pt idx="573">
                  <c:v>5.1912379384338453E-19</c:v>
                </c:pt>
                <c:pt idx="574">
                  <c:v>4.1124191543548659E-19</c:v>
                </c:pt>
                <c:pt idx="575">
                  <c:v>3.257317877423465E-19</c:v>
                </c:pt>
                <c:pt idx="576">
                  <c:v>2.5796489212235426E-19</c:v>
                </c:pt>
                <c:pt idx="577">
                  <c:v>2.0426788211544742E-19</c:v>
                </c:pt>
                <c:pt idx="578">
                  <c:v>1.6172601449889936E-19</c:v>
                </c:pt>
                <c:pt idx="579">
                  <c:v>1.2802691004581831E-19</c:v>
                </c:pt>
                <c:pt idx="580">
                  <c:v>1.0133639727858929E-19</c:v>
                </c:pt>
                <c:pt idx="581">
                  <c:v>8.0199872601908592E-20</c:v>
                </c:pt>
                <c:pt idx="582">
                  <c:v>6.3463949402397131E-20</c:v>
                </c:pt>
                <c:pt idx="583">
                  <c:v>5.0214235868705129E-20</c:v>
                </c:pt>
                <c:pt idx="584">
                  <c:v>3.9725931434114977E-20</c:v>
                </c:pt>
                <c:pt idx="585">
                  <c:v>3.142460881668154E-20</c:v>
                </c:pt>
                <c:pt idx="586">
                  <c:v>2.4855087719240117E-20</c:v>
                </c:pt>
                <c:pt idx="587">
                  <c:v>1.9656735359636283E-20</c:v>
                </c:pt>
                <c:pt idx="588">
                  <c:v>1.5543870478869658E-20</c:v>
                </c:pt>
                <c:pt idx="589">
                  <c:v>1.2290219148510027E-20</c:v>
                </c:pt>
                <c:pt idx="590">
                  <c:v>9.7165867842389769E-21</c:v>
                </c:pt>
                <c:pt idx="591">
                  <c:v>7.6810826023177509E-21</c:v>
                </c:pt>
                <c:pt idx="592">
                  <c:v>6.0713693619183591E-21</c:v>
                </c:pt>
                <c:pt idx="593">
                  <c:v>4.7985198141425434E-21</c:v>
                </c:pt>
                <c:pt idx="594">
                  <c:v>3.7921475595226364E-21</c:v>
                </c:pt>
                <c:pt idx="595">
                  <c:v>2.9965485635994884E-21</c:v>
                </c:pt>
                <c:pt idx="596">
                  <c:v>2.3676440277989384E-21</c:v>
                </c:pt>
                <c:pt idx="597">
                  <c:v>1.8705585516235034E-21</c:v>
                </c:pt>
                <c:pt idx="598">
                  <c:v>1.4777018525987745E-21</c:v>
                </c:pt>
                <c:pt idx="599">
                  <c:v>1.1672495624067153E-21</c:v>
                </c:pt>
                <c:pt idx="600">
                  <c:v>9.2194024646172361E-22</c:v>
                </c:pt>
                <c:pt idx="601">
                  <c:v>7.2812295682414869E-22</c:v>
                </c:pt>
                <c:pt idx="602">
                  <c:v>5.7500324451528128E-22</c:v>
                </c:pt>
                <c:pt idx="603">
                  <c:v>4.5404635787079406E-22</c:v>
                </c:pt>
                <c:pt idx="604">
                  <c:v>3.5850491923238909E-22</c:v>
                </c:pt>
                <c:pt idx="605">
                  <c:v>2.8304516431792523E-22</c:v>
                </c:pt>
                <c:pt idx="606">
                  <c:v>2.2345121335411464E-22</c:v>
                </c:pt>
                <c:pt idx="607">
                  <c:v>1.7639111139663161E-22</c:v>
                </c:pt>
                <c:pt idx="608">
                  <c:v>1.3923175809461498E-22</c:v>
                </c:pt>
                <c:pt idx="609">
                  <c:v>1.0989252777952454E-22</c:v>
                </c:pt>
                <c:pt idx="610">
                  <c:v>8.6729504592898826E-23</c:v>
                </c:pt>
                <c:pt idx="611">
                  <c:v>6.8443939819779563E-23</c:v>
                </c:pt>
                <c:pt idx="612">
                  <c:v>5.4009871187216326E-23</c:v>
                </c:pt>
                <c:pt idx="613">
                  <c:v>4.2616899226814669E-23</c:v>
                </c:pt>
                <c:pt idx="614">
                  <c:v>3.3624951446048935E-23</c:v>
                </c:pt>
                <c:pt idx="615">
                  <c:v>2.6528526652818135E-23</c:v>
                </c:pt>
                <c:pt idx="616">
                  <c:v>2.0928435506118474E-23</c:v>
                </c:pt>
                <c:pt idx="617">
                  <c:v>1.6509467902036537E-23</c:v>
                </c:pt>
                <c:pt idx="618">
                  <c:v>1.3022745869167979E-23</c:v>
                </c:pt>
                <c:pt idx="619">
                  <c:v>1.0271780247059523E-23</c:v>
                </c:pt>
                <c:pt idx="620">
                  <c:v>8.101454817875031E-24</c:v>
                </c:pt>
                <c:pt idx="621">
                  <c:v>6.389324052388713E-24</c:v>
                </c:pt>
                <c:pt idx="622">
                  <c:v>5.0387391644868582E-24</c:v>
                </c:pt>
                <c:pt idx="623">
                  <c:v>3.9734188279730877E-24</c:v>
                </c:pt>
                <c:pt idx="624">
                  <c:v>3.13316130524291E-24</c:v>
                </c:pt>
                <c:pt idx="625">
                  <c:v>2.4704583100411558E-24</c:v>
                </c:pt>
                <c:pt idx="626">
                  <c:v>1.9478211905968863E-24</c:v>
                </c:pt>
                <c:pt idx="627">
                  <c:v>1.5356697570275223E-24</c:v>
                </c:pt>
                <c:pt idx="628">
                  <c:v>1.2106654890276131E-24</c:v>
                </c:pt>
                <c:pt idx="629">
                  <c:v>9.5439568833927483E-25</c:v>
                </c:pt>
                <c:pt idx="630">
                  <c:v>7.5233476321363178E-25</c:v>
                </c:pt>
                <c:pt idx="631">
                  <c:v>5.9302433893738556E-25</c:v>
                </c:pt>
                <c:pt idx="632">
                  <c:v>4.6742614171316882E-25</c:v>
                </c:pt>
                <c:pt idx="633">
                  <c:v>3.6841128440950287E-25</c:v>
                </c:pt>
                <c:pt idx="634">
                  <c:v>2.903572311939219E-25</c:v>
                </c:pt>
                <c:pt idx="635">
                  <c:v>2.2882976001862215E-25</c:v>
                </c:pt>
                <c:pt idx="636">
                  <c:v>1.8033201440319316E-25</c:v>
                </c:pt>
                <c:pt idx="637">
                  <c:v>1.4210650534815024E-25</c:v>
                </c:pt>
                <c:pt idx="638">
                  <c:v>1.1197890107963727E-25</c:v>
                </c:pt>
                <c:pt idx="639">
                  <c:v>8.8234793130578682E-26</c:v>
                </c:pt>
                <c:pt idx="640">
                  <c:v>6.9522483489022928E-26</c:v>
                </c:pt>
                <c:pt idx="641">
                  <c:v>5.4776303151436944E-26</c:v>
                </c:pt>
                <c:pt idx="642">
                  <c:v>4.3156129502787393E-26</c:v>
                </c:pt>
                <c:pt idx="643">
                  <c:v>3.3999683385267762E-26</c:v>
                </c:pt>
                <c:pt idx="644">
                  <c:v>2.678490776782023E-26</c:v>
                </c:pt>
                <c:pt idx="645">
                  <c:v>2.1100299057974517E-26</c:v>
                </c:pt>
                <c:pt idx="646">
                  <c:v>1.6621511294099587E-26</c:v>
                </c:pt>
                <c:pt idx="647">
                  <c:v>1.309290795627843E-26</c:v>
                </c:pt>
                <c:pt idx="648">
                  <c:v>1.0313015891807568E-26</c:v>
                </c:pt>
                <c:pt idx="649">
                  <c:v>8.1230566017132963E-27</c:v>
                </c:pt>
                <c:pt idx="650">
                  <c:v>6.3979043175095787E-27</c:v>
                </c:pt>
                <c:pt idx="651">
                  <c:v>5.0389577247576821E-27</c:v>
                </c:pt>
                <c:pt idx="652">
                  <c:v>3.9685206105805686E-27</c:v>
                </c:pt>
                <c:pt idx="653">
                  <c:v>3.1253722444723028E-27</c:v>
                </c:pt>
                <c:pt idx="654">
                  <c:v>2.4612757719341564E-27</c:v>
                </c:pt>
                <c:pt idx="655">
                  <c:v>1.9382261203859516E-27</c:v>
                </c:pt>
                <c:pt idx="656">
                  <c:v>1.5262808931983223E-27</c:v>
                </c:pt>
                <c:pt idx="657">
                  <c:v>1.2018508343681575E-27</c:v>
                </c:pt>
                <c:pt idx="658">
                  <c:v>9.463525556276934E-28</c:v>
                </c:pt>
                <c:pt idx="659">
                  <c:v>7.4514680774495148E-28</c:v>
                </c:pt>
                <c:pt idx="660">
                  <c:v>5.8670181402823436E-28</c:v>
                </c:pt>
                <c:pt idx="661">
                  <c:v>4.6193398661018077E-28</c:v>
                </c:pt>
                <c:pt idx="662">
                  <c:v>3.6368844052624086E-28</c:v>
                </c:pt>
                <c:pt idx="663">
                  <c:v>2.8632967935117066E-28</c:v>
                </c:pt>
                <c:pt idx="664">
                  <c:v>2.2541910074536117E-28</c:v>
                </c:pt>
                <c:pt idx="665">
                  <c:v>1.7746091680042351E-28</c:v>
                </c:pt>
                <c:pt idx="666">
                  <c:v>1.3970198349649362E-28</c:v>
                </c:pt>
                <c:pt idx="667">
                  <c:v>1.0997410735499287E-28</c:v>
                </c:pt>
                <c:pt idx="668">
                  <c:v>8.6569820210712788E-29</c:v>
                </c:pt>
                <c:pt idx="669">
                  <c:v>6.8144522712714259E-29</c:v>
                </c:pt>
                <c:pt idx="670">
                  <c:v>5.3639402261856725E-29</c:v>
                </c:pt>
                <c:pt idx="671">
                  <c:v>4.2220717321158545E-29</c:v>
                </c:pt>
                <c:pt idx="672">
                  <c:v>3.323197485462579E-29</c:v>
                </c:pt>
                <c:pt idx="673">
                  <c:v>2.615626435385813E-29</c:v>
                </c:pt>
                <c:pt idx="674">
                  <c:v>2.0586592429634477E-29</c:v>
                </c:pt>
                <c:pt idx="675">
                  <c:v>1.620251939165891E-29</c:v>
                </c:pt>
                <c:pt idx="676">
                  <c:v>1.27517596753955E-29</c:v>
                </c:pt>
                <c:pt idx="677">
                  <c:v>1.0035691971499635E-29</c:v>
                </c:pt>
                <c:pt idx="678">
                  <c:v>7.8979486662347247E-30</c:v>
                </c:pt>
                <c:pt idx="679">
                  <c:v>6.2154304862309088E-30</c:v>
                </c:pt>
                <c:pt idx="680">
                  <c:v>4.8912311198927054E-30</c:v>
                </c:pt>
                <c:pt idx="681">
                  <c:v>3.8490659960151386E-30</c:v>
                </c:pt>
                <c:pt idx="682">
                  <c:v>3.0288855863253922E-30</c:v>
                </c:pt>
                <c:pt idx="683">
                  <c:v>2.383421490352319E-30</c:v>
                </c:pt>
                <c:pt idx="684">
                  <c:v>1.8754670386158799E-30</c:v>
                </c:pt>
                <c:pt idx="685">
                  <c:v>1.4757362731591717E-30</c:v>
                </c:pt>
                <c:pt idx="686">
                  <c:v>1.1611783419887887E-30</c:v>
                </c:pt>
                <c:pt idx="687">
                  <c:v>9.1365047495493877E-31</c:v>
                </c:pt>
                <c:pt idx="688">
                  <c:v>7.1887328916660033E-31</c:v>
                </c:pt>
                <c:pt idx="689">
                  <c:v>5.6560838018881259E-31</c:v>
                </c:pt>
                <c:pt idx="690">
                  <c:v>4.4501091981160366E-31</c:v>
                </c:pt>
                <c:pt idx="691">
                  <c:v>3.5012003322851834E-31</c:v>
                </c:pt>
                <c:pt idx="692">
                  <c:v>2.7545764430995176E-31</c:v>
                </c:pt>
                <c:pt idx="693">
                  <c:v>2.1671271092784623E-31</c:v>
                </c:pt>
                <c:pt idx="694">
                  <c:v>1.7049268061644283E-31</c:v>
                </c:pt>
                <c:pt idx="695">
                  <c:v>1.3412786163004289E-31</c:v>
                </c:pt>
                <c:pt idx="696">
                  <c:v>1.0551744752842735E-31</c:v>
                </c:pt>
                <c:pt idx="697">
                  <c:v>8.3008329391560156E-32</c:v>
                </c:pt>
                <c:pt idx="698">
                  <c:v>6.5299716179430467E-32</c:v>
                </c:pt>
                <c:pt idx="699">
                  <c:v>5.1368068948147394E-32</c:v>
                </c:pt>
                <c:pt idx="700">
                  <c:v>4.0408023908177101E-32</c:v>
                </c:pt>
                <c:pt idx="701">
                  <c:v>3.1785899829283025E-32</c:v>
                </c:pt>
                <c:pt idx="702">
                  <c:v>2.5003109969357396E-32</c:v>
                </c:pt>
                <c:pt idx="703">
                  <c:v>1.9667369178234207E-32</c:v>
                </c:pt>
                <c:pt idx="704">
                  <c:v>1.5470035909959069E-32</c:v>
                </c:pt>
                <c:pt idx="705">
                  <c:v>1.2168282369366218E-32</c:v>
                </c:pt>
                <c:pt idx="706">
                  <c:v>9.571064288019808E-33</c:v>
                </c:pt>
                <c:pt idx="707">
                  <c:v>7.5280808468343878E-33</c:v>
                </c:pt>
                <c:pt idx="708">
                  <c:v>5.9210876651167965E-33</c:v>
                </c:pt>
                <c:pt idx="709">
                  <c:v>4.6570614708460041E-33</c:v>
                </c:pt>
                <c:pt idx="710">
                  <c:v>3.6628218679692841E-33</c:v>
                </c:pt>
                <c:pt idx="711">
                  <c:v>2.880799675926506E-33</c:v>
                </c:pt>
                <c:pt idx="712">
                  <c:v>2.2657074733440318E-33</c:v>
                </c:pt>
                <c:pt idx="713">
                  <c:v>1.781920045460792E-33</c:v>
                </c:pt>
                <c:pt idx="714">
                  <c:v>1.401413410453095E-33</c:v>
                </c:pt>
                <c:pt idx="715">
                  <c:v>1.1021433477887489E-33</c:v>
                </c:pt>
                <c:pt idx="716">
                  <c:v>8.6676972947044678E-34</c:v>
                </c:pt>
                <c:pt idx="717">
                  <c:v>6.816529252707152E-34</c:v>
                </c:pt>
                <c:pt idx="718">
                  <c:v>5.3606426903656824E-34</c:v>
                </c:pt>
                <c:pt idx="719">
                  <c:v>4.215649393417215E-34</c:v>
                </c:pt>
                <c:pt idx="720">
                  <c:v>3.3151733913253402E-34</c:v>
                </c:pt>
                <c:pt idx="721">
                  <c:v>2.6070071618680322E-34</c:v>
                </c:pt>
                <c:pt idx="722">
                  <c:v>2.050087912659291E-34</c:v>
                </c:pt>
                <c:pt idx="723">
                  <c:v>1.612119017048603E-34</c:v>
                </c:pt>
                <c:pt idx="724">
                  <c:v>1.2676989835708535E-34</c:v>
                </c:pt>
                <c:pt idx="725">
                  <c:v>9.9684968708548231E-35</c:v>
                </c:pt>
                <c:pt idx="726">
                  <c:v>7.8385868233090262E-35</c:v>
                </c:pt>
                <c:pt idx="727">
                  <c:v>6.1636858800075735E-35</c:v>
                </c:pt>
                <c:pt idx="728">
                  <c:v>4.8466082396584001E-35</c:v>
                </c:pt>
                <c:pt idx="729">
                  <c:v>3.8109222989144275E-35</c:v>
                </c:pt>
                <c:pt idx="730">
                  <c:v>2.996519407025694E-35</c:v>
                </c:pt>
                <c:pt idx="731">
                  <c:v>2.3561285492754061E-35</c:v>
                </c:pt>
                <c:pt idx="732">
                  <c:v>1.8525750762677335E-35</c:v>
                </c:pt>
                <c:pt idx="733">
                  <c:v>1.4566246730106833E-35</c:v>
                </c:pt>
                <c:pt idx="734">
                  <c:v>1.1452876490434618E-35</c:v>
                </c:pt>
                <c:pt idx="735">
                  <c:v>9.004852893825891E-36</c:v>
                </c:pt>
                <c:pt idx="736">
                  <c:v>7.0800097604595474E-36</c:v>
                </c:pt>
                <c:pt idx="737">
                  <c:v>5.5665528562694179E-36</c:v>
                </c:pt>
                <c:pt idx="738">
                  <c:v>4.3765724485116984E-36</c:v>
                </c:pt>
                <c:pt idx="739">
                  <c:v>3.4409413278425306E-36</c:v>
                </c:pt>
                <c:pt idx="740">
                  <c:v>2.7053024702370352E-36</c:v>
                </c:pt>
                <c:pt idx="741">
                  <c:v>2.1269136668774566E-36</c:v>
                </c:pt>
                <c:pt idx="742">
                  <c:v>1.6721661209141634E-36</c:v>
                </c:pt>
                <c:pt idx="743">
                  <c:v>1.3146330830789937E-36</c:v>
                </c:pt>
                <c:pt idx="744">
                  <c:v>1.0335353275312241E-36</c:v>
                </c:pt>
                <c:pt idx="745">
                  <c:v>8.125344406769256E-37</c:v>
                </c:pt>
                <c:pt idx="746">
                  <c:v>6.3878390625614311E-37</c:v>
                </c:pt>
                <c:pt idx="747">
                  <c:v>5.0218292165957644E-37</c:v>
                </c:pt>
                <c:pt idx="748">
                  <c:v>3.9478964048053009E-37</c:v>
                </c:pt>
                <c:pt idx="749">
                  <c:v>3.1035978478249641E-37</c:v>
                </c:pt>
                <c:pt idx="750">
                  <c:v>2.4398384426396032E-37</c:v>
                </c:pt>
                <c:pt idx="751">
                  <c:v>1.9180180042996513E-37</c:v>
                </c:pt>
                <c:pt idx="752">
                  <c:v>1.5077881246909432E-37</c:v>
                </c:pt>
                <c:pt idx="753">
                  <c:v>1.1852883983921326E-37</c:v>
                </c:pt>
                <c:pt idx="754">
                  <c:v>9.3175958896336577E-38</c:v>
                </c:pt>
                <c:pt idx="755">
                  <c:v>7.3245319220896373E-38</c:v>
                </c:pt>
                <c:pt idx="756">
                  <c:v>5.7577405901940265E-38</c:v>
                </c:pt>
                <c:pt idx="757">
                  <c:v>4.5260627387745715E-38</c:v>
                </c:pt>
                <c:pt idx="758">
                  <c:v>3.5578312578501656E-38</c:v>
                </c:pt>
                <c:pt idx="759">
                  <c:v>2.7967037677702619E-38</c:v>
                </c:pt>
                <c:pt idx="760">
                  <c:v>2.1983861327114241E-38</c:v>
                </c:pt>
                <c:pt idx="761">
                  <c:v>1.7280564035051036E-38</c:v>
                </c:pt>
                <c:pt idx="762">
                  <c:v>1.3583394767762332E-38</c:v>
                </c:pt>
                <c:pt idx="763">
                  <c:v>1.067714753210378E-38</c:v>
                </c:pt>
                <c:pt idx="764">
                  <c:v>8.3926423766594756E-39</c:v>
                </c:pt>
                <c:pt idx="765">
                  <c:v>6.5968830410690112E-39</c:v>
                </c:pt>
                <c:pt idx="766">
                  <c:v>5.1853190521963836E-39</c:v>
                </c:pt>
                <c:pt idx="767">
                  <c:v>4.0757623625701774E-39</c:v>
                </c:pt>
                <c:pt idx="768">
                  <c:v>3.2036047991451475E-39</c:v>
                </c:pt>
                <c:pt idx="769">
                  <c:v>2.5180582066293331E-39</c:v>
                </c:pt>
                <c:pt idx="770">
                  <c:v>1.9791986231737151E-39</c:v>
                </c:pt>
                <c:pt idx="771">
                  <c:v>1.5556425680284446E-39</c:v>
                </c:pt>
                <c:pt idx="772">
                  <c:v>1.2227202833698262E-39</c:v>
                </c:pt>
                <c:pt idx="773">
                  <c:v>9.6103966093414452E-40</c:v>
                </c:pt>
                <c:pt idx="774">
                  <c:v>7.5535731065542939E-40</c:v>
                </c:pt>
                <c:pt idx="775">
                  <c:v>5.9369108848331257E-40</c:v>
                </c:pt>
                <c:pt idx="776">
                  <c:v>4.6662244545900396E-40</c:v>
                </c:pt>
                <c:pt idx="777">
                  <c:v>3.6674800264648013E-40</c:v>
                </c:pt>
                <c:pt idx="778">
                  <c:v>2.8824843622397134E-40</c:v>
                </c:pt>
                <c:pt idx="779">
                  <c:v>2.2654958281638791E-40</c:v>
                </c:pt>
                <c:pt idx="780">
                  <c:v>1.7805604035417132E-40</c:v>
                </c:pt>
                <c:pt idx="781">
                  <c:v>1.3994175821245063E-40</c:v>
                </c:pt>
                <c:pt idx="782">
                  <c:v>1.0998542659351981E-40</c:v>
                </c:pt>
                <c:pt idx="783">
                  <c:v>8.6441082331380098E-41</c:v>
                </c:pt>
                <c:pt idx="784">
                  <c:v>6.7936397716830247E-41</c:v>
                </c:pt>
                <c:pt idx="785">
                  <c:v>5.3392730546058128E-41</c:v>
                </c:pt>
                <c:pt idx="786">
                  <c:v>4.1962279950394766E-41</c:v>
                </c:pt>
                <c:pt idx="787">
                  <c:v>3.2978688543486986E-41</c:v>
                </c:pt>
                <c:pt idx="788">
                  <c:v>2.5918214199622134E-41</c:v>
                </c:pt>
                <c:pt idx="789">
                  <c:v>2.0369210081888253E-41</c:v>
                </c:pt>
                <c:pt idx="790">
                  <c:v>1.6008135379135299E-41</c:v>
                </c:pt>
                <c:pt idx="791">
                  <c:v>1.2580699440814793E-41</c:v>
                </c:pt>
                <c:pt idx="792">
                  <c:v>9.8870409228753199E-42</c:v>
                </c:pt>
                <c:pt idx="793">
                  <c:v>7.7700785827730422E-42</c:v>
                </c:pt>
                <c:pt idx="794">
                  <c:v>6.1063550575339092E-42</c:v>
                </c:pt>
                <c:pt idx="795">
                  <c:v>4.7988401663974785E-42</c:v>
                </c:pt>
                <c:pt idx="796">
                  <c:v>3.7712744182417914E-42</c:v>
                </c:pt>
                <c:pt idx="797">
                  <c:v>2.9637231316519475E-42</c:v>
                </c:pt>
                <c:pt idx="798">
                  <c:v>2.3290820902207329E-42</c:v>
                </c:pt>
                <c:pt idx="799">
                  <c:v>1.8303311026453485E-42</c:v>
                </c:pt>
                <c:pt idx="800">
                  <c:v>1.4383754020465657E-42</c:v>
                </c:pt>
              </c:numCache>
            </c:numRef>
          </c:yVal>
          <c:smooth val="0"/>
          <c:extLst>
            <c:ext xmlns:c16="http://schemas.microsoft.com/office/drawing/2014/chart" uri="{C3380CC4-5D6E-409C-BE32-E72D297353CC}">
              <c16:uniqueId val="{0000000D-1D62-4DE3-8E9D-34C68BC76380}"/>
            </c:ext>
          </c:extLst>
        </c:ser>
        <c:ser>
          <c:idx val="12"/>
          <c:order val="12"/>
          <c:tx>
            <c:strRef>
              <c:f>Calc!$P$6</c:f>
              <c:strCache>
                <c:ptCount val="1"/>
                <c:pt idx="0">
                  <c:v>13</c:v>
                </c:pt>
              </c:strCache>
            </c:strRef>
          </c:tx>
          <c:spPr>
            <a:ln w="28575">
              <a:noFill/>
            </a:ln>
          </c:spPr>
          <c:marker>
            <c:symbol val="x"/>
            <c:size val="3"/>
            <c:spPr>
              <a:noFill/>
              <a:ln>
                <a:solidFill>
                  <a:srgbClr val="99CC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P$7:$P$807</c:f>
              <c:numCache>
                <c:formatCode>000,000,000</c:formatCode>
                <c:ptCount val="801"/>
                <c:pt idx="0">
                  <c:v>1.8555496694987958E-37</c:v>
                </c:pt>
                <c:pt idx="1">
                  <c:v>2.3151788132386309E-37</c:v>
                </c:pt>
                <c:pt idx="2">
                  <c:v>2.8886438843487252E-37</c:v>
                </c:pt>
                <c:pt idx="3">
                  <c:v>3.6041341579802771E-37</c:v>
                </c:pt>
                <c:pt idx="4">
                  <c:v>4.4968182900863368E-37</c:v>
                </c:pt>
                <c:pt idx="5">
                  <c:v>5.6105720385848123E-37</c:v>
                </c:pt>
                <c:pt idx="6">
                  <c:v>7.0001335958389166E-37</c:v>
                </c:pt>
                <c:pt idx="7">
                  <c:v>8.7337923452373694E-37</c:v>
                </c:pt>
                <c:pt idx="8">
                  <c:v>1.089674303255808E-36</c:v>
                </c:pt>
                <c:pt idx="9">
                  <c:v>1.3595269995584463E-36</c:v>
                </c:pt>
                <c:pt idx="10">
                  <c:v>1.6961966824264942E-36</c:v>
                </c:pt>
                <c:pt idx="11">
                  <c:v>2.1162247625495384E-36</c:v>
                </c:pt>
                <c:pt idx="12">
                  <c:v>2.6402469431979844E-36</c:v>
                </c:pt>
                <c:pt idx="13">
                  <c:v>3.2940064329857162E-36</c:v>
                </c:pt>
                <c:pt idx="14">
                  <c:v>4.109617845893073E-36</c:v>
                </c:pt>
                <c:pt idx="15">
                  <c:v>5.1271437993989586E-36</c:v>
                </c:pt>
                <c:pt idx="16">
                  <c:v>6.396561557158387E-36</c:v>
                </c:pt>
                <c:pt idx="17">
                  <c:v>7.9802161898534872E-36</c:v>
                </c:pt>
                <c:pt idx="18">
                  <c:v>9.9558805838471388E-36</c:v>
                </c:pt>
                <c:pt idx="19">
                  <c:v>1.242057238083786E-35</c:v>
                </c:pt>
                <c:pt idx="20">
                  <c:v>1.5495315040445017E-35</c:v>
                </c:pt>
                <c:pt idx="21">
                  <c:v>1.9331076499221064E-35</c:v>
                </c:pt>
                <c:pt idx="22">
                  <c:v>2.4116176620786174E-35</c:v>
                </c:pt>
                <c:pt idx="23">
                  <c:v>3.0085526619373095E-35</c:v>
                </c:pt>
                <c:pt idx="24">
                  <c:v>3.7532153418079544E-35</c:v>
                </c:pt>
                <c:pt idx="25">
                  <c:v>4.6821573869389738E-35</c:v>
                </c:pt>
                <c:pt idx="26">
                  <c:v>5.840972340048776E-35</c:v>
                </c:pt>
                <c:pt idx="27">
                  <c:v>7.2865317784896598E-35</c:v>
                </c:pt>
                <c:pt idx="28">
                  <c:v>9.0897743908401708E-35</c:v>
                </c:pt>
                <c:pt idx="29">
                  <c:v>1.1339184621919303E-34</c:v>
                </c:pt>
                <c:pt idx="30">
                  <c:v>1.4145131328225154E-34</c:v>
                </c:pt>
                <c:pt idx="31">
                  <c:v>1.7645279002079477E-34</c:v>
                </c:pt>
                <c:pt idx="32">
                  <c:v>2.201133664277964E-34</c:v>
                </c:pt>
                <c:pt idx="33">
                  <c:v>2.7457474845883005E-34</c:v>
                </c:pt>
                <c:pt idx="34">
                  <c:v>3.4250823350769558E-34</c:v>
                </c:pt>
                <c:pt idx="35">
                  <c:v>4.2724563125733463E-34</c:v>
                </c:pt>
                <c:pt idx="36">
                  <c:v>5.3294254058968615E-34</c:v>
                </c:pt>
                <c:pt idx="37">
                  <c:v>6.6478197671526476E-34</c:v>
                </c:pt>
                <c:pt idx="38">
                  <c:v>8.2922831715873845E-34</c:v>
                </c:pt>
                <c:pt idx="39">
                  <c:v>1.0343439972183533E-33</c:v>
                </c:pt>
                <c:pt idx="40">
                  <c:v>1.2901844553325E-33</c:v>
                </c:pt>
                <c:pt idx="41">
                  <c:v>1.6092906564428491E-33</c:v>
                </c:pt>
                <c:pt idx="42">
                  <c:v>2.0073032939605571E-33</c:v>
                </c:pt>
                <c:pt idx="43">
                  <c:v>2.5037287214669236E-33</c:v>
                </c:pt>
                <c:pt idx="44">
                  <c:v>3.1228940844736825E-33</c:v>
                </c:pt>
                <c:pt idx="45">
                  <c:v>3.8951383727703696E-33</c:v>
                </c:pt>
                <c:pt idx="46">
                  <c:v>4.8582976468015096E-33</c:v>
                </c:pt>
                <c:pt idx="47">
                  <c:v>6.0595570702291125E-33</c:v>
                </c:pt>
                <c:pt idx="48">
                  <c:v>7.5577603072723736E-33</c:v>
                </c:pt>
                <c:pt idx="49">
                  <c:v>9.4262891925541356E-33</c:v>
                </c:pt>
                <c:pt idx="50">
                  <c:v>1.1756654443705029E-32</c:v>
                </c:pt>
                <c:pt idx="51">
                  <c:v>1.4662972922416162E-32</c:v>
                </c:pt>
                <c:pt idx="52">
                  <c:v>1.8287550252603753E-32</c:v>
                </c:pt>
                <c:pt idx="53">
                  <c:v>2.2807841587106324E-32</c:v>
                </c:pt>
                <c:pt idx="54">
                  <c:v>2.8445130609674257E-32</c:v>
                </c:pt>
                <c:pt idx="55">
                  <c:v>3.547535074838597E-32</c:v>
                </c:pt>
                <c:pt idx="56">
                  <c:v>4.4242577150012305E-32</c:v>
                </c:pt>
                <c:pt idx="57">
                  <c:v>5.5175848319763544E-32</c:v>
                </c:pt>
                <c:pt idx="58">
                  <c:v>6.8810138820480172E-32</c:v>
                </c:pt>
                <c:pt idx="59">
                  <c:v>8.5812506967491682E-32</c:v>
                </c:pt>
                <c:pt idx="60">
                  <c:v>1.0701469391810892E-31</c:v>
                </c:pt>
                <c:pt idx="61">
                  <c:v>1.3345376523546063E-31</c:v>
                </c:pt>
                <c:pt idx="62">
                  <c:v>1.6642277823128657E-31</c:v>
                </c:pt>
                <c:pt idx="63">
                  <c:v>2.0753394725923564E-31</c:v>
                </c:pt>
                <c:pt idx="64">
                  <c:v>2.5879738843990958E-31</c:v>
                </c:pt>
                <c:pt idx="65">
                  <c:v>3.2271928470829356E-31</c:v>
                </c:pt>
                <c:pt idx="66">
                  <c:v>4.0242425854035712E-31</c:v>
                </c:pt>
                <c:pt idx="67">
                  <c:v>5.0180791928863126E-31</c:v>
                </c:pt>
                <c:pt idx="68">
                  <c:v>6.2572702211730636E-31</c:v>
                </c:pt>
                <c:pt idx="69">
                  <c:v>7.80236507572202E-31</c:v>
                </c:pt>
                <c:pt idx="70">
                  <c:v>9.7288497393360804E-31</c:v>
                </c:pt>
                <c:pt idx="71">
                  <c:v>1.213082979674108E-30</c:v>
                </c:pt>
                <c:pt idx="72">
                  <c:v>1.512562118865502E-30</c:v>
                </c:pt>
                <c:pt idx="73">
                  <c:v>1.8859472305401338E-30</c:v>
                </c:pt>
                <c:pt idx="74">
                  <c:v>2.3514696084615699E-30</c:v>
                </c:pt>
                <c:pt idx="75">
                  <c:v>2.9318559379036255E-30</c:v>
                </c:pt>
                <c:pt idx="76">
                  <c:v>3.6554362340175427E-30</c:v>
                </c:pt>
                <c:pt idx="77">
                  <c:v>4.5575247071791582E-30</c:v>
                </c:pt>
                <c:pt idx="78">
                  <c:v>5.6821407513301963E-30</c:v>
                </c:pt>
                <c:pt idx="79">
                  <c:v>7.0841537857324275E-30</c:v>
                </c:pt>
                <c:pt idx="80">
                  <c:v>8.8319562809081966E-30</c:v>
                </c:pt>
                <c:pt idx="81">
                  <c:v>1.1010794965022203E-29</c:v>
                </c:pt>
                <c:pt idx="82">
                  <c:v>1.372692218209674E-29</c:v>
                </c:pt>
                <c:pt idx="83">
                  <c:v>1.7112769208364413E-29</c:v>
                </c:pt>
                <c:pt idx="84">
                  <c:v>2.1333392958342847E-29</c:v>
                </c:pt>
                <c:pt idx="85">
                  <c:v>2.6594509332415789E-29</c:v>
                </c:pt>
                <c:pt idx="86">
                  <c:v>3.3152503467329649E-29</c:v>
                </c:pt>
                <c:pt idx="87">
                  <c:v>4.1326903079463144E-29</c:v>
                </c:pt>
                <c:pt idx="88">
                  <c:v>5.1515920582209381E-29</c:v>
                </c:pt>
                <c:pt idx="89">
                  <c:v>6.421581849669759E-29</c:v>
                </c:pt>
                <c:pt idx="90">
                  <c:v>8.0045038061107565E-29</c:v>
                </c:pt>
                <c:pt idx="91">
                  <c:v>9.9774261845523731E-29</c:v>
                </c:pt>
                <c:pt idx="92">
                  <c:v>1.243638687624787E-28</c:v>
                </c:pt>
                <c:pt idx="93">
                  <c:v>1.5501059803106588E-28</c:v>
                </c:pt>
                <c:pt idx="94">
                  <c:v>1.9320568471425952E-28</c:v>
                </c:pt>
                <c:pt idx="95">
                  <c:v>2.4080728495615069E-28</c:v>
                </c:pt>
                <c:pt idx="96">
                  <c:v>3.0013070082836587E-28</c:v>
                </c:pt>
                <c:pt idx="97">
                  <c:v>3.740607761545234E-28</c:v>
                </c:pt>
                <c:pt idx="98">
                  <c:v>4.6619190739908349E-28</c:v>
                </c:pt>
                <c:pt idx="99">
                  <c:v>5.8100244944255448E-28</c:v>
                </c:pt>
                <c:pt idx="100">
                  <c:v>7.2407195924935829E-28</c:v>
                </c:pt>
                <c:pt idx="101">
                  <c:v>9.0235179126459625E-28</c:v>
                </c:pt>
                <c:pt idx="102">
                  <c:v>1.124502136671378E-27</c:v>
                </c:pt>
                <c:pt idx="103">
                  <c:v>1.4013118086373949E-27</c:v>
                </c:pt>
                <c:pt idx="104">
                  <c:v>1.7462210719987316E-27</c:v>
                </c:pt>
                <c:pt idx="105">
                  <c:v>2.1759727908963715E-27</c:v>
                </c:pt>
                <c:pt idx="106">
                  <c:v>2.7114233611616881E-27</c:v>
                </c:pt>
                <c:pt idx="107">
                  <c:v>3.3785526037307086E-27</c:v>
                </c:pt>
                <c:pt idx="108">
                  <c:v>4.2097213918519166E-27</c:v>
                </c:pt>
                <c:pt idx="109">
                  <c:v>5.2452377297178463E-27</c:v>
                </c:pt>
                <c:pt idx="110">
                  <c:v>6.5353068674531036E-27</c:v>
                </c:pt>
                <c:pt idx="111">
                  <c:v>8.1424595413454086E-27</c:v>
                </c:pt>
                <c:pt idx="112">
                  <c:v>1.0144575457375115E-26</c:v>
                </c:pt>
                <c:pt idx="113">
                  <c:v>1.2638647795868887E-26</c:v>
                </c:pt>
                <c:pt idx="114">
                  <c:v>1.5745470180574207E-26</c:v>
                </c:pt>
                <c:pt idx="115">
                  <c:v>1.9615471937078149E-26</c:v>
                </c:pt>
                <c:pt idx="116">
                  <c:v>2.4435982690862038E-26</c:v>
                </c:pt>
                <c:pt idx="117">
                  <c:v>3.0440276070583878E-26</c:v>
                </c:pt>
                <c:pt idx="118">
                  <c:v>3.791882777853858E-26</c:v>
                </c:pt>
                <c:pt idx="119">
                  <c:v>4.7233329660585061E-26</c:v>
                </c:pt>
                <c:pt idx="120">
                  <c:v>5.8834133742042813E-26</c:v>
                </c:pt>
                <c:pt idx="121">
                  <c:v>7.328196482331729E-26</c:v>
                </c:pt>
                <c:pt idx="122">
                  <c:v>9.1274945019237639E-26</c:v>
                </c:pt>
                <c:pt idx="123">
                  <c:v>1.1368222836426154E-25</c:v>
                </c:pt>
                <c:pt idx="124">
                  <c:v>1.4158586045728631E-25</c:v>
                </c:pt>
                <c:pt idx="125">
                  <c:v>1.7633287220880687E-25</c:v>
                </c:pt>
                <c:pt idx="126">
                  <c:v>2.1960010688049271E-25</c:v>
                </c:pt>
                <c:pt idx="127">
                  <c:v>2.7347488914333635E-25</c:v>
                </c:pt>
                <c:pt idx="128">
                  <c:v>3.4055540287337077E-25</c:v>
                </c:pt>
                <c:pt idx="129">
                  <c:v>4.2407558695720966E-25</c:v>
                </c:pt>
                <c:pt idx="130">
                  <c:v>5.280605303620356E-25</c:v>
                </c:pt>
                <c:pt idx="131">
                  <c:v>6.5751980489498078E-25</c:v>
                </c:pt>
                <c:pt idx="132">
                  <c:v>8.1868798572233021E-25</c:v>
                </c:pt>
                <c:pt idx="133">
                  <c:v>1.0193238619301441E-24</c:v>
                </c:pt>
                <c:pt idx="134">
                  <c:v>1.2690826391486111E-24</c:v>
                </c:pt>
                <c:pt idx="135">
                  <c:v>1.5799789164168175E-24</c:v>
                </c:pt>
                <c:pt idx="136">
                  <c:v>1.9669625451111472E-24</c:v>
                </c:pt>
                <c:pt idx="137">
                  <c:v>2.4486348539503943E-24</c:v>
                </c:pt>
                <c:pt idx="138">
                  <c:v>3.0481394055122447E-24</c:v>
                </c:pt>
                <c:pt idx="139">
                  <c:v>3.7942697526625771E-24</c:v>
                </c:pt>
                <c:pt idx="140">
                  <c:v>4.7228469806263207E-24</c:v>
                </c:pt>
                <c:pt idx="141">
                  <c:v>5.878432639906009E-24</c:v>
                </c:pt>
                <c:pt idx="142">
                  <c:v>7.3164586025395152E-24</c:v>
                </c:pt>
                <c:pt idx="143">
                  <c:v>9.1058751612456251E-24</c:v>
                </c:pt>
                <c:pt idx="144">
                  <c:v>1.1332443271353468E-23</c:v>
                </c:pt>
                <c:pt idx="145">
                  <c:v>1.4102827367846255E-23</c:v>
                </c:pt>
                <c:pt idx="146">
                  <c:v>1.7549683112717504E-23</c:v>
                </c:pt>
                <c:pt idx="147">
                  <c:v>2.183798152625161E-23</c:v>
                </c:pt>
                <c:pt idx="148">
                  <c:v>2.717286944513131E-23</c:v>
                </c:pt>
                <c:pt idx="149">
                  <c:v>3.3809438879379243E-23</c:v>
                </c:pt>
                <c:pt idx="150">
                  <c:v>4.2064868019787693E-23</c:v>
                </c:pt>
                <c:pt idx="151">
                  <c:v>5.2333508609184753E-23</c:v>
                </c:pt>
                <c:pt idx="152">
                  <c:v>6.510563338371386E-23</c:v>
                </c:pt>
                <c:pt idx="153">
                  <c:v>8.0990729825282541E-23</c:v>
                </c:pt>
                <c:pt idx="154">
                  <c:v>1.0074644061848468E-22</c:v>
                </c:pt>
                <c:pt idx="155">
                  <c:v>1.2531451698890205E-22</c:v>
                </c:pt>
                <c:pt idx="156">
                  <c:v>1.5586548093174038E-22</c:v>
                </c:pt>
                <c:pt idx="157">
                  <c:v>1.9385410161605886E-22</c:v>
                </c:pt>
                <c:pt idx="158">
                  <c:v>2.4108829905579335E-22</c:v>
                </c:pt>
                <c:pt idx="159">
                  <c:v>2.9981471813255425E-22</c:v>
                </c:pt>
                <c:pt idx="160">
                  <c:v>3.728249975585443E-22</c:v>
                </c:pt>
                <c:pt idx="161">
                  <c:v>4.6358772771851971E-22</c:v>
                </c:pt>
                <c:pt idx="162">
                  <c:v>5.7641229355419748E-22</c:v>
                </c:pt>
                <c:pt idx="163">
                  <c:v>7.1665228953828656E-22</c:v>
                </c:pt>
                <c:pt idx="164">
                  <c:v>8.9095804243674945E-22</c:v>
                </c:pt>
                <c:pt idx="165">
                  <c:v>1.1075900695764723E-21</c:v>
                </c:pt>
                <c:pt idx="166">
                  <c:v>1.3768081417348927E-21</c:v>
                </c:pt>
                <c:pt idx="167">
                  <c:v>1.7113541418259623E-21</c:v>
                </c:pt>
                <c:pt idx="168">
                  <c:v>2.1270512758153083E-21</c:v>
                </c:pt>
                <c:pt idx="169">
                  <c:v>2.6435476019761298E-21</c:v>
                </c:pt>
                <c:pt idx="170">
                  <c:v>3.2852385477667047E-21</c:v>
                </c:pt>
                <c:pt idx="171">
                  <c:v>4.0824113885262464E-21</c:v>
                </c:pt>
                <c:pt idx="172">
                  <c:v>5.0726649502847439E-21</c:v>
                </c:pt>
                <c:pt idx="173">
                  <c:v>6.3026705422070243E-21</c:v>
                </c:pt>
                <c:pt idx="174">
                  <c:v>7.8303559063534133E-21</c:v>
                </c:pt>
                <c:pt idx="175">
                  <c:v>9.727613515623584E-21</c:v>
                </c:pt>
                <c:pt idx="176">
                  <c:v>1.2083658747961521E-20</c:v>
                </c:pt>
                <c:pt idx="177">
                  <c:v>1.5009193420257206E-20</c:v>
                </c:pt>
                <c:pt idx="178">
                  <c:v>1.864156724390183E-20</c:v>
                </c:pt>
                <c:pt idx="179">
                  <c:v>2.3151175652829255E-20</c:v>
                </c:pt>
                <c:pt idx="180">
                  <c:v>2.874938923919747E-20</c:v>
                </c:pt>
                <c:pt idx="181">
                  <c:v>3.5698380288007845E-20</c:v>
                </c:pt>
                <c:pt idx="182">
                  <c:v>4.4323298812690104E-20</c:v>
                </c:pt>
                <c:pt idx="183">
                  <c:v>5.502735799036078E-20</c:v>
                </c:pt>
                <c:pt idx="184">
                  <c:v>6.8310521832824458E-20</c:v>
                </c:pt>
                <c:pt idx="185">
                  <c:v>8.4792652301787241E-20</c:v>
                </c:pt>
                <c:pt idx="186">
                  <c:v>1.052421762837515E-19</c:v>
                </c:pt>
                <c:pt idx="187">
                  <c:v>1.3061158401417381E-19</c:v>
                </c:pt>
                <c:pt idx="188">
                  <c:v>1.6208138095117703E-19</c:v>
                </c:pt>
                <c:pt idx="189">
                  <c:v>2.0111449864889219E-19</c:v>
                </c:pt>
                <c:pt idx="190">
                  <c:v>2.4952364401781376E-19</c:v>
                </c:pt>
                <c:pt idx="191">
                  <c:v>3.0955465163095031E-19</c:v>
                </c:pt>
                <c:pt idx="192">
                  <c:v>3.839896265114859E-19</c:v>
                </c:pt>
                <c:pt idx="193">
                  <c:v>4.7627455725672132E-19</c:v>
                </c:pt>
                <c:pt idx="194">
                  <c:v>5.9067718101649727E-19</c:v>
                </c:pt>
                <c:pt idx="195">
                  <c:v>7.3248224154477124E-19</c:v>
                </c:pt>
                <c:pt idx="196">
                  <c:v>9.0823295938015182E-19</c:v>
                </c:pt>
                <c:pt idx="197">
                  <c:v>1.1260296031943171E-18</c:v>
                </c:pt>
                <c:pt idx="198">
                  <c:v>1.3958986045941769E-18</c:v>
                </c:pt>
                <c:pt idx="199">
                  <c:v>1.7302488073204589E-18</c:v>
                </c:pt>
                <c:pt idx="200">
                  <c:v>2.1444353238537986E-18</c:v>
                </c:pt>
                <c:pt idx="201">
                  <c:v>2.6574562576816318E-18</c:v>
                </c:pt>
                <c:pt idx="202">
                  <c:v>3.2928134466768434E-18</c:v>
                </c:pt>
                <c:pt idx="203">
                  <c:v>4.0795756488952616E-18</c:v>
                </c:pt>
                <c:pt idx="204">
                  <c:v>5.0536915421295117E-18</c:v>
                </c:pt>
                <c:pt idx="205">
                  <c:v>6.259610930483461E-18</c:v>
                </c:pt>
                <c:pt idx="206">
                  <c:v>7.7522861213289233E-18</c:v>
                </c:pt>
                <c:pt idx="207">
                  <c:v>9.5996421391833814E-18</c:v>
                </c:pt>
                <c:pt idx="208">
                  <c:v>1.1885624997387714E-17</c:v>
                </c:pt>
                <c:pt idx="209">
                  <c:v>1.471396253525841E-17</c:v>
                </c:pt>
                <c:pt idx="210">
                  <c:v>1.8212803428922609E-17</c:v>
                </c:pt>
                <c:pt idx="211">
                  <c:v>2.2540438224497867E-17</c:v>
                </c:pt>
                <c:pt idx="212">
                  <c:v>2.7892353248677209E-17</c:v>
                </c:pt>
                <c:pt idx="213">
                  <c:v>3.4509926017099954E-17</c:v>
                </c:pt>
                <c:pt idx="214">
                  <c:v>4.2691141727007618E-17</c:v>
                </c:pt>
                <c:pt idx="215">
                  <c:v>5.2803797578414644E-17</c:v>
                </c:pt>
                <c:pt idx="216">
                  <c:v>6.530176867921101E-17</c:v>
                </c:pt>
                <c:pt idx="217">
                  <c:v>8.0745040635972672E-17</c:v>
                </c:pt>
                <c:pt idx="218">
                  <c:v>9.9824375096823261E-17</c:v>
                </c:pt>
                <c:pt idx="219">
                  <c:v>1.2339167220109024E-16</c:v>
                </c:pt>
                <c:pt idx="220">
                  <c:v>1.5249733629998984E-16</c:v>
                </c:pt>
                <c:pt idx="221">
                  <c:v>1.884362484600237E-16</c:v>
                </c:pt>
                <c:pt idx="222">
                  <c:v>2.3280431338151269E-16</c:v>
                </c:pt>
                <c:pt idx="223">
                  <c:v>2.8756799439711529E-16</c:v>
                </c:pt>
                <c:pt idx="224">
                  <c:v>3.551497963902606E-16</c:v>
                </c:pt>
                <c:pt idx="225">
                  <c:v>4.3853332503108461E-16</c:v>
                </c:pt>
                <c:pt idx="226">
                  <c:v>5.4139236878397217E-16</c:v>
                </c:pt>
                <c:pt idx="227">
                  <c:v>6.6824945074535509E-16</c:v>
                </c:pt>
                <c:pt idx="228">
                  <c:v>8.2467052078138098E-16</c:v>
                </c:pt>
                <c:pt idx="229">
                  <c:v>1.017503953670639E-15</c:v>
                </c:pt>
                <c:pt idx="230">
                  <c:v>1.2551738456705049E-15</c:v>
                </c:pt>
                <c:pt idx="231">
                  <c:v>1.548039832676567E-15</c:v>
                </c:pt>
                <c:pt idx="232">
                  <c:v>1.9088383761454008E-15</c:v>
                </c:pt>
                <c:pt idx="233">
                  <c:v>2.3532237853842973E-15</c:v>
                </c:pt>
                <c:pt idx="234">
                  <c:v>2.9004312968457411E-15</c:v>
                </c:pt>
                <c:pt idx="235">
                  <c:v>3.5740894706830523E-15</c:v>
                </c:pt>
                <c:pt idx="236">
                  <c:v>4.4032151836760412E-15</c:v>
                </c:pt>
                <c:pt idx="237">
                  <c:v>5.4234318280573735E-15</c:v>
                </c:pt>
                <c:pt idx="238">
                  <c:v>6.6784602492744973E-15</c:v>
                </c:pt>
                <c:pt idx="239">
                  <c:v>8.221942813172935E-15</c:v>
                </c:pt>
                <c:pt idx="240">
                  <c:v>1.0119674196992374E-14</c:v>
                </c:pt>
                <c:pt idx="241">
                  <c:v>1.2452328547773598E-14</c:v>
                </c:pt>
                <c:pt idx="242">
                  <c:v>1.5318792149188776E-14</c:v>
                </c:pt>
                <c:pt idx="243">
                  <c:v>1.8840234411586521E-14</c:v>
                </c:pt>
                <c:pt idx="244">
                  <c:v>2.3165078729014329E-14</c:v>
                </c:pt>
                <c:pt idx="245">
                  <c:v>2.8475069591105215E-14</c:v>
                </c:pt>
                <c:pt idx="246">
                  <c:v>3.4992674574456667E-14</c:v>
                </c:pt>
                <c:pt idx="247">
                  <c:v>4.2990111005989922E-14</c:v>
                </c:pt>
                <c:pt idx="248">
                  <c:v>5.2800349041271189E-14</c:v>
                </c:pt>
                <c:pt idx="249">
                  <c:v>6.4830517860261465E-14</c:v>
                </c:pt>
                <c:pt idx="250">
                  <c:v>7.9578232326682765E-14</c:v>
                </c:pt>
                <c:pt idx="251">
                  <c:v>9.7651466996814592E-14</c:v>
                </c:pt>
                <c:pt idx="252">
                  <c:v>1.1979273665193386E-13</c:v>
                </c:pt>
                <c:pt idx="253">
                  <c:v>1.4690850218361633E-13</c:v>
                </c:pt>
                <c:pt idx="254">
                  <c:v>1.8010491321272464E-13</c:v>
                </c:pt>
                <c:pt idx="255">
                  <c:v>2.2073123088766764E-13</c:v>
                </c:pt>
                <c:pt idx="256">
                  <c:v>2.7043255379453884E-13</c:v>
                </c:pt>
                <c:pt idx="257">
                  <c:v>3.3121380626660661E-13</c:v>
                </c:pt>
                <c:pt idx="258">
                  <c:v>4.0551735287283145E-13</c:v>
                </c:pt>
                <c:pt idx="259">
                  <c:v>4.963170889272659E-13</c:v>
                </c:pt>
                <c:pt idx="260">
                  <c:v>6.0723244048772015E-13</c:v>
                </c:pt>
                <c:pt idx="261">
                  <c:v>7.4266640752846736E-13</c:v>
                </c:pt>
                <c:pt idx="262">
                  <c:v>9.0797262338452719E-13</c:v>
                </c:pt>
                <c:pt idx="263">
                  <c:v>1.1096574090067305E-12</c:v>
                </c:pt>
                <c:pt idx="264">
                  <c:v>1.3556240038500392E-12</c:v>
                </c:pt>
                <c:pt idx="265">
                  <c:v>1.65546759401693E-12</c:v>
                </c:pt>
                <c:pt idx="266">
                  <c:v>2.0208314771544061E-12</c:v>
                </c:pt>
                <c:pt idx="267">
                  <c:v>2.4658367552059097E-12</c:v>
                </c:pt>
                <c:pt idx="268">
                  <c:v>3.0076003925650043E-12</c:v>
                </c:pt>
                <c:pt idx="269">
                  <c:v>3.6668593916712727E-12</c:v>
                </c:pt>
                <c:pt idx="270">
                  <c:v>4.4687223067806015E-12</c:v>
                </c:pt>
                <c:pt idx="271">
                  <c:v>5.4435734407812893E-12</c:v>
                </c:pt>
                <c:pt idx="272">
                  <c:v>6.628159968347088E-12</c:v>
                </c:pt>
                <c:pt idx="273">
                  <c:v>8.0668980406839127E-12</c:v>
                </c:pt>
                <c:pt idx="274">
                  <c:v>9.8134408156058062E-12</c:v>
                </c:pt>
                <c:pt idx="275">
                  <c:v>1.1932559512094942E-11</c:v>
                </c:pt>
                <c:pt idx="276">
                  <c:v>1.450239823300042E-11</c:v>
                </c:pt>
                <c:pt idx="277">
                  <c:v>1.7617174691852737E-11</c:v>
                </c:pt>
                <c:pt idx="278">
                  <c:v>2.1390412420770026E-11</c:v>
                </c:pt>
                <c:pt idx="279">
                  <c:v>2.5958805875328752E-11</c:v>
                </c:pt>
                <c:pt idx="280">
                  <c:v>3.1486838493708994E-11</c:v>
                </c:pt>
                <c:pt idx="281">
                  <c:v>3.8172295679408392E-11</c:v>
                </c:pt>
                <c:pt idx="282">
                  <c:v>4.6252840399589033E-11</c:v>
                </c:pt>
                <c:pt idx="283">
                  <c:v>5.6013849247104376E-11</c:v>
                </c:pt>
                <c:pt idx="284">
                  <c:v>6.7797742119051404E-11</c:v>
                </c:pt>
                <c:pt idx="285">
                  <c:v>8.2015079939352159E-11</c:v>
                </c:pt>
                <c:pt idx="286">
                  <c:v>9.9157753037296319E-11</c:v>
                </c:pt>
                <c:pt idx="287">
                  <c:v>1.1981463896170456E-10</c:v>
                </c:pt>
                <c:pt idx="288">
                  <c:v>1.4469017388464486E-10</c:v>
                </c:pt>
                <c:pt idx="289">
                  <c:v>1.7462635771983827E-10</c:v>
                </c:pt>
                <c:pt idx="290">
                  <c:v>2.1062880122522841E-10</c:v>
                </c:pt>
                <c:pt idx="291">
                  <c:v>2.5389752545895419E-10</c:v>
                </c:pt>
                <c:pt idx="292">
                  <c:v>3.0586334202214248E-10</c:v>
                </c:pt>
                <c:pt idx="293">
                  <c:v>3.6823077880938811E-10</c:v>
                </c:pt>
                <c:pt idx="294">
                  <c:v>4.4302867302898257E-10</c:v>
                </c:pt>
                <c:pt idx="295">
                  <c:v>5.326697338767475E-10</c:v>
                </c:pt>
                <c:pt idx="296">
                  <c:v>6.4002058459556053E-10</c:v>
                </c:pt>
                <c:pt idx="297">
                  <c:v>7.68484031215521E-10</c:v>
                </c:pt>
                <c:pt idx="298">
                  <c:v>9.2209557690056925E-10</c:v>
                </c:pt>
                <c:pt idx="299">
                  <c:v>1.105636510763505E-9</c:v>
                </c:pt>
                <c:pt idx="300">
                  <c:v>1.3247662528927151E-9</c:v>
                </c:pt>
                <c:pt idx="301">
                  <c:v>1.5861770382164471E-9</c:v>
                </c:pt>
                <c:pt idx="302">
                  <c:v>1.897774476192648E-9</c:v>
                </c:pt>
                <c:pt idx="303">
                  <c:v>2.268888037059382E-9</c:v>
                </c:pt>
                <c:pt idx="304">
                  <c:v>2.7105160948343694E-9</c:v>
                </c:pt>
                <c:pt idx="305">
                  <c:v>3.2356108091344625E-9</c:v>
                </c:pt>
                <c:pt idx="306">
                  <c:v>3.8594088592870608E-9</c:v>
                </c:pt>
                <c:pt idx="307">
                  <c:v>4.5998148625382345E-9</c:v>
                </c:pt>
                <c:pt idx="308">
                  <c:v>5.47784522109596E-9</c:v>
                </c:pt>
                <c:pt idx="309">
                  <c:v>6.518141158119913E-9</c:v>
                </c:pt>
                <c:pt idx="310">
                  <c:v>7.749560828478312E-9</c:v>
                </c:pt>
                <c:pt idx="311">
                  <c:v>9.2058616339544311E-9</c:v>
                </c:pt>
                <c:pt idx="312">
                  <c:v>1.0926485242155848E-8</c:v>
                </c:pt>
                <c:pt idx="313">
                  <c:v>1.2957459310759863E-8</c:v>
                </c:pt>
                <c:pt idx="314">
                  <c:v>1.5352431560296399E-8</c:v>
                </c:pt>
                <c:pt idx="315">
                  <c:v>1.8173853624810724E-8</c:v>
                </c:pt>
                <c:pt idx="316">
                  <c:v>2.1494334044486717E-8</c:v>
                </c:pt>
                <c:pt idx="317">
                  <c:v>2.5398181849959262E-8</c:v>
                </c:pt>
                <c:pt idx="318">
                  <c:v>2.9983164424707207E-8</c:v>
                </c:pt>
                <c:pt idx="319">
                  <c:v>3.5362505717052461E-8</c:v>
                </c:pt>
                <c:pt idx="320">
                  <c:v>4.1667153401107361E-8</c:v>
                </c:pt>
                <c:pt idx="321">
                  <c:v>4.9048346246870136E-8</c:v>
                </c:pt>
                <c:pt idx="322">
                  <c:v>5.7680515739459809E-8</c:v>
                </c:pt>
                <c:pt idx="323">
                  <c:v>6.7764558866838744E-8</c:v>
                </c:pt>
                <c:pt idx="324">
                  <c:v>7.9531521948978574E-8</c:v>
                </c:pt>
                <c:pt idx="325">
                  <c:v>9.3246738377199657E-8</c:v>
                </c:pt>
                <c:pt idx="326">
                  <c:v>1.0921446613067473E-7</c:v>
                </c:pt>
                <c:pt idx="327">
                  <c:v>1.2778307388977537E-7</c:v>
                </c:pt>
                <c:pt idx="328">
                  <c:v>1.4935082741575747E-7</c:v>
                </c:pt>
                <c:pt idx="329">
                  <c:v>1.7437233054587729E-7</c:v>
                </c:pt>
                <c:pt idx="330">
                  <c:v>2.0336567758448494E-7</c:v>
                </c:pt>
                <c:pt idx="331">
                  <c:v>2.3692037596438369E-7</c:v>
                </c:pt>
                <c:pt idx="332">
                  <c:v>2.7570609970763023E-7</c:v>
                </c:pt>
                <c:pt idx="333">
                  <c:v>3.2048233531733292E-7</c:v>
                </c:pt>
                <c:pt idx="334">
                  <c:v>3.7210898215598967E-7</c:v>
                </c:pt>
                <c:pt idx="335">
                  <c:v>4.3155796897322457E-7</c:v>
                </c:pt>
                <c:pt idx="336">
                  <c:v>4.9992594688633323E-7</c:v>
                </c:pt>
                <c:pt idx="337">
                  <c:v>5.7844811662944076E-7</c:v>
                </c:pt>
                <c:pt idx="338">
                  <c:v>6.6851324410019077E-7</c:v>
                </c:pt>
                <c:pt idx="339">
                  <c:v>7.716799129667559E-7</c:v>
                </c:pt>
                <c:pt idx="340">
                  <c:v>8.8969405616698277E-7</c:v>
                </c:pt>
                <c:pt idx="341">
                  <c:v>1.0245077993458308E-6</c:v>
                </c:pt>
                <c:pt idx="342">
                  <c:v>1.1782996384471347E-6</c:v>
                </c:pt>
                <c:pt idx="343">
                  <c:v>1.3534959606149804E-6</c:v>
                </c:pt>
                <c:pt idx="344">
                  <c:v>1.5527939020902286E-6</c:v>
                </c:pt>
                <c:pt idx="345">
                  <c:v>1.7791855187444238E-6</c:v>
                </c:pt>
                <c:pt idx="346">
                  <c:v>2.0359832241307292E-6</c:v>
                </c:pt>
                <c:pt idx="347">
                  <c:v>2.3268464263301281E-6</c:v>
                </c:pt>
                <c:pt idx="348">
                  <c:v>2.6558092683435657E-6</c:v>
                </c:pt>
                <c:pt idx="349">
                  <c:v>3.0273093472810721E-6</c:v>
                </c:pt>
                <c:pt idx="350">
                  <c:v>3.4462172551291295E-6</c:v>
                </c:pt>
                <c:pt idx="351">
                  <c:v>3.9178667484954536E-6</c:v>
                </c:pt>
                <c:pt idx="352">
                  <c:v>4.4480853165619271E-6</c:v>
                </c:pt>
                <c:pt idx="353">
                  <c:v>5.0432248757172294E-6</c:v>
                </c:pt>
                <c:pt idx="354">
                  <c:v>5.7101922762703046E-6</c:v>
                </c:pt>
                <c:pt idx="355">
                  <c:v>6.4564792616339736E-6</c:v>
                </c:pt>
                <c:pt idx="356">
                  <c:v>7.2901914738745395E-6</c:v>
                </c:pt>
                <c:pt idx="357">
                  <c:v>8.2200760521176768E-6</c:v>
                </c:pt>
                <c:pt idx="358">
                  <c:v>9.2555473226479616E-6</c:v>
                </c:pt>
                <c:pt idx="359">
                  <c:v>1.0406710032419902E-5</c:v>
                </c:pt>
                <c:pt idx="360">
                  <c:v>1.1684379531993004E-5</c:v>
                </c:pt>
                <c:pt idx="361">
                  <c:v>1.3100098270600719E-5</c:v>
                </c:pt>
                <c:pt idx="362">
                  <c:v>1.4666147926250611E-5</c:v>
                </c:pt>
                <c:pt idx="363">
                  <c:v>1.6395556458606283E-5</c:v>
                </c:pt>
                <c:pt idx="364">
                  <c:v>1.830209934317262E-5</c:v>
                </c:pt>
                <c:pt idx="365">
                  <c:v>2.04002942233164E-5</c:v>
                </c:pt>
                <c:pt idx="366">
                  <c:v>2.2705388203255664E-5</c:v>
                </c:pt>
                <c:pt idx="367">
                  <c:v>2.5233337001724026E-5</c:v>
                </c:pt>
                <c:pt idx="368">
                  <c:v>2.8000775193931056E-5</c:v>
                </c:pt>
                <c:pt idx="369">
                  <c:v>3.1024976790024279E-5</c:v>
                </c:pt>
                <c:pt idx="370">
                  <c:v>3.4323805432758198E-5</c:v>
                </c:pt>
                <c:pt idx="371">
                  <c:v>3.7915653546669757E-5</c:v>
                </c:pt>
                <c:pt idx="372">
                  <c:v>4.1819369836692806E-5</c:v>
                </c:pt>
                <c:pt idx="373">
                  <c:v>4.6054174616677729E-5</c:v>
                </c:pt>
                <c:pt idx="374">
                  <c:v>5.0639562548252888E-5</c:v>
                </c:pt>
                <c:pt idx="375">
                  <c:v>5.5595192488191719E-5</c:v>
                </c:pt>
                <c:pt idx="376">
                  <c:v>6.0940764277926878E-5</c:v>
                </c:pt>
                <c:pt idx="377">
                  <c:v>6.6695882461721722E-5</c:v>
                </c:pt>
                <c:pt idx="378">
                  <c:v>7.287990708952363E-5</c:v>
                </c:pt>
                <c:pt idx="379">
                  <c:v>7.9511791945564037E-5</c:v>
                </c:pt>
                <c:pt idx="380">
                  <c:v>8.6609910742743479E-5</c:v>
                </c:pt>
                <c:pt idx="381">
                  <c:v>9.4191872033738425E-5</c:v>
                </c:pt>
                <c:pt idx="382">
                  <c:v>1.0227432381015052E-4</c:v>
                </c:pt>
                <c:pt idx="383">
                  <c:v>1.1087274898798623E-4</c:v>
                </c:pt>
                <c:pt idx="384">
                  <c:v>1.2000125320800303E-4</c:v>
                </c:pt>
                <c:pt idx="385">
                  <c:v>1.2967234660930796E-4</c:v>
                </c:pt>
                <c:pt idx="386">
                  <c:v>1.3989672145999987E-4</c:v>
                </c:pt>
                <c:pt idx="387">
                  <c:v>1.5068302774531861E-4</c:v>
                </c:pt>
                <c:pt idx="388">
                  <c:v>1.6203764901713704E-4</c:v>
                </c:pt>
                <c:pt idx="389">
                  <c:v>1.7396448099407365E-4</c:v>
                </c:pt>
                <c:pt idx="390">
                  <c:v>1.8646471556428551E-4</c:v>
                </c:pt>
                <c:pt idx="391">
                  <c:v>1.9953663297845673E-4</c:v>
                </c:pt>
                <c:pt idx="392">
                  <c:v>2.1317540512414302E-4</c:v>
                </c:pt>
                <c:pt idx="393">
                  <c:v>2.273729128402501E-4</c:v>
                </c:pt>
                <c:pt idx="394">
                  <c:v>2.4211758025814096E-4</c:v>
                </c:pt>
                <c:pt idx="395">
                  <c:v>2.5739422914038118E-4</c:v>
                </c:pt>
                <c:pt idx="396">
                  <c:v>2.7318395612668551E-4</c:v>
                </c:pt>
                <c:pt idx="397">
                  <c:v>2.8946403568721015E-4</c:v>
                </c:pt>
                <c:pt idx="398">
                  <c:v>3.0620785142475195E-4</c:v>
                </c:pt>
                <c:pt idx="399">
                  <c:v>3.233848581592622E-4</c:v>
                </c:pt>
                <c:pt idx="400">
                  <c:v>3.4096057697105949E-4</c:v>
                </c:pt>
                <c:pt idx="401">
                  <c:v>3.5889662507478413E-4</c:v>
                </c:pt>
                <c:pt idx="402">
                  <c:v>3.7715078204703627E-4</c:v>
                </c:pt>
                <c:pt idx="403">
                  <c:v>3.9567709354055566E-4</c:v>
                </c:pt>
                <c:pt idx="404">
                  <c:v>4.1442601319110795E-4</c:v>
                </c:pt>
                <c:pt idx="405">
                  <c:v>4.3334458296567454E-4</c:v>
                </c:pt>
                <c:pt idx="406">
                  <c:v>4.5237665171843594E-4</c:v>
                </c:pt>
                <c:pt idx="407">
                  <c:v>4.7146313122140579E-4</c:v>
                </c:pt>
                <c:pt idx="408">
                  <c:v>4.9054228842745516E-4</c:v>
                </c:pt>
                <c:pt idx="409">
                  <c:v>5.0955007221289083E-4</c:v>
                </c:pt>
                <c:pt idx="410">
                  <c:v>5.2842047234349747E-4</c:v>
                </c:pt>
                <c:pt idx="411">
                  <c:v>5.4708590792067538E-4</c:v>
                </c:pt>
                <c:pt idx="412">
                  <c:v>5.654776421019223E-4</c:v>
                </c:pt>
                <c:pt idx="413">
                  <c:v>5.8352621946064834E-4</c:v>
                </c:pt>
                <c:pt idx="414">
                  <c:v>6.0116192196275984E-4</c:v>
                </c:pt>
                <c:pt idx="415">
                  <c:v>6.1831523919871924E-4</c:v>
                </c:pt>
                <c:pt idx="416">
                  <c:v>6.3491734822694438E-4</c:v>
                </c:pt>
                <c:pt idx="417">
                  <c:v>6.5090059816341457E-4</c:v>
                </c:pt>
                <c:pt idx="418">
                  <c:v>6.6619899449769536E-4</c:v>
                </c:pt>
                <c:pt idx="419">
                  <c:v>6.8074867803137834E-4</c:v>
                </c:pt>
                <c:pt idx="420">
                  <c:v>6.9448839332322669E-4</c:v>
                </c:pt>
                <c:pt idx="421">
                  <c:v>7.0735994158739048E-4</c:v>
                </c:pt>
                <c:pt idx="422">
                  <c:v>7.1930861312651982E-4</c:v>
                </c:pt>
                <c:pt idx="423">
                  <c:v>7.3028359458889101E-4</c:v>
                </c:pt>
                <c:pt idx="424">
                  <c:v>7.4023834661465391E-4</c:v>
                </c:pt>
                <c:pt idx="425">
                  <c:v>7.4913094777699814E-4</c:v>
                </c:pt>
                <c:pt idx="426">
                  <c:v>7.5692440112363221E-4</c:v>
                </c:pt>
                <c:pt idx="427">
                  <c:v>7.6358690007628782E-4</c:v>
                </c:pt>
                <c:pt idx="428">
                  <c:v>7.6909205094327854E-4</c:v>
                </c:pt>
                <c:pt idx="429">
                  <c:v>7.7341904983450492E-4</c:v>
                </c:pt>
                <c:pt idx="430">
                  <c:v>7.7655281233048935E-4</c:v>
                </c:pt>
                <c:pt idx="431">
                  <c:v>7.7848405483833284E-4</c:v>
                </c:pt>
                <c:pt idx="432">
                  <c:v>7.7920932715788704E-4</c:v>
                </c:pt>
                <c:pt idx="433">
                  <c:v>7.7873099637172519E-4</c:v>
                </c:pt>
                <c:pt idx="434">
                  <c:v>7.7705718275347994E-4</c:v>
                </c:pt>
                <c:pt idx="435">
                  <c:v>7.7420164895126802E-4</c:v>
                </c:pt>
                <c:pt idx="436">
                  <c:v>7.7018364423832157E-4</c:v>
                </c:pt>
                <c:pt idx="437">
                  <c:v>7.6502770612339027E-4</c:v>
                </c:pt>
                <c:pt idx="438">
                  <c:v>7.587634220720098E-4</c:v>
                </c:pt>
                <c:pt idx="439">
                  <c:v>7.5142515450042201E-4</c:v>
                </c:pt>
                <c:pt idx="440">
                  <c:v>7.4305173256129515E-4</c:v>
                </c:pt>
                <c:pt idx="441">
                  <c:v>7.3368611454086561E-4</c:v>
                </c:pt>
                <c:pt idx="442">
                  <c:v>7.2337502492734497E-4</c:v>
                </c:pt>
                <c:pt idx="443">
                  <c:v>7.1216857038894094E-4</c:v>
                </c:pt>
                <c:pt idx="444">
                  <c:v>7.0011983901574189E-4</c:v>
                </c:pt>
                <c:pt idx="445">
                  <c:v>6.8728448723372236E-4</c:v>
                </c:pt>
                <c:pt idx="446">
                  <c:v>6.7372031879231443E-4</c:v>
                </c:pt>
                <c:pt idx="447">
                  <c:v>6.5948686016221547E-4</c:v>
                </c:pt>
                <c:pt idx="448">
                  <c:v>6.4464493656047478E-4</c:v>
                </c:pt>
                <c:pt idx="449">
                  <c:v>6.2925625264938722E-4</c:v>
                </c:pt>
                <c:pt idx="450">
                  <c:v>6.1338298173958404E-4</c:v>
                </c:pt>
                <c:pt idx="451">
                  <c:v>5.9708736707057071E-4</c:v>
                </c:pt>
                <c:pt idx="452">
                  <c:v>5.8043133845018114E-4</c:v>
                </c:pt>
                <c:pt idx="453">
                  <c:v>5.6347614721362111E-4</c:v>
                </c:pt>
                <c:pt idx="454">
                  <c:v>5.462820221192932E-4</c:v>
                </c:pt>
                <c:pt idx="455">
                  <c:v>5.289078484386556E-4</c:v>
                </c:pt>
                <c:pt idx="456">
                  <c:v>5.1141087212706101E-4</c:v>
                </c:pt>
                <c:pt idx="457">
                  <c:v>4.938464305879526E-4</c:v>
                </c:pt>
                <c:pt idx="458">
                  <c:v>4.7626771116938071E-4</c:v>
                </c:pt>
                <c:pt idx="459">
                  <c:v>4.5872553816530485E-4</c:v>
                </c:pt>
                <c:pt idx="460">
                  <c:v>4.4126818873896925E-4</c:v>
                </c:pt>
                <c:pt idx="461">
                  <c:v>4.239412378465749E-4</c:v>
                </c:pt>
                <c:pt idx="462">
                  <c:v>4.0678743192015896E-4</c:v>
                </c:pt>
                <c:pt idx="463">
                  <c:v>3.8984659077235682E-4</c:v>
                </c:pt>
                <c:pt idx="464">
                  <c:v>3.7315553691530986E-4</c:v>
                </c:pt>
                <c:pt idx="465">
                  <c:v>3.5674805124343581E-4</c:v>
                </c:pt>
                <c:pt idx="466">
                  <c:v>3.4065485381653296E-4</c:v>
                </c:pt>
                <c:pt idx="467">
                  <c:v>3.2490360829690674E-4</c:v>
                </c:pt>
                <c:pt idx="468">
                  <c:v>3.0951894844187912E-4</c:v>
                </c:pt>
                <c:pt idx="469">
                  <c:v>2.9452252493152882E-4</c:v>
                </c:pt>
                <c:pt idx="470">
                  <c:v>2.79933070719667E-4</c:v>
                </c:pt>
                <c:pt idx="471">
                  <c:v>2.6576648303339455E-4</c:v>
                </c:pt>
                <c:pt idx="472">
                  <c:v>2.5203592011126366E-4</c:v>
                </c:pt>
                <c:pt idx="473">
                  <c:v>2.3875191076066425E-4</c:v>
                </c:pt>
                <c:pt idx="474">
                  <c:v>2.2592247482954871E-4</c:v>
                </c:pt>
                <c:pt idx="475">
                  <c:v>2.1355325272367671E-4</c:v>
                </c:pt>
                <c:pt idx="476">
                  <c:v>2.0164764215614331E-4</c:v>
                </c:pt>
                <c:pt idx="477">
                  <c:v>1.9020694038838731E-4</c:v>
                </c:pt>
                <c:pt idx="478">
                  <c:v>1.7923049030891261E-4</c:v>
                </c:pt>
                <c:pt idx="479">
                  <c:v>1.6871582879498053E-4</c:v>
                </c:pt>
                <c:pt idx="480">
                  <c:v>1.5865883591121988E-4</c:v>
                </c:pt>
                <c:pt idx="481">
                  <c:v>1.4905388361509915E-4</c:v>
                </c:pt>
                <c:pt idx="482">
                  <c:v>1.3989398276026348E-4</c:v>
                </c:pt>
                <c:pt idx="483">
                  <c:v>1.3117092731279587E-4</c:v>
                </c:pt>
                <c:pt idx="484">
                  <c:v>1.2287543482059142E-4</c:v>
                </c:pt>
                <c:pt idx="485">
                  <c:v>1.1499728230041641E-4</c:v>
                </c:pt>
                <c:pt idx="486">
                  <c:v>1.0752543682943121E-4</c:v>
                </c:pt>
                <c:pt idx="487">
                  <c:v>1.0044818024641729E-4</c:v>
                </c:pt>
                <c:pt idx="488">
                  <c:v>9.375322748167634E-5</c:v>
                </c:pt>
                <c:pt idx="489">
                  <c:v>8.7427838142438362E-5</c:v>
                </c:pt>
                <c:pt idx="490">
                  <c:v>8.1458921081898285E-5</c:v>
                </c:pt>
                <c:pt idx="491">
                  <c:v>7.5833131774059238E-5</c:v>
                </c:pt>
                <c:pt idx="492">
                  <c:v>7.0536962402950685E-5</c:v>
                </c:pt>
                <c:pt idx="493">
                  <c:v>6.5556824653242632E-5</c:v>
                </c:pt>
                <c:pt idx="494">
                  <c:v>6.0879125259623086E-5</c:v>
                </c:pt>
                <c:pt idx="495">
                  <c:v>5.649033443458406E-5</c:v>
                </c:pt>
                <c:pt idx="496">
                  <c:v>5.2377047348525942E-5</c:v>
                </c:pt>
                <c:pt idx="497">
                  <c:v>4.8526038882614843E-5</c:v>
                </c:pt>
                <c:pt idx="498">
                  <c:v>4.4924311913851544E-5</c:v>
                </c:pt>
                <c:pt idx="499">
                  <c:v>4.1559139423730983E-5</c:v>
                </c:pt>
                <c:pt idx="500">
                  <c:v>3.8418100747124013E-5</c:v>
                </c:pt>
                <c:pt idx="501">
                  <c:v>3.5489112297017055E-5</c:v>
                </c:pt>
                <c:pt idx="502">
                  <c:v>3.276045311406325E-5</c:v>
                </c:pt>
                <c:pt idx="503">
                  <c:v>3.022078559797415E-5</c:v>
                </c:pt>
                <c:pt idx="504">
                  <c:v>2.7859171781204169E-5</c:v>
                </c:pt>
                <c:pt idx="505">
                  <c:v>2.566508550462196E-5</c:v>
                </c:pt>
                <c:pt idx="506">
                  <c:v>2.362842085047348E-5</c:v>
                </c:pt>
                <c:pt idx="507">
                  <c:v>2.1739497180389235E-5</c:v>
                </c:pt>
                <c:pt idx="508">
                  <c:v>1.9989061115984311E-5</c:v>
                </c:pt>
                <c:pt idx="509">
                  <c:v>1.8368285787161844E-5</c:v>
                </c:pt>
                <c:pt idx="510">
                  <c:v>1.6868767659007513E-5</c:v>
                </c:pt>
                <c:pt idx="511">
                  <c:v>1.5482521232532405E-5</c:v>
                </c:pt>
                <c:pt idx="512">
                  <c:v>1.4201971897853999E-5</c:v>
                </c:pt>
                <c:pt idx="513">
                  <c:v>1.3019947201008741E-5</c:v>
                </c:pt>
                <c:pt idx="514">
                  <c:v>1.1929666767776488E-5</c:v>
                </c:pt>
                <c:pt idx="515">
                  <c:v>1.0924731109910188E-5</c:v>
                </c:pt>
                <c:pt idx="516">
                  <c:v>9.999109521232263E-6</c:v>
                </c:pt>
                <c:pt idx="517">
                  <c:v>9.1471272533806258E-6</c:v>
                </c:pt>
                <c:pt idx="518">
                  <c:v>8.3634521437207058E-6</c:v>
                </c:pt>
                <c:pt idx="519">
                  <c:v>7.6430808512243492E-6</c:v>
                </c:pt>
                <c:pt idx="520">
                  <c:v>6.9813248400656661E-6</c:v>
                </c:pt>
                <c:pt idx="521">
                  <c:v>6.3737962353763502E-6</c:v>
                </c:pt>
                <c:pt idx="522">
                  <c:v>5.8163936611157857E-6</c:v>
                </c:pt>
                <c:pt idx="523">
                  <c:v>5.3052881563805876E-6</c:v>
                </c:pt>
                <c:pt idx="524">
                  <c:v>4.8369092537389005E-6</c:v>
                </c:pt>
                <c:pt idx="525">
                  <c:v>4.4079312913408629E-6</c:v>
                </c:pt>
                <c:pt idx="526">
                  <c:v>4.0152600196279524E-6</c:v>
                </c:pt>
                <c:pt idx="527">
                  <c:v>3.6560195534278998E-6</c:v>
                </c:pt>
                <c:pt idx="528">
                  <c:v>3.3275397110691171E-6</c:v>
                </c:pt>
                <c:pt idx="529">
                  <c:v>3.0273437738393064E-6</c:v>
                </c:pt>
                <c:pt idx="530">
                  <c:v>2.7531366916252269E-6</c:v>
                </c:pt>
                <c:pt idx="531">
                  <c:v>2.5027937538603344E-6</c:v>
                </c:pt>
                <c:pt idx="532">
                  <c:v>2.2743497389360444E-6</c:v>
                </c:pt>
                <c:pt idx="533">
                  <c:v>2.0659885499549272E-6</c:v>
                </c:pt>
                <c:pt idx="534">
                  <c:v>1.8760333400776981E-6</c:v>
                </c:pt>
                <c:pt idx="535">
                  <c:v>1.7029371266905214E-6</c:v>
                </c:pt>
                <c:pt idx="536">
                  <c:v>1.5452738901531296E-6</c:v>
                </c:pt>
                <c:pt idx="537">
                  <c:v>1.4017301499329249E-6</c:v>
                </c:pt>
                <c:pt idx="538">
                  <c:v>1.2710970084418466E-6</c:v>
                </c:pt>
                <c:pt idx="539">
                  <c:v>1.1522626508311123E-6</c:v>
                </c:pt>
                <c:pt idx="540">
                  <c:v>1.0442052873170763E-6</c:v>
                </c:pt>
                <c:pt idx="541">
                  <c:v>9.4598652327686548E-7</c:v>
                </c:pt>
                <c:pt idx="542">
                  <c:v>8.5674514132268964E-7</c:v>
                </c:pt>
                <c:pt idx="543">
                  <c:v>7.7569127880716095E-7</c:v>
                </c:pt>
                <c:pt idx="544">
                  <c:v>7.021009836945399E-7</c:v>
                </c:pt>
                <c:pt idx="545">
                  <c:v>6.3531113142574715E-7</c:v>
                </c:pt>
                <c:pt idx="546">
                  <c:v>5.7471468527867912E-7</c:v>
                </c:pt>
                <c:pt idx="547">
                  <c:v>5.1975628275736572E-7</c:v>
                </c:pt>
                <c:pt idx="548">
                  <c:v>4.6992813070651438E-7</c:v>
                </c:pt>
                <c:pt idx="549">
                  <c:v>4.2476619212541484E-7</c:v>
                </c:pt>
                <c:pt idx="550">
                  <c:v>3.8384664802459699E-7</c:v>
                </c:pt>
                <c:pt idx="551">
                  <c:v>3.4678261811461569E-7</c:v>
                </c:pt>
                <c:pt idx="552">
                  <c:v>3.1322112462407545E-7</c:v>
                </c:pt>
                <c:pt idx="553">
                  <c:v>2.8284028409825607E-7</c:v>
                </c:pt>
                <c:pt idx="554">
                  <c:v>2.5534671262088352E-7</c:v>
                </c:pt>
                <c:pt idx="555">
                  <c:v>2.3047313051730507E-7</c:v>
                </c:pt>
                <c:pt idx="556">
                  <c:v>2.0797615322977427E-7</c:v>
                </c:pt>
                <c:pt idx="557">
                  <c:v>1.8763425569644481E-7</c:v>
                </c:pt>
                <c:pt idx="558">
                  <c:v>1.6924589820816915E-7</c:v>
                </c:pt>
                <c:pt idx="559">
                  <c:v>1.5262780235624046E-7</c:v>
                </c:pt>
                <c:pt idx="560">
                  <c:v>1.3761336631405791E-7</c:v>
                </c:pt>
                <c:pt idx="561">
                  <c:v>1.2405120931354803E-7</c:v>
                </c:pt>
                <c:pt idx="562">
                  <c:v>1.118038357787301E-7</c:v>
                </c:pt>
                <c:pt idx="563">
                  <c:v>1.0074641016233987E-7</c:v>
                </c:pt>
                <c:pt idx="564">
                  <c:v>9.0765634094363801E-8</c:v>
                </c:pt>
                <c:pt idx="565">
                  <c:v>8.1758717992560742E-8</c:v>
                </c:pt>
                <c:pt idx="566">
                  <c:v>7.3632439803097108E-8</c:v>
                </c:pt>
                <c:pt idx="567">
                  <c:v>6.6302284034068901E-8</c:v>
                </c:pt>
                <c:pt idx="568">
                  <c:v>5.9691654715106525E-8</c:v>
                </c:pt>
                <c:pt idx="569">
                  <c:v>5.3731156362591581E-8</c:v>
                </c:pt>
                <c:pt idx="570">
                  <c:v>4.8357937452444725E-8</c:v>
                </c:pt>
                <c:pt idx="571">
                  <c:v>4.3515091300974843E-8</c:v>
                </c:pt>
                <c:pt idx="572">
                  <c:v>3.9151109629804846E-8</c:v>
                </c:pt>
                <c:pt idx="573">
                  <c:v>3.5219384443647796E-8</c:v>
                </c:pt>
                <c:pt idx="574">
                  <c:v>3.1677754180642966E-8</c:v>
                </c:pt>
                <c:pt idx="575">
                  <c:v>2.8488090404758458E-8</c:v>
                </c:pt>
                <c:pt idx="576">
                  <c:v>2.5615921599207773E-8</c:v>
                </c:pt>
                <c:pt idx="577">
                  <c:v>2.3030090890003747E-8</c:v>
                </c:pt>
                <c:pt idx="578">
                  <c:v>2.070244478031619E-8</c:v>
                </c:pt>
                <c:pt idx="579">
                  <c:v>1.8607550210368731E-8</c:v>
                </c:pt>
                <c:pt idx="580">
                  <c:v>1.6722437474952304E-8</c:v>
                </c:pt>
                <c:pt idx="581">
                  <c:v>1.50263667323351E-8</c:v>
                </c:pt>
                <c:pt idx="582">
                  <c:v>1.3500616025102613E-8</c:v>
                </c:pt>
                <c:pt idx="583">
                  <c:v>1.2128288906377285E-8</c:v>
                </c:pt>
                <c:pt idx="584">
                  <c:v>1.0894139924631643E-8</c:v>
                </c:pt>
                <c:pt idx="585">
                  <c:v>9.7844163678287776E-9</c:v>
                </c:pt>
                <c:pt idx="586">
                  <c:v>8.7867148036732126E-9</c:v>
                </c:pt>
                <c:pt idx="587">
                  <c:v>7.8898510781606256E-9</c:v>
                </c:pt>
                <c:pt idx="588">
                  <c:v>7.0837425499633457E-9</c:v>
                </c:pt>
                <c:pt idx="589">
                  <c:v>6.3593014443544007E-9</c:v>
                </c:pt>
                <c:pt idx="590">
                  <c:v>5.7083383078843622E-9</c:v>
                </c:pt>
                <c:pt idx="591">
                  <c:v>5.1234746345553341E-9</c:v>
                </c:pt>
                <c:pt idx="592">
                  <c:v>4.5980638163692927E-9</c:v>
                </c:pt>
                <c:pt idx="593">
                  <c:v>4.1261196464175793E-9</c:v>
                </c:pt>
                <c:pt idx="594">
                  <c:v>3.7022516716430304E-9</c:v>
                </c:pt>
                <c:pt idx="595">
                  <c:v>3.3216067555147944E-9</c:v>
                </c:pt>
                <c:pt idx="596">
                  <c:v>2.9798162685927771E-9</c:v>
                </c:pt>
                <c:pt idx="597">
                  <c:v>2.6729483777430689E-9</c:v>
                </c:pt>
                <c:pt idx="598">
                  <c:v>2.3974649529506182E-9</c:v>
                </c:pt>
                <c:pt idx="599">
                  <c:v>2.150182654702852E-9</c:v>
                </c:pt>
                <c:pt idx="600">
                  <c:v>1.9282378050530483E-9</c:v>
                </c:pt>
                <c:pt idx="601">
                  <c:v>1.7290546821033188E-9</c:v>
                </c:pt>
                <c:pt idx="602">
                  <c:v>1.5503169109915912E-9</c:v>
                </c:pt>
                <c:pt idx="603">
                  <c:v>1.3899416548772374E-9</c:v>
                </c:pt>
                <c:pt idx="604">
                  <c:v>1.2460563370738397E-9</c:v>
                </c:pt>
                <c:pt idx="605">
                  <c:v>1.1169776506663236E-9</c:v>
                </c:pt>
                <c:pt idx="606">
                  <c:v>1.0011926348297391E-9</c:v>
                </c:pt>
                <c:pt idx="607">
                  <c:v>8.9734161789988159E-10</c:v>
                </c:pt>
                <c:pt idx="608">
                  <c:v>8.042028461431625E-10</c:v>
                </c:pt>
                <c:pt idx="609">
                  <c:v>7.2067863436028577E-10</c:v>
                </c:pt>
                <c:pt idx="610">
                  <c:v>6.4578289004900742E-10</c:v>
                </c:pt>
                <c:pt idx="611">
                  <c:v>5.7862987700341424E-10</c:v>
                </c:pt>
                <c:pt idx="612">
                  <c:v>5.1842409706616606E-10</c:v>
                </c:pt>
                <c:pt idx="613">
                  <c:v>4.6445118038975904E-10</c:v>
                </c:pt>
                <c:pt idx="614">
                  <c:v>4.1606968511402316E-10</c:v>
                </c:pt>
                <c:pt idx="615">
                  <c:v>3.7270371693001769E-10</c:v>
                </c:pt>
                <c:pt idx="616">
                  <c:v>3.3383628765715265E-10</c:v>
                </c:pt>
                <c:pt idx="617">
                  <c:v>2.9900333980483887E-10</c:v>
                </c:pt>
                <c:pt idx="618">
                  <c:v>2.677883711860647E-10</c:v>
                </c:pt>
                <c:pt idx="619">
                  <c:v>2.3981760007293868E-10</c:v>
                </c:pt>
                <c:pt idx="620">
                  <c:v>2.1475561719552767E-10</c:v>
                </c:pt>
                <c:pt idx="621">
                  <c:v>1.9230147613696816E-10</c:v>
                </c:pt>
                <c:pt idx="622">
                  <c:v>1.7218517843041337E-10</c:v>
                </c:pt>
                <c:pt idx="623">
                  <c:v>1.5416451395448777E-10</c:v>
                </c:pt>
                <c:pt idx="624">
                  <c:v>1.3802222110291749E-10</c:v>
                </c:pt>
                <c:pt idx="625">
                  <c:v>1.2356343470919541E-10</c:v>
                </c:pt>
                <c:pt idx="626">
                  <c:v>1.1061339286929311E-10</c:v>
                </c:pt>
                <c:pt idx="627">
                  <c:v>9.9015376663464732E-11</c:v>
                </c:pt>
                <c:pt idx="628">
                  <c:v>8.8628859356123228E-11</c:v>
                </c:pt>
                <c:pt idx="629">
                  <c:v>7.9327843979393453E-11</c:v>
                </c:pt>
                <c:pt idx="630">
                  <c:v>7.0999370305375875E-11</c:v>
                </c:pt>
                <c:pt idx="631">
                  <c:v>6.3542174104849184E-11</c:v>
                </c:pt>
                <c:pt idx="632">
                  <c:v>5.6865483298097039E-11</c:v>
                </c:pt>
                <c:pt idx="633">
                  <c:v>5.0887937142723717E-11</c:v>
                </c:pt>
                <c:pt idx="634">
                  <c:v>4.553661598990714E-11</c:v>
                </c:pt>
                <c:pt idx="635">
                  <c:v>4.0746170392259833E-11</c:v>
                </c:pt>
                <c:pt idx="636">
                  <c:v>3.6458039471665586E-11</c:v>
                </c:pt>
                <c:pt idx="637">
                  <c:v>3.2619749471410137E-11</c:v>
                </c:pt>
                <c:pt idx="638">
                  <c:v>2.9184284329978425E-11</c:v>
                </c:pt>
                <c:pt idx="639">
                  <c:v>2.61095209378599E-11</c:v>
                </c:pt>
                <c:pt idx="640">
                  <c:v>2.3357722478981426E-11</c:v>
                </c:pt>
                <c:pt idx="641">
                  <c:v>2.0895083925762087E-11</c:v>
                </c:pt>
                <c:pt idx="642">
                  <c:v>1.8691324357365658E-11</c:v>
                </c:pt>
                <c:pt idx="643">
                  <c:v>1.6719321310256665E-11</c:v>
                </c:pt>
                <c:pt idx="644">
                  <c:v>1.4954782857085937E-11</c:v>
                </c:pt>
                <c:pt idx="645">
                  <c:v>1.337595354634639E-11</c:v>
                </c:pt>
                <c:pt idx="646">
                  <c:v>1.1963350729172685E-11</c:v>
                </c:pt>
                <c:pt idx="647">
                  <c:v>1.0699528152736328E-11</c:v>
                </c:pt>
                <c:pt idx="648">
                  <c:v>9.5688640181743172E-12</c:v>
                </c:pt>
                <c:pt idx="649">
                  <c:v>8.5573709864873828E-12</c:v>
                </c:pt>
                <c:pt idx="650">
                  <c:v>7.652525873005203E-12</c:v>
                </c:pt>
                <c:pt idx="651">
                  <c:v>6.8431170019746614E-12</c:v>
                </c:pt>
                <c:pt idx="652">
                  <c:v>6.1191074002849894E-12</c:v>
                </c:pt>
                <c:pt idx="653">
                  <c:v>5.471512195916654E-12</c:v>
                </c:pt>
                <c:pt idx="654">
                  <c:v>4.8922887542320871E-12</c:v>
                </c:pt>
                <c:pt idx="655">
                  <c:v>4.3742382357242431E-12</c:v>
                </c:pt>
                <c:pt idx="656">
                  <c:v>3.910917393976658E-12</c:v>
                </c:pt>
                <c:pt idx="657">
                  <c:v>3.4965595541337191E-12</c:v>
                </c:pt>
                <c:pt idx="658">
                  <c:v>3.1260038210195301E-12</c:v>
                </c:pt>
                <c:pt idx="659">
                  <c:v>2.7946316640504636E-12</c:v>
                </c:pt>
                <c:pt idx="660">
                  <c:v>2.4983101139687219E-12</c:v>
                </c:pt>
                <c:pt idx="661">
                  <c:v>2.2333408852114287E-12</c:v>
                </c:pt>
                <c:pt idx="662">
                  <c:v>1.9964148086595873E-12</c:v>
                </c:pt>
                <c:pt idx="663">
                  <c:v>1.7845710229548403E-12</c:v>
                </c:pt>
                <c:pt idx="664">
                  <c:v>1.5951604296812115E-12</c:v>
                </c:pt>
                <c:pt idx="665">
                  <c:v>1.4258129688099886E-12</c:v>
                </c:pt>
                <c:pt idx="666">
                  <c:v>1.2744083167683639E-12</c:v>
                </c:pt>
                <c:pt idx="667">
                  <c:v>1.1390496506547679E-12</c:v>
                </c:pt>
                <c:pt idx="668">
                  <c:v>1.0180401590631523E-12</c:v>
                </c:pt>
                <c:pt idx="669">
                  <c:v>9.0986201314980679E-13</c:v>
                </c:pt>
                <c:pt idx="670">
                  <c:v>8.1315754124703198E-13</c:v>
                </c:pt>
                <c:pt idx="671">
                  <c:v>7.2671237704173671E-13</c:v>
                </c:pt>
                <c:pt idx="672">
                  <c:v>6.4944037518600954E-13</c:v>
                </c:pt>
                <c:pt idx="673">
                  <c:v>5.8037010966817519E-13</c:v>
                </c:pt>
                <c:pt idx="674">
                  <c:v>5.1863278947112483E-13</c:v>
                </c:pt>
                <c:pt idx="675">
                  <c:v>4.6345144328974834E-13</c:v>
                </c:pt>
                <c:pt idx="676">
                  <c:v>4.141312404851795E-13</c:v>
                </c:pt>
                <c:pt idx="677">
                  <c:v>3.7005082933601039E-13</c:v>
                </c:pt>
                <c:pt idx="678">
                  <c:v>3.3065458601534851E-13</c:v>
                </c:pt>
                <c:pt idx="679">
                  <c:v>2.9544567886334321E-13</c:v>
                </c:pt>
                <c:pt idx="680">
                  <c:v>2.6397986247755402E-13</c:v>
                </c:pt>
                <c:pt idx="681">
                  <c:v>2.3585992506919295E-13</c:v>
                </c:pt>
                <c:pt idx="682">
                  <c:v>2.1073072054300005E-13</c:v>
                </c:pt>
                <c:pt idx="683">
                  <c:v>1.8827472391015949E-13</c:v>
                </c:pt>
                <c:pt idx="684">
                  <c:v>1.6820805507900981E-13</c:v>
                </c:pt>
                <c:pt idx="685">
                  <c:v>1.5027692180956141E-13</c:v>
                </c:pt>
                <c:pt idx="686">
                  <c:v>1.3425443777778407E-13</c:v>
                </c:pt>
                <c:pt idx="687">
                  <c:v>1.1993777630371649E-13</c:v>
                </c:pt>
                <c:pt idx="688">
                  <c:v>1.071456244362708E-13</c:v>
                </c:pt>
                <c:pt idx="689">
                  <c:v>9.5715905789559893E-14</c:v>
                </c:pt>
                <c:pt idx="690">
                  <c:v>8.550374383612178E-14</c:v>
                </c:pt>
                <c:pt idx="691">
                  <c:v>7.6379640335211346E-14</c:v>
                </c:pt>
                <c:pt idx="692">
                  <c:v>6.8227846236125191E-14</c:v>
                </c:pt>
                <c:pt idx="693">
                  <c:v>6.0944904764746428E-14</c:v>
                </c:pt>
                <c:pt idx="694">
                  <c:v>5.4438348548714443E-14</c:v>
                </c:pt>
                <c:pt idx="695">
                  <c:v>4.8625534532233099E-14</c:v>
                </c:pt>
                <c:pt idx="696">
                  <c:v>4.343260214413796E-14</c:v>
                </c:pt>
                <c:pt idx="697">
                  <c:v>3.87935417157286E-14</c:v>
                </c:pt>
                <c:pt idx="698">
                  <c:v>3.4649361505437657E-14</c:v>
                </c:pt>
                <c:pt idx="699">
                  <c:v>3.0947342919993552E-14</c:v>
                </c:pt>
                <c:pt idx="700">
                  <c:v>2.7640374615205968E-14</c:v>
                </c:pt>
                <c:pt idx="701">
                  <c:v>2.4686357140886749E-14</c:v>
                </c:pt>
                <c:pt idx="702">
                  <c:v>2.2047670674423537E-14</c:v>
                </c:pt>
                <c:pt idx="703">
                  <c:v>1.9690699170720708E-14</c:v>
                </c:pt>
                <c:pt idx="704">
                  <c:v>1.7585404964219306E-14</c:v>
                </c:pt>
                <c:pt idx="705">
                  <c:v>1.5704948483362751E-14</c:v>
                </c:pt>
                <c:pt idx="706">
                  <c:v>1.4025348304424132E-14</c:v>
                </c:pt>
                <c:pt idx="707">
                  <c:v>1.2525177274928248E-14</c:v>
                </c:pt>
                <c:pt idx="708">
                  <c:v>1.1185290886452663E-14</c:v>
                </c:pt>
                <c:pt idx="709">
                  <c:v>9.9885844821270777E-15</c:v>
                </c:pt>
                <c:pt idx="710">
                  <c:v>8.9197762432507797E-15</c:v>
                </c:pt>
                <c:pt idx="711">
                  <c:v>7.9652132240772088E-15</c:v>
                </c:pt>
                <c:pt idx="712">
                  <c:v>7.1126979906025739E-15</c:v>
                </c:pt>
                <c:pt idx="713">
                  <c:v>6.351333679788474E-15</c:v>
                </c:pt>
                <c:pt idx="714">
                  <c:v>5.6713855251185698E-15</c:v>
                </c:pt>
                <c:pt idx="715">
                  <c:v>5.0641571018787933E-15</c:v>
                </c:pt>
                <c:pt idx="716">
                  <c:v>4.5218797304726224E-15</c:v>
                </c:pt>
                <c:pt idx="717">
                  <c:v>4.0376136409325668E-15</c:v>
                </c:pt>
                <c:pt idx="718">
                  <c:v>3.6051596504409974E-15</c:v>
                </c:pt>
                <c:pt idx="719">
                  <c:v>3.2189802374913029E-15</c:v>
                </c:pt>
                <c:pt idx="720">
                  <c:v>2.8741290144181857E-15</c:v>
                </c:pt>
                <c:pt idx="721">
                  <c:v>2.5661877066157122E-15</c:v>
                </c:pt>
                <c:pt idx="722">
                  <c:v>2.2912098404549949E-15</c:v>
                </c:pt>
                <c:pt idx="723">
                  <c:v>2.0456704268168917E-15</c:v>
                </c:pt>
                <c:pt idx="724">
                  <c:v>1.8264210034653094E-15</c:v>
                </c:pt>
                <c:pt idx="725">
                  <c:v>1.630649465714539E-15</c:v>
                </c:pt>
                <c:pt idx="726">
                  <c:v>1.4558441768202709E-15</c:v>
                </c:pt>
                <c:pt idx="727">
                  <c:v>1.2997619024671571E-15</c:v>
                </c:pt>
                <c:pt idx="728">
                  <c:v>1.1603991626141873E-15</c:v>
                </c:pt>
                <c:pt idx="729">
                  <c:v>1.0359666371208643E-15</c:v>
                </c:pt>
                <c:pt idx="730">
                  <c:v>9.2486629999397592E-16</c:v>
                </c:pt>
                <c:pt idx="731">
                  <c:v>8.2567099185193734E-16</c:v>
                </c:pt>
                <c:pt idx="732">
                  <c:v>7.3710617098408471E-16</c:v>
                </c:pt>
                <c:pt idx="733">
                  <c:v>6.5803361099082281E-16</c:v>
                </c:pt>
                <c:pt idx="734">
                  <c:v>5.8743683762446787E-16</c:v>
                </c:pt>
                <c:pt idx="735">
                  <c:v>5.2440811955460974E-16</c:v>
                </c:pt>
                <c:pt idx="736">
                  <c:v>4.6813684756668116E-16</c:v>
                </c:pt>
                <c:pt idx="737">
                  <c:v>4.178991540354969E-16</c:v>
                </c:pt>
                <c:pt idx="738">
                  <c:v>3.7304864062399782E-16</c:v>
                </c:pt>
                <c:pt idx="739">
                  <c:v>3.3300809601519098E-16</c:v>
                </c:pt>
                <c:pt idx="740">
                  <c:v>2.9726209803854715E-16</c:v>
                </c:pt>
                <c:pt idx="741">
                  <c:v>2.6535040597493607E-16</c:v>
                </c:pt>
                <c:pt idx="742">
                  <c:v>2.3686205865144642E-16</c:v>
                </c:pt>
                <c:pt idx="743">
                  <c:v>2.1143010311114989E-16</c:v>
                </c:pt>
                <c:pt idx="744">
                  <c:v>1.8872688650572453E-16</c:v>
                </c:pt>
                <c:pt idx="745">
                  <c:v>1.6845985114664757E-16</c:v>
                </c:pt>
                <c:pt idx="746">
                  <c:v>1.503677789872916E-16</c:v>
                </c:pt>
                <c:pt idx="747">
                  <c:v>1.3421743756500217E-16</c:v>
                </c:pt>
                <c:pt idx="748">
                  <c:v>1.1980058452053676E-16</c:v>
                </c:pt>
                <c:pt idx="749">
                  <c:v>1.0693129243600932E-16</c:v>
                </c:pt>
                <c:pt idx="750">
                  <c:v>9.5443559739844697E-17</c:v>
                </c:pt>
                <c:pt idx="751">
                  <c:v>8.5189177149020016E-17</c:v>
                </c:pt>
                <c:pt idx="752">
                  <c:v>7.6035822337507139E-17</c:v>
                </c:pt>
                <c:pt idx="753">
                  <c:v>6.7865358442283817E-17</c:v>
                </c:pt>
                <c:pt idx="754">
                  <c:v>6.0572314625263601E-17</c:v>
                </c:pt>
                <c:pt idx="755">
                  <c:v>5.4062529234445803E-17</c:v>
                </c:pt>
                <c:pt idx="756">
                  <c:v>4.8251938178197326E-17</c:v>
                </c:pt>
                <c:pt idx="757">
                  <c:v>4.3065492987376504E-17</c:v>
                </c:pt>
                <c:pt idx="758">
                  <c:v>3.8436194704092207E-17</c:v>
                </c:pt>
                <c:pt idx="759">
                  <c:v>3.4304231206120826E-17</c:v>
                </c:pt>
                <c:pt idx="760">
                  <c:v>3.061620689717285E-17</c:v>
                </c:pt>
                <c:pt idx="761">
                  <c:v>2.73244548948255E-17</c:v>
                </c:pt>
                <c:pt idx="762">
                  <c:v>2.438642288516069E-17</c:v>
                </c:pt>
                <c:pt idx="763">
                  <c:v>2.176412475349926E-17</c:v>
                </c:pt>
                <c:pt idx="764">
                  <c:v>1.9423650969915289E-17</c:v>
                </c:pt>
                <c:pt idx="765">
                  <c:v>1.7334731420760503E-17</c:v>
                </c:pt>
                <c:pt idx="766">
                  <c:v>1.5470345090721609E-17</c:v>
                </c:pt>
                <c:pt idx="767">
                  <c:v>1.3806371566500853E-17</c:v>
                </c:pt>
                <c:pt idx="768">
                  <c:v>1.232127989323773E-17</c:v>
                </c:pt>
                <c:pt idx="769">
                  <c:v>1.0995850777356853E-17</c:v>
                </c:pt>
                <c:pt idx="770">
                  <c:v>9.8129285728948895E-18</c:v>
                </c:pt>
                <c:pt idx="771">
                  <c:v>8.7571998501054193E-18</c:v>
                </c:pt>
                <c:pt idx="772">
                  <c:v>7.8149957113784214E-18</c:v>
                </c:pt>
                <c:pt idx="773">
                  <c:v>6.97411530062686E-18</c:v>
                </c:pt>
                <c:pt idx="774">
                  <c:v>6.2236682408743091E-18</c:v>
                </c:pt>
                <c:pt idx="775">
                  <c:v>5.5539339705601506E-18</c:v>
                </c:pt>
                <c:pt idx="776">
                  <c:v>4.9562361664477074E-18</c:v>
                </c:pt>
                <c:pt idx="777">
                  <c:v>4.4228306373870737E-18</c:v>
                </c:pt>
                <c:pt idx="778">
                  <c:v>3.9468052465360939E-18</c:v>
                </c:pt>
                <c:pt idx="779">
                  <c:v>3.5219905687605865E-18</c:v>
                </c:pt>
                <c:pt idx="780">
                  <c:v>3.1428801356101352E-18</c:v>
                </c:pt>
                <c:pt idx="781">
                  <c:v>2.8045592390343557E-18</c:v>
                </c:pt>
                <c:pt idx="782">
                  <c:v>2.5026413751570362E-18</c:v>
                </c:pt>
                <c:pt idx="783">
                  <c:v>2.2332115106788605E-18</c:v>
                </c:pt>
                <c:pt idx="784">
                  <c:v>1.9927754373278545E-18</c:v>
                </c:pt>
                <c:pt idx="785">
                  <c:v>1.7782145646365622E-18</c:v>
                </c:pt>
                <c:pt idx="786">
                  <c:v>1.5867455653801246E-18</c:v>
                </c:pt>
                <c:pt idx="787">
                  <c:v>1.415884353395561E-18</c:v>
                </c:pt>
                <c:pt idx="788">
                  <c:v>1.2634139301371669E-18</c:v>
                </c:pt>
                <c:pt idx="789">
                  <c:v>1.1273556833200967E-18</c:v>
                </c:pt>
                <c:pt idx="790">
                  <c:v>1.0059437682375493E-18</c:v>
                </c:pt>
                <c:pt idx="791">
                  <c:v>8.9760224063162887E-19</c:v>
                </c:pt>
                <c:pt idx="792">
                  <c:v>8.0092464555629051E-19</c:v>
                </c:pt>
                <c:pt idx="793">
                  <c:v>7.1465579880920058E-19</c:v>
                </c:pt>
                <c:pt idx="794">
                  <c:v>6.3767552568184951E-19</c:v>
                </c:pt>
                <c:pt idx="795">
                  <c:v>5.6898414667580637E-19</c:v>
                </c:pt>
                <c:pt idx="796">
                  <c:v>5.0768952272563373E-19</c:v>
                </c:pt>
                <c:pt idx="797">
                  <c:v>4.5299549232198012E-19</c:v>
                </c:pt>
                <c:pt idx="798">
                  <c:v>4.0419155136099581E-19</c:v>
                </c:pt>
                <c:pt idx="799">
                  <c:v>3.6064364203372515E-19</c:v>
                </c:pt>
                <c:pt idx="800">
                  <c:v>3.2178593159948493E-19</c:v>
                </c:pt>
              </c:numCache>
            </c:numRef>
          </c:yVal>
          <c:smooth val="0"/>
          <c:extLst>
            <c:ext xmlns:c16="http://schemas.microsoft.com/office/drawing/2014/chart" uri="{C3380CC4-5D6E-409C-BE32-E72D297353CC}">
              <c16:uniqueId val="{0000000E-1D62-4DE3-8E9D-34C68BC76380}"/>
            </c:ext>
          </c:extLst>
        </c:ser>
        <c:ser>
          <c:idx val="13"/>
          <c:order val="13"/>
          <c:tx>
            <c:strRef>
              <c:f>Calc!$Q$6</c:f>
              <c:strCache>
                <c:ptCount val="1"/>
                <c:pt idx="0">
                  <c:v>14</c:v>
                </c:pt>
              </c:strCache>
            </c:strRef>
          </c:tx>
          <c:spPr>
            <a:ln w="28575">
              <a:noFill/>
            </a:ln>
          </c:spPr>
          <c:marker>
            <c:symbol val="star"/>
            <c:size val="5"/>
            <c:spPr>
              <a:noFill/>
              <a:ln>
                <a:solidFill>
                  <a:srgbClr val="FF99CC"/>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Q$7:$Q$807</c:f>
              <c:numCache>
                <c:formatCode>000,000,000</c:formatCode>
                <c:ptCount val="801"/>
                <c:pt idx="0">
                  <c:v>2.4828889386170277E-20</c:v>
                </c:pt>
                <c:pt idx="1">
                  <c:v>2.792805161476463E-20</c:v>
                </c:pt>
                <c:pt idx="2">
                  <c:v>3.141387368560631E-20</c:v>
                </c:pt>
                <c:pt idx="3">
                  <c:v>3.5334571271423646E-20</c:v>
                </c:pt>
                <c:pt idx="4">
                  <c:v>3.9744368951017669E-20</c:v>
                </c:pt>
                <c:pt idx="5">
                  <c:v>4.4704248586793845E-20</c:v>
                </c:pt>
                <c:pt idx="6">
                  <c:v>5.0282790841014551E-20</c:v>
                </c:pt>
                <c:pt idx="7">
                  <c:v>5.6557121412821783E-20</c:v>
                </c:pt>
                <c:pt idx="8">
                  <c:v>6.3613975017008285E-20</c:v>
                </c:pt>
                <c:pt idx="9">
                  <c:v>7.1550891743057224E-20</c:v>
                </c:pt>
                <c:pt idx="10">
                  <c:v>8.0477562251189917E-20</c:v>
                </c:pt>
                <c:pt idx="11">
                  <c:v>9.0517340306057336E-20</c:v>
                </c:pt>
                <c:pt idx="12">
                  <c:v>1.0180894344607743E-19</c:v>
                </c:pt>
                <c:pt idx="13">
                  <c:v>1.1450836516886707E-19</c:v>
                </c:pt>
                <c:pt idx="14">
                  <c:v>1.2879102491587578E-19</c:v>
                </c:pt>
                <c:pt idx="15">
                  <c:v>1.4485418540199331E-19</c:v>
                </c:pt>
                <c:pt idx="16">
                  <c:v>1.6291967050310359E-19</c:v>
                </c:pt>
                <c:pt idx="17">
                  <c:v>1.8323692103640145E-19</c:v>
                </c:pt>
                <c:pt idx="18">
                  <c:v>2.0608643040106954E-19</c:v>
                </c:pt>
                <c:pt idx="19">
                  <c:v>2.3178360725384367E-19</c:v>
                </c:pt>
                <c:pt idx="20">
                  <c:v>2.6068311824628397E-19</c:v>
                </c:pt>
                <c:pt idx="21">
                  <c:v>2.9318377042780856E-19</c:v>
                </c:pt>
                <c:pt idx="22">
                  <c:v>3.2973400031069865E-19</c:v>
                </c:pt>
                <c:pt idx="23">
                  <c:v>3.7083804490108081E-19</c:v>
                </c:pt>
                <c:pt idx="24">
                  <c:v>4.1706287933650461E-19</c:v>
                </c:pt>
                <c:pt idx="25">
                  <c:v>4.6904601626339162E-19</c:v>
                </c:pt>
                <c:pt idx="26">
                  <c:v>5.275042738795642E-19</c:v>
                </c:pt>
                <c:pt idx="27">
                  <c:v>5.9324363281827412E-19</c:v>
                </c:pt>
                <c:pt idx="28">
                  <c:v>6.6717031694184749E-19</c:v>
                </c:pt>
                <c:pt idx="29">
                  <c:v>7.5030324984695147E-19</c:v>
                </c:pt>
                <c:pt idx="30">
                  <c:v>8.4378805768825561E-19</c:v>
                </c:pt>
                <c:pt idx="31">
                  <c:v>9.4891281005772594E-19</c:v>
                </c:pt>
                <c:pt idx="32">
                  <c:v>1.0671257144009261E-18</c:v>
                </c:pt>
                <c:pt idx="33">
                  <c:v>1.2000550061316399E-18</c:v>
                </c:pt>
                <c:pt idx="34">
                  <c:v>1.3495313065848525E-18</c:v>
                </c:pt>
                <c:pt idx="35">
                  <c:v>1.5176127546324334E-18</c:v>
                </c:pt>
                <c:pt idx="36">
                  <c:v>1.7066132556327E-18</c:v>
                </c:pt>
                <c:pt idx="37">
                  <c:v>1.9191342339091657E-18</c:v>
                </c:pt>
                <c:pt idx="38">
                  <c:v>2.1581003227301366E-18</c:v>
                </c:pt>
                <c:pt idx="39">
                  <c:v>2.4267994794395125E-18</c:v>
                </c:pt>
                <c:pt idx="40">
                  <c:v>2.7289280736951446E-18</c:v>
                </c:pt>
                <c:pt idx="41">
                  <c:v>3.06864156452451E-18</c:v>
                </c:pt>
                <c:pt idx="42">
                  <c:v>3.4506114580216645E-18</c:v>
                </c:pt>
                <c:pt idx="43">
                  <c:v>3.8800893230208243E-18</c:v>
                </c:pt>
                <c:pt idx="44">
                  <c:v>4.3629787381399398E-18</c:v>
                </c:pt>
                <c:pt idx="45">
                  <c:v>4.9059161514982433E-18</c:v>
                </c:pt>
                <c:pt idx="46">
                  <c:v>5.5163617556318313E-18</c:v>
                </c:pt>
                <c:pt idx="47">
                  <c:v>6.2027016162944503E-18</c:v>
                </c:pt>
                <c:pt idx="48">
                  <c:v>6.9743624467838388E-18</c:v>
                </c:pt>
                <c:pt idx="49">
                  <c:v>7.8419405912375377E-18</c:v>
                </c:pt>
                <c:pt idx="50">
                  <c:v>8.8173469733110593E-18</c:v>
                </c:pt>
                <c:pt idx="51">
                  <c:v>9.9139699834005275E-18</c:v>
                </c:pt>
                <c:pt idx="52">
                  <c:v>1.1146858521004649E-17</c:v>
                </c:pt>
                <c:pt idx="53">
                  <c:v>1.2532927682241349E-17</c:v>
                </c:pt>
                <c:pt idx="54">
                  <c:v>1.4091189889598676E-17</c:v>
                </c:pt>
                <c:pt idx="55">
                  <c:v>1.584301460586507E-17</c:v>
                </c:pt>
                <c:pt idx="56">
                  <c:v>1.7812420161473336E-17</c:v>
                </c:pt>
                <c:pt idx="57">
                  <c:v>2.0026401659424433E-17</c:v>
                </c:pt>
                <c:pt idx="58">
                  <c:v>2.2515299410372454E-17</c:v>
                </c:pt>
                <c:pt idx="59">
                  <c:v>2.531321289891027E-17</c:v>
                </c:pt>
                <c:pt idx="60">
                  <c:v>2.8458465897960082E-17</c:v>
                </c:pt>
                <c:pt idx="61">
                  <c:v>3.1994129039724858E-17</c:v>
                </c:pt>
                <c:pt idx="62">
                  <c:v>3.5968606928123761E-17</c:v>
                </c:pt>
                <c:pt idx="63">
                  <c:v>4.0436297749490603E-17</c:v>
                </c:pt>
                <c:pt idx="64">
                  <c:v>4.5458334317168417E-17</c:v>
                </c:pt>
                <c:pt idx="65">
                  <c:v>5.1103416584651407E-17</c:v>
                </c:pt>
                <c:pt idx="66">
                  <c:v>5.7448746895742277E-17</c:v>
                </c:pt>
                <c:pt idx="67">
                  <c:v>6.4581080625400183E-17</c:v>
                </c:pt>
                <c:pt idx="68">
                  <c:v>7.2597906419929372E-17</c:v>
                </c:pt>
                <c:pt idx="69">
                  <c:v>8.1608771990818865E-17</c:v>
                </c:pt>
                <c:pt idx="70">
                  <c:v>9.1736773376042943E-17</c:v>
                </c:pt>
                <c:pt idx="71">
                  <c:v>1.0312022778219234E-16</c:v>
                </c:pt>
                <c:pt idx="72">
                  <c:v>1.1591455258971514E-16</c:v>
                </c:pt>
                <c:pt idx="73">
                  <c:v>1.3029437587465643E-16</c:v>
                </c:pt>
                <c:pt idx="74">
                  <c:v>1.4645590691052868E-16</c:v>
                </c:pt>
                <c:pt idx="75">
                  <c:v>1.6461959860463044E-16</c:v>
                </c:pt>
                <c:pt idx="76">
                  <c:v>1.850331377406825E-16</c:v>
                </c:pt>
                <c:pt idx="77">
                  <c:v>2.0797480329607652E-16</c:v>
                </c:pt>
                <c:pt idx="78">
                  <c:v>2.3375723803566237E-16</c:v>
                </c:pt>
                <c:pt idx="79">
                  <c:v>2.627316841203009E-16</c:v>
                </c:pt>
                <c:pt idx="80">
                  <c:v>2.9529273968061311E-16</c:v>
                </c:pt>
                <c:pt idx="81">
                  <c:v>3.3188370027695127E-16</c:v>
                </c:pt>
                <c:pt idx="82">
                  <c:v>3.7300255698734378E-16</c:v>
                </c:pt>
                <c:pt idx="83">
                  <c:v>4.1920873164012539E-16</c:v>
                </c:pt>
                <c:pt idx="84">
                  <c:v>4.7113063955219592E-16</c:v>
                </c:pt>
                <c:pt idx="85">
                  <c:v>5.294741811779015E-16</c:v>
                </c:pt>
                <c:pt idx="86">
                  <c:v>5.9503227646278055E-16</c:v>
                </c:pt>
                <c:pt idx="87">
                  <c:v>6.6869556959392045E-16</c:v>
                </c:pt>
                <c:pt idx="88">
                  <c:v>7.5146444742754221E-16</c:v>
                </c:pt>
                <c:pt idx="89">
                  <c:v>8.4446253235967235E-16</c:v>
                </c:pt>
                <c:pt idx="90">
                  <c:v>9.489518300166448E-16</c:v>
                </c:pt>
                <c:pt idx="91">
                  <c:v>1.066349734136748E-15</c:v>
                </c:pt>
                <c:pt idx="92">
                  <c:v>1.1982481156806428E-15</c:v>
                </c:pt>
                <c:pt idx="93">
                  <c:v>1.3464347508685643E-15</c:v>
                </c:pt>
                <c:pt idx="94">
                  <c:v>1.5129173738608999E-15</c:v>
                </c:pt>
                <c:pt idx="95">
                  <c:v>1.6999506745781496E-15</c:v>
                </c:pt>
                <c:pt idx="96">
                  <c:v>1.910066601152987E-15</c:v>
                </c:pt>
                <c:pt idx="97">
                  <c:v>2.1461083702291376E-15</c:v>
                </c:pt>
                <c:pt idx="98">
                  <c:v>2.4112686373379854E-15</c:v>
                </c:pt>
                <c:pt idx="99">
                  <c:v>2.7091323345342418E-15</c:v>
                </c:pt>
                <c:pt idx="100">
                  <c:v>3.0437247440685738E-15</c:v>
                </c:pt>
                <c:pt idx="101">
                  <c:v>3.4195654459206875E-15</c:v>
                </c:pt>
                <c:pt idx="102">
                  <c:v>3.8417288544047725E-15</c:v>
                </c:pt>
                <c:pt idx="103">
                  <c:v>4.3159121457919579E-15</c:v>
                </c:pt>
                <c:pt idx="104">
                  <c:v>4.8485114761009809E-15</c:v>
                </c:pt>
                <c:pt idx="105">
                  <c:v>5.44670749713252E-15</c:v>
                </c:pt>
                <c:pt idx="106">
                  <c:v>6.1185613008865498E-15</c:v>
                </c:pt>
                <c:pt idx="107">
                  <c:v>6.873122059265167E-15</c:v>
                </c:pt>
                <c:pt idx="108">
                  <c:v>7.7205477791970422E-15</c:v>
                </c:pt>
                <c:pt idx="109">
                  <c:v>8.6722407649883648E-15</c:v>
                </c:pt>
                <c:pt idx="110">
                  <c:v>9.7409995720196476E-15</c:v>
                </c:pt>
                <c:pt idx="111">
                  <c:v>1.0941189451325621E-14</c:v>
                </c:pt>
                <c:pt idx="112">
                  <c:v>1.2288933525889006E-14</c:v>
                </c:pt>
                <c:pt idx="113">
                  <c:v>1.3802327209718923E-14</c:v>
                </c:pt>
                <c:pt idx="114">
                  <c:v>1.5501678683435941E-14</c:v>
                </c:pt>
                <c:pt idx="115">
                  <c:v>1.7409778579002022E-14</c:v>
                </c:pt>
                <c:pt idx="116">
                  <c:v>1.9552202405724609E-14</c:v>
                </c:pt>
                <c:pt idx="117">
                  <c:v>2.1957649674570932E-14</c:v>
                </c:pt>
                <c:pt idx="118">
                  <c:v>2.4658324153524684E-14</c:v>
                </c:pt>
                <c:pt idx="119">
                  <c:v>2.7690360219248337E-14</c:v>
                </c:pt>
                <c:pt idx="120">
                  <c:v>3.1094300866407496E-14</c:v>
                </c:pt>
                <c:pt idx="121">
                  <c:v>3.4915633603205591E-14</c:v>
                </c:pt>
                <c:pt idx="122">
                  <c:v>3.9205391208377975E-14</c:v>
                </c:pt>
                <c:pt idx="123">
                  <c:v>4.4020825160497539E-14</c:v>
                </c:pt>
                <c:pt idx="124">
                  <c:v>4.9426160485474146E-14</c:v>
                </c:pt>
                <c:pt idx="125">
                  <c:v>5.5493441814269968E-14</c:v>
                </c:pt>
                <c:pt idx="126">
                  <c:v>6.2303481613259264E-14</c:v>
                </c:pt>
                <c:pt idx="127">
                  <c:v>6.9946922858906282E-14</c:v>
                </c:pt>
                <c:pt idx="128">
                  <c:v>7.8525429892882859E-14</c:v>
                </c:pt>
                <c:pt idx="129">
                  <c:v>8.8153022831603226E-14</c:v>
                </c:pt>
                <c:pt idx="130">
                  <c:v>9.8957572735807937E-14</c:v>
                </c:pt>
                <c:pt idx="131">
                  <c:v>1.1108247679391253E-13</c:v>
                </c:pt>
                <c:pt idx="132">
                  <c:v>1.246885350627781E-13</c:v>
                </c:pt>
                <c:pt idx="133">
                  <c:v>1.3995605286955776E-13</c:v>
                </c:pt>
                <c:pt idx="134">
                  <c:v>1.5708719583990906E-13</c:v>
                </c:pt>
                <c:pt idx="135">
                  <c:v>1.7630862771626413E-13</c:v>
                </c:pt>
                <c:pt idx="136">
                  <c:v>1.9787446470428845E-13</c:v>
                </c:pt>
                <c:pt idx="137">
                  <c:v>2.2206958407981791E-13</c:v>
                </c:pt>
                <c:pt idx="138">
                  <c:v>2.4921332925121853E-13</c:v>
                </c:pt>
                <c:pt idx="139">
                  <c:v>2.7966365845761619E-13</c:v>
                </c:pt>
                <c:pt idx="140">
                  <c:v>3.1382178985224124E-13</c:v>
                </c:pt>
                <c:pt idx="141">
                  <c:v>3.5213740193988325E-13</c:v>
                </c:pt>
                <c:pt idx="142">
                  <c:v>3.9511445528306057E-13</c:v>
                </c:pt>
                <c:pt idx="143">
                  <c:v>4.4331770914685599E-13</c:v>
                </c:pt>
                <c:pt idx="144">
                  <c:v>4.9738001541066597E-13</c:v>
                </c:pt>
                <c:pt idx="145">
                  <c:v>5.5801048173981718E-13</c:v>
                </c:pt>
                <c:pt idx="146">
                  <c:v>6.2600360679720009E-13</c:v>
                </c:pt>
                <c:pt idx="147">
                  <c:v>7.0224950231247052E-13</c:v>
                </c:pt>
                <c:pt idx="148">
                  <c:v>7.8774533025799545E-13</c:v>
                </c:pt>
                <c:pt idx="149">
                  <c:v>8.8360809836448371E-13</c:v>
                </c:pt>
                <c:pt idx="150">
                  <c:v>9.9108897392308272E-13</c:v>
                </c:pt>
                <c:pt idx="151">
                  <c:v>1.1115892944607882E-12</c:v>
                </c:pt>
                <c:pt idx="152">
                  <c:v>1.246678474660921E-12</c:v>
                </c:pt>
                <c:pt idx="153">
                  <c:v>1.3981140320734802E-12</c:v>
                </c:pt>
                <c:pt idx="154">
                  <c:v>1.5678639799912795E-12</c:v>
                </c:pt>
                <c:pt idx="155">
                  <c:v>1.7581318646562361E-12</c:v>
                </c:pt>
                <c:pt idx="156">
                  <c:v>1.9713847560403616E-12</c:v>
                </c:pt>
                <c:pt idx="157">
                  <c:v>2.2103845371858728E-12</c:v>
                </c:pt>
                <c:pt idx="158">
                  <c:v>2.4782228769003044E-12</c:v>
                </c:pt>
                <c:pt idx="159">
                  <c:v>2.7783603149402168E-12</c:v>
                </c:pt>
                <c:pt idx="160">
                  <c:v>3.1146699381854791E-12</c:v>
                </c:pt>
                <c:pt idx="161">
                  <c:v>3.4914861812672182E-12</c:v>
                </c:pt>
                <c:pt idx="162">
                  <c:v>3.9136593462849486E-12</c:v>
                </c:pt>
                <c:pt idx="163">
                  <c:v>4.3866165043218068E-12</c:v>
                </c:pt>
                <c:pt idx="164">
                  <c:v>4.9164295172034645E-12</c:v>
                </c:pt>
                <c:pt idx="165">
                  <c:v>5.5098910021902933E-12</c:v>
                </c:pt>
                <c:pt idx="166">
                  <c:v>6.1745991559787244E-12</c:v>
                </c:pt>
                <c:pt idx="167">
                  <c:v>6.919052458551265E-12</c:v>
                </c:pt>
                <c:pt idx="168">
                  <c:v>7.7527553932007433E-12</c:v>
                </c:pt>
                <c:pt idx="169">
                  <c:v>8.6863364477290963E-12</c:v>
                </c:pt>
                <c:pt idx="170">
                  <c:v>9.7316798047828491E-12</c:v>
                </c:pt>
                <c:pt idx="171">
                  <c:v>1.0902072288088727E-11</c:v>
                </c:pt>
                <c:pt idx="172">
                  <c:v>1.2212367307693396E-11</c:v>
                </c:pt>
                <c:pt idx="173">
                  <c:v>1.3679167743093986E-11</c:v>
                </c:pt>
                <c:pt idx="174">
                  <c:v>1.5321029920432956E-11</c:v>
                </c:pt>
                <c:pt idx="175">
                  <c:v>1.7158691081048497E-11</c:v>
                </c:pt>
                <c:pt idx="176">
                  <c:v>1.9215323006125667E-11</c:v>
                </c:pt>
                <c:pt idx="177">
                  <c:v>2.1516814758805646E-11</c:v>
                </c:pt>
                <c:pt idx="178">
                  <c:v>2.4092087833945051E-11</c:v>
                </c:pt>
                <c:pt idx="179">
                  <c:v>2.6973447370165299E-11</c:v>
                </c:pt>
                <c:pt idx="180">
                  <c:v>3.0196973482644469E-11</c:v>
                </c:pt>
                <c:pt idx="181">
                  <c:v>3.3802957222365371E-11</c:v>
                </c:pt>
                <c:pt idx="182">
                  <c:v>3.7836386162778711E-11</c:v>
                </c:pt>
                <c:pt idx="183">
                  <c:v>4.2347485163029741E-11</c:v>
                </c:pt>
                <c:pt idx="184">
                  <c:v>4.7392318463480578E-11</c:v>
                </c:pt>
                <c:pt idx="185">
                  <c:v>5.3033459940218601E-11</c:v>
                </c:pt>
                <c:pt idx="186">
                  <c:v>5.9340739087181107E-11</c:v>
                </c:pt>
                <c:pt idx="187">
                  <c:v>6.6392071114571833E-11</c:v>
                </c:pt>
                <c:pt idx="188">
                  <c:v>7.4274380458377252E-11</c:v>
                </c:pt>
                <c:pt idx="189">
                  <c:v>8.3084627996596754E-11</c:v>
                </c:pt>
                <c:pt idx="190">
                  <c:v>9.2930953372714333E-11</c:v>
                </c:pt>
                <c:pt idx="191">
                  <c:v>1.0393394504639101E-10</c:v>
                </c:pt>
                <c:pt idx="192">
                  <c:v>1.1622805203653072E-10</c:v>
                </c:pt>
                <c:pt idx="193">
                  <c:v>1.2996315280517354E-10</c:v>
                </c:pt>
                <c:pt idx="194">
                  <c:v>1.4530629836555702E-10</c:v>
                </c:pt>
                <c:pt idx="195">
                  <c:v>1.6244364849875147E-10</c:v>
                </c:pt>
                <c:pt idx="196">
                  <c:v>1.8158262194661566E-10</c:v>
                </c:pt>
                <c:pt idx="197">
                  <c:v>2.0295428363167025E-10</c:v>
                </c:pt>
                <c:pt idx="198">
                  <c:v>2.2681599435587473E-10</c:v>
                </c:pt>
                <c:pt idx="199">
                  <c:v>2.5345435107064518E-10</c:v>
                </c:pt>
                <c:pt idx="200">
                  <c:v>2.831884487120968E-10</c:v>
                </c:pt>
                <c:pt idx="201">
                  <c:v>3.1637349778247797E-10</c:v>
                </c:pt>
                <c:pt idx="202">
                  <c:v>3.5340483535732028E-10</c:v>
                </c:pt>
                <c:pt idx="203">
                  <c:v>3.9472237103608587E-10</c:v>
                </c:pt>
                <c:pt idx="204">
                  <c:v>4.4081551356258639E-10</c:v>
                </c:pt>
                <c:pt idx="205">
                  <c:v>4.9222862845319558E-10</c:v>
                </c:pt>
                <c:pt idx="206">
                  <c:v>5.4956708202100533E-10</c:v>
                </c:pt>
                <c:pt idx="207">
                  <c:v>6.1350393271113216E-10</c:v>
                </c:pt>
                <c:pt idx="208">
                  <c:v>6.8478733670682959E-10</c:v>
                </c:pt>
                <c:pt idx="209">
                  <c:v>7.6424874137218499E-10</c:v>
                </c:pt>
                <c:pt idx="210">
                  <c:v>8.5281194731164768E-10</c:v>
                </c:pt>
                <c:pt idx="211">
                  <c:v>9.515031276999279E-10</c:v>
                </c:pt>
                <c:pt idx="212">
                  <c:v>1.0614619021209787E-9</c:v>
                </c:pt>
                <c:pt idx="213">
                  <c:v>1.1839535715097494E-9</c:v>
                </c:pt>
                <c:pt idx="214">
                  <c:v>1.3203826309739453E-9</c:v>
                </c:pt>
                <c:pt idx="215">
                  <c:v>1.4723076883517879E-9</c:v>
                </c:pt>
                <c:pt idx="216">
                  <c:v>1.6414579284004547E-9</c:v>
                </c:pt>
                <c:pt idx="217">
                  <c:v>1.8297512755827146E-9</c:v>
                </c:pt>
                <c:pt idx="218">
                  <c:v>2.0393144225991176E-9</c:v>
                </c:pt>
                <c:pt idx="219">
                  <c:v>2.2725049071798025E-9</c:v>
                </c:pt>
                <c:pt idx="220">
                  <c:v>2.531935436284788E-9</c:v>
                </c:pt>
                <c:pt idx="221">
                  <c:v>2.8205006748501853E-9</c:v>
                </c:pt>
                <c:pt idx="222">
                  <c:v>3.1414067356480623E-9</c:v>
                </c:pt>
                <c:pt idx="223">
                  <c:v>3.4982036277902255E-9</c:v>
                </c:pt>
                <c:pt idx="224">
                  <c:v>3.894820943994813E-9</c:v>
                </c:pt>
                <c:pt idx="225">
                  <c:v>4.335607091042876E-9</c:v>
                </c:pt>
                <c:pt idx="226">
                  <c:v>4.8253723939766162E-9</c:v>
                </c:pt>
                <c:pt idx="227">
                  <c:v>5.3694364326263733E-9</c:v>
                </c:pt>
                <c:pt idx="228">
                  <c:v>5.9736799990961058E-9</c:v>
                </c:pt>
                <c:pt idx="229">
                  <c:v>6.6446020969782305E-9</c:v>
                </c:pt>
                <c:pt idx="230">
                  <c:v>7.3893824373999609E-9</c:v>
                </c:pt>
                <c:pt idx="231">
                  <c:v>8.2159499236069302E-9</c:v>
                </c:pt>
                <c:pt idx="232">
                  <c:v>9.1330576547457808E-9</c:v>
                </c:pt>
                <c:pt idx="233">
                  <c:v>1.0150365020886164E-8</c:v>
                </c:pt>
                <c:pt idx="234">
                  <c:v>1.1278527505175973E-8</c:v>
                </c:pt>
                <c:pt idx="235">
                  <c:v>1.2529294855404421E-8</c:v>
                </c:pt>
                <c:pt idx="236">
                  <c:v>1.3915618336178661E-8</c:v>
                </c:pt>
                <c:pt idx="237">
                  <c:v>1.5451767824403169E-8</c:v>
                </c:pt>
                <c:pt idx="238">
                  <c:v>1.7153459564782387E-8</c:v>
                </c:pt>
                <c:pt idx="239">
                  <c:v>1.9037995458587542E-8</c:v>
                </c:pt>
                <c:pt idx="240">
                  <c:v>2.1124414817865408E-8</c:v>
                </c:pt>
                <c:pt idx="241">
                  <c:v>2.3433659578507201E-8</c:v>
                </c:pt>
                <c:pt idx="242">
                  <c:v>2.5988754028964374E-8</c:v>
                </c:pt>
                <c:pt idx="243">
                  <c:v>2.8815000176706541E-8</c:v>
                </c:pt>
                <c:pt idx="244">
                  <c:v>3.1940189941465181E-8</c:v>
                </c:pt>
                <c:pt idx="245">
                  <c:v>3.53948354325972E-8</c:v>
                </c:pt>
                <c:pt idx="246">
                  <c:v>3.9212418637101047E-8</c:v>
                </c:pt>
                <c:pt idx="247">
                  <c:v>4.3429661914445845E-8</c:v>
                </c:pt>
                <c:pt idx="248">
                  <c:v>4.8086820763876303E-8</c:v>
                </c:pt>
                <c:pt idx="249">
                  <c:v>5.3228000398511206E-8</c:v>
                </c:pt>
                <c:pt idx="250">
                  <c:v>5.8901497727629957E-8</c:v>
                </c:pt>
                <c:pt idx="251">
                  <c:v>6.5160170413086074E-8</c:v>
                </c:pt>
                <c:pt idx="252">
                  <c:v>7.2061834726800386E-8</c:v>
                </c:pt>
                <c:pt idx="253">
                  <c:v>7.9669693992559398E-8</c:v>
                </c:pt>
                <c:pt idx="254">
                  <c:v>8.8052799445572708E-8</c:v>
                </c:pt>
                <c:pt idx="255">
                  <c:v>9.7286545385906246E-8</c:v>
                </c:pt>
                <c:pt idx="256">
                  <c:v>1.0745320053534482E-7</c:v>
                </c:pt>
                <c:pt idx="257">
                  <c:v>1.1864247752960273E-7</c:v>
                </c:pt>
                <c:pt idx="258">
                  <c:v>1.3095214248699104E-7</c:v>
                </c:pt>
                <c:pt idx="259">
                  <c:v>1.4448866658846465E-7</c:v>
                </c:pt>
                <c:pt idx="260">
                  <c:v>1.5936792157988781E-7</c:v>
                </c:pt>
                <c:pt idx="261">
                  <c:v>1.7571592106269406E-7</c:v>
                </c:pt>
                <c:pt idx="262">
                  <c:v>1.9366960937093245E-7</c:v>
                </c:pt>
                <c:pt idx="263">
                  <c:v>2.1337769973788599E-7</c:v>
                </c:pt>
                <c:pt idx="264">
                  <c:v>2.3500156333053751E-7</c:v>
                </c:pt>
                <c:pt idx="265">
                  <c:v>2.5871617057170002E-7</c:v>
                </c:pt>
                <c:pt idx="266">
                  <c:v>2.8471108597357176E-7</c:v>
                </c:pt>
                <c:pt idx="267">
                  <c:v>3.1319151746911402E-7</c:v>
                </c:pt>
                <c:pt idx="268">
                  <c:v>3.4437942094440974E-7</c:v>
                </c:pt>
                <c:pt idx="269">
                  <c:v>3.7851466034201177E-7</c:v>
                </c:pt>
                <c:pt idx="270">
                  <c:v>4.1585622331754003E-7</c:v>
                </c:pt>
                <c:pt idx="271">
                  <c:v>4.5668349198491514E-7</c:v>
                </c:pt>
                <c:pt idx="272">
                  <c:v>5.012975677749815E-7</c:v>
                </c:pt>
                <c:pt idx="273">
                  <c:v>5.5002264885336306E-7</c:v>
                </c:pt>
                <c:pt idx="274">
                  <c:v>6.0320745789147767E-7</c:v>
                </c:pt>
                <c:pt idx="275">
                  <c:v>6.6122671725570405E-7</c:v>
                </c:pt>
                <c:pt idx="276">
                  <c:v>7.2448266786908156E-7</c:v>
                </c:pt>
                <c:pt idx="277">
                  <c:v>7.9340662710471074E-7</c:v>
                </c:pt>
                <c:pt idx="278">
                  <c:v>8.6846058008585597E-7</c:v>
                </c:pt>
                <c:pt idx="279">
                  <c:v>9.5013879769302768E-7</c:v>
                </c:pt>
                <c:pt idx="280">
                  <c:v>1.0389694734101961E-6</c:v>
                </c:pt>
                <c:pt idx="281">
                  <c:v>1.1355163698803891E-6</c:v>
                </c:pt>
                <c:pt idx="282">
                  <c:v>1.2403804646844891E-6</c:v>
                </c:pt>
                <c:pt idx="283">
                  <c:v>1.3542015834083192E-6</c:v>
                </c:pt>
                <c:pt idx="284">
                  <c:v>1.4776600065234941E-6</c:v>
                </c:pt>
                <c:pt idx="285">
                  <c:v>1.6114780349825107E-6</c:v>
                </c:pt>
                <c:pt idx="286">
                  <c:v>1.7564214977230167E-6</c:v>
                </c:pt>
                <c:pt idx="287">
                  <c:v>1.9133011824997259E-6</c:v>
                </c:pt>
                <c:pt idx="288">
                  <c:v>2.0829741696235052E-6</c:v>
                </c:pt>
                <c:pt idx="289">
                  <c:v>2.2663450463006009E-6</c:v>
                </c:pt>
                <c:pt idx="290">
                  <c:v>2.464366977344512E-6</c:v>
                </c:pt>
                <c:pt idx="291">
                  <c:v>2.6780426060982404E-6</c:v>
                </c:pt>
                <c:pt idx="292">
                  <c:v>2.9084247574759142E-6</c:v>
                </c:pt>
                <c:pt idx="293">
                  <c:v>3.1566169131350935E-6</c:v>
                </c:pt>
                <c:pt idx="294">
                  <c:v>3.4237734269527678E-6</c:v>
                </c:pt>
                <c:pt idx="295">
                  <c:v>3.7110994472279265E-6</c:v>
                </c:pt>
                <c:pt idx="296">
                  <c:v>4.0198505104100229E-6</c:v>
                </c:pt>
                <c:pt idx="297">
                  <c:v>4.3513317696889983E-6</c:v>
                </c:pt>
                <c:pt idx="298">
                  <c:v>4.7068968205243842E-6</c:v>
                </c:pt>
                <c:pt idx="299">
                  <c:v>5.087946084178352E-6</c:v>
                </c:pt>
                <c:pt idx="300">
                  <c:v>5.4959247096019642E-6</c:v>
                </c:pt>
                <c:pt idx="301">
                  <c:v>5.9323199536505431E-6</c:v>
                </c:pt>
                <c:pt idx="302">
                  <c:v>6.3986579996286654E-6</c:v>
                </c:pt>
                <c:pt idx="303">
                  <c:v>6.8965001746386348E-6</c:v>
                </c:pt>
                <c:pt idx="304">
                  <c:v>7.4274385271841203E-6</c:v>
                </c:pt>
                <c:pt idx="305">
                  <c:v>7.9930907280160352E-6</c:v>
                </c:pt>
                <c:pt idx="306">
                  <c:v>8.595094259356637E-6</c:v>
                </c:pt>
                <c:pt idx="307">
                  <c:v>9.2350998604487884E-6</c:v>
                </c:pt>
                <c:pt idx="308">
                  <c:v>9.9147642009043839E-6</c:v>
                </c:pt>
                <c:pt idx="309">
                  <c:v>1.0635741757607086E-5</c:v>
                </c:pt>
                <c:pt idx="310">
                  <c:v>1.1399675876008628E-5</c:v>
                </c:pt>
                <c:pt idx="311">
                  <c:v>1.2208189002567204E-5</c:v>
                </c:pt>
                <c:pt idx="312">
                  <c:v>1.3062872081845456E-5</c:v>
                </c:pt>
                <c:pt idx="313">
                  <c:v>1.3965273119419834E-5</c:v>
                </c:pt>
                <c:pt idx="314">
                  <c:v>1.4916884920262516E-5</c:v>
                </c:pt>
                <c:pt idx="315">
                  <c:v>1.5919132021627603E-5</c:v>
                </c:pt>
                <c:pt idx="316">
                  <c:v>1.6973356849680741E-5</c:v>
                </c:pt>
                <c:pt idx="317">
                  <c:v>1.8080805140115857E-5</c:v>
                </c:pt>
                <c:pt idx="318">
                  <c:v>1.9242610674747806E-5</c:v>
                </c:pt>
                <c:pt idx="319">
                  <c:v>2.045977939847186E-5</c:v>
                </c:pt>
                <c:pt idx="320">
                  <c:v>2.1733172993953398E-5</c:v>
                </c:pt>
                <c:pt idx="321">
                  <c:v>2.3063492004830658E-5</c:v>
                </c:pt>
                <c:pt idx="322">
                  <c:v>2.4451258611944627E-5</c:v>
                </c:pt>
                <c:pt idx="323">
                  <c:v>2.5896799180993241E-5</c:v>
                </c:pt>
                <c:pt idx="324">
                  <c:v>2.7400226713874919E-5</c:v>
                </c:pt>
                <c:pt idx="325">
                  <c:v>2.8961423349617487E-5</c:v>
                </c:pt>
                <c:pt idx="326">
                  <c:v>3.0580023074000212E-5</c:v>
                </c:pt>
                <c:pt idx="327">
                  <c:v>3.2255394809503255E-5</c:v>
                </c:pt>
                <c:pt idx="328">
                  <c:v>3.3986626068844163E-5</c:v>
                </c:pt>
                <c:pt idx="329">
                  <c:v>3.5772507365802335E-5</c:v>
                </c:pt>
                <c:pt idx="330">
                  <c:v>3.7611517586047585E-5</c:v>
                </c:pt>
                <c:pt idx="331">
                  <c:v>3.9501810527995219E-5</c:v>
                </c:pt>
                <c:pt idx="332">
                  <c:v>4.1441202829045997E-5</c:v>
                </c:pt>
                <c:pt idx="333">
                  <c:v>4.3427163495674664E-5</c:v>
                </c:pt>
                <c:pt idx="334">
                  <c:v>4.5456805256454704E-5</c:v>
                </c:pt>
                <c:pt idx="335">
                  <c:v>4.7526877955019414E-5</c:v>
                </c:pt>
                <c:pt idx="336">
                  <c:v>4.9633764194945026E-5</c:v>
                </c:pt>
                <c:pt idx="337">
                  <c:v>5.1773477440428745E-5</c:v>
                </c:pt>
                <c:pt idx="338">
                  <c:v>5.3941662765269055E-5</c:v>
                </c:pt>
                <c:pt idx="339">
                  <c:v>5.6133600427944905E-5</c:v>
                </c:pt>
                <c:pt idx="340">
                  <c:v>5.8344212432454483E-5</c:v>
                </c:pt>
                <c:pt idx="341">
                  <c:v>6.0568072213044938E-5</c:v>
                </c:pt>
                <c:pt idx="342">
                  <c:v>6.279941755604167E-5</c:v>
                </c:pt>
                <c:pt idx="343">
                  <c:v>6.5032166843828924E-5</c:v>
                </c:pt>
                <c:pt idx="344">
                  <c:v>6.7259938674784142E-5</c:v>
                </c:pt>
                <c:pt idx="345">
                  <c:v>6.9476074878868714E-5</c:v>
                </c:pt>
                <c:pt idx="346">
                  <c:v>7.1673666911944116E-5</c:v>
                </c:pt>
                <c:pt idx="347">
                  <c:v>7.3845585573078303E-5</c:v>
                </c:pt>
                <c:pt idx="348">
                  <c:v>7.5984513948535338E-5</c:v>
                </c:pt>
                <c:pt idx="349">
                  <c:v>7.8082983444343338E-5</c:v>
                </c:pt>
                <c:pt idx="350">
                  <c:v>8.0133412726811725E-5</c:v>
                </c:pt>
                <c:pt idx="351">
                  <c:v>8.2128149347718597E-5</c:v>
                </c:pt>
                <c:pt idx="352">
                  <c:v>8.4059513788766282E-5</c:v>
                </c:pt>
                <c:pt idx="353">
                  <c:v>8.5919845618936258E-5</c:v>
                </c:pt>
                <c:pt idx="354">
                  <c:v>8.7701551419275468E-5</c:v>
                </c:pt>
                <c:pt idx="355">
                  <c:v>8.9397154093080619E-5</c:v>
                </c:pt>
                <c:pt idx="356">
                  <c:v>9.0999343146106433E-5</c:v>
                </c:pt>
                <c:pt idx="357">
                  <c:v>9.2501025492010644E-5</c:v>
                </c:pt>
                <c:pt idx="358">
                  <c:v>9.3895376313324409E-5</c:v>
                </c:pt>
                <c:pt idx="359">
                  <c:v>9.5175889488484532E-5</c:v>
                </c:pt>
                <c:pt idx="360">
                  <c:v>9.6336427081349175E-5</c:v>
                </c:pt>
                <c:pt idx="361">
                  <c:v>9.7371267381647164E-5</c:v>
                </c:pt>
                <c:pt idx="362">
                  <c:v>9.8275150983332624E-5</c:v>
                </c:pt>
                <c:pt idx="363">
                  <c:v>9.9043324393152822E-5</c:v>
                </c:pt>
                <c:pt idx="364">
                  <c:v>9.9671580674028868E-5</c:v>
                </c:pt>
                <c:pt idx="365">
                  <c:v>1.001562966472017E-4</c:v>
                </c:pt>
                <c:pt idx="366">
                  <c:v>1.0049446620343499E-4</c:v>
                </c:pt>
                <c:pt idx="367">
                  <c:v>1.0068372930675187E-4</c:v>
                </c:pt>
                <c:pt idx="368">
                  <c:v>1.0072239631387061E-4</c:v>
                </c:pt>
                <c:pt idx="369">
                  <c:v>1.0060946727834246E-4</c:v>
                </c:pt>
                <c:pt idx="370">
                  <c:v>1.0034464595980661E-4</c:v>
                </c:pt>
                <c:pt idx="371">
                  <c:v>9.9928348315109566E-5</c:v>
                </c:pt>
                <c:pt idx="372">
                  <c:v>9.9361705308603283E-5</c:v>
                </c:pt>
                <c:pt idx="373">
                  <c:v>9.8646559942806684E-5</c:v>
                </c:pt>
                <c:pt idx="374">
                  <c:v>9.778545847695425E-5</c:v>
                </c:pt>
                <c:pt idx="375">
                  <c:v>9.6781635868737364E-5</c:v>
                </c:pt>
                <c:pt idx="376">
                  <c:v>9.5638995542753251E-5</c:v>
                </c:pt>
                <c:pt idx="377">
                  <c:v>9.4362083656769597E-5</c:v>
                </c:pt>
                <c:pt idx="378">
                  <c:v>9.2956058102847507E-5</c:v>
                </c:pt>
                <c:pt idx="379">
                  <c:v>9.1426652543535403E-5</c:v>
                </c:pt>
                <c:pt idx="380">
                  <c:v>8.9780135842868866E-5</c:v>
                </c:pt>
                <c:pt idx="381">
                  <c:v>8.8023267306670282E-5</c:v>
                </c:pt>
                <c:pt idx="382">
                  <c:v>8.6163248195920381E-5</c:v>
                </c:pt>
                <c:pt idx="383">
                  <c:v>8.4207670019865452E-5</c:v>
                </c:pt>
                <c:pt idx="384">
                  <c:v>8.2164460151402572E-5</c:v>
                </c:pt>
                <c:pt idx="385">
                  <c:v>8.0041825335591443E-5</c:v>
                </c:pt>
                <c:pt idx="386">
                  <c:v>7.7848193682444666E-5</c:v>
                </c:pt>
                <c:pt idx="387">
                  <c:v>7.5592155747129187E-5</c:v>
                </c:pt>
                <c:pt idx="388">
                  <c:v>7.3282405304319899E-5</c:v>
                </c:pt>
                <c:pt idx="389">
                  <c:v>7.0927680418587515E-5</c:v>
                </c:pt>
                <c:pt idx="390">
                  <c:v>6.8536705399624464E-5</c:v>
                </c:pt>
                <c:pt idx="391">
                  <c:v>6.6118134210076896E-5</c:v>
                </c:pt>
                <c:pt idx="392">
                  <c:v>6.3680495865202198E-5</c:v>
                </c:pt>
                <c:pt idx="393">
                  <c:v>6.1232142328112674E-5</c:v>
                </c:pt>
                <c:pt idx="394">
                  <c:v>5.8781199362632026E-5</c:v>
                </c:pt>
                <c:pt idx="395">
                  <c:v>5.6335520758618995E-5</c:v>
                </c:pt>
                <c:pt idx="396">
                  <c:v>5.3902646292826487E-5</c:v>
                </c:pt>
                <c:pt idx="397">
                  <c:v>5.1489763732927812E-5</c:v>
                </c:pt>
                <c:pt idx="398">
                  <c:v>4.9103675134206008E-5</c:v>
                </c:pt>
                <c:pt idx="399">
                  <c:v>4.6750767618574774E-5</c:v>
                </c:pt>
                <c:pt idx="400">
                  <c:v>4.4436988765094357E-5</c:v>
                </c:pt>
                <c:pt idx="401">
                  <c:v>4.2167826680911271E-5</c:v>
                </c:pt>
                <c:pt idx="402">
                  <c:v>3.9948294762584008E-5</c:v>
                </c:pt>
                <c:pt idx="403">
                  <c:v>3.7782921100908042E-5</c:v>
                </c:pt>
                <c:pt idx="404">
                  <c:v>3.5675742428469071E-5</c:v>
                </c:pt>
                <c:pt idx="405">
                  <c:v>3.3630302458976289E-5</c:v>
                </c:pt>
                <c:pt idx="406">
                  <c:v>3.1649654421581414E-5</c:v>
                </c:pt>
                <c:pt idx="407">
                  <c:v>2.9736367552439417E-5</c:v>
                </c:pt>
                <c:pt idx="408">
                  <c:v>2.7892537270109953E-5</c:v>
                </c:pt>
                <c:pt idx="409">
                  <c:v>2.6119798731386172E-5</c:v>
                </c:pt>
                <c:pt idx="410">
                  <c:v>2.4419343439917291E-5</c:v>
                </c:pt>
                <c:pt idx="411">
                  <c:v>2.2791938561687895E-5</c:v>
                </c:pt>
                <c:pt idx="412">
                  <c:v>2.1237948588979237E-5</c:v>
                </c:pt>
                <c:pt idx="413">
                  <c:v>1.975735898772574E-5</c:v>
                </c:pt>
                <c:pt idx="414">
                  <c:v>1.8349801461990602E-5</c:v>
                </c:pt>
                <c:pt idx="415">
                  <c:v>1.7014580473267801E-5</c:v>
                </c:pt>
                <c:pt idx="416">
                  <c:v>1.5750700661122231E-5</c:v>
                </c:pt>
                <c:pt idx="417">
                  <c:v>1.4556894824816443E-5</c:v>
                </c:pt>
                <c:pt idx="418">
                  <c:v>1.3431652142572437E-5</c:v>
                </c:pt>
                <c:pt idx="419">
                  <c:v>1.237324632542357E-5</c:v>
                </c:pt>
                <c:pt idx="420">
                  <c:v>1.1379763425677252E-5</c:v>
                </c:pt>
                <c:pt idx="421">
                  <c:v>1.0449129045259876E-5</c:v>
                </c:pt>
                <c:pt idx="422">
                  <c:v>9.5791347160897148E-6</c:v>
                </c:pt>
                <c:pt idx="423">
                  <c:v>8.7674632525656236E-6</c:v>
                </c:pt>
                <c:pt idx="424">
                  <c:v>8.0117129047445776E-6</c:v>
                </c:pt>
                <c:pt idx="425">
                  <c:v>7.309420169309525E-6</c:v>
                </c:pt>
                <c:pt idx="426">
                  <c:v>6.6580811435484392E-6</c:v>
                </c:pt>
                <c:pt idx="427">
                  <c:v>6.0551713348626976E-6</c:v>
                </c:pt>
                <c:pt idx="428">
                  <c:v>5.4981638644382637E-6</c:v>
                </c:pt>
                <c:pt idx="429">
                  <c:v>4.9845460283382524E-6</c:v>
                </c:pt>
                <c:pt idx="430">
                  <c:v>4.5118342021588279E-6</c:v>
                </c:pt>
                <c:pt idx="431">
                  <c:v>4.0775870963296503E-6</c:v>
                </c:pt>
                <c:pt idx="432">
                  <c:v>3.6794173879925858E-6</c:v>
                </c:pt>
                <c:pt idx="433">
                  <c:v>3.315001772060352E-6</c:v>
                </c:pt>
                <c:pt idx="434">
                  <c:v>2.9820894884965233E-6</c:v>
                </c:pt>
                <c:pt idx="435">
                  <c:v>2.6785093950640486E-6</c:v>
                </c:pt>
                <c:pt idx="436">
                  <c:v>2.402175664800371E-6</c:v>
                </c:pt>
                <c:pt idx="437">
                  <c:v>2.1510921953647745E-6</c:v>
                </c:pt>
                <c:pt idx="438">
                  <c:v>1.9233558232684921E-6</c:v>
                </c:pt>
                <c:pt idx="439">
                  <c:v>1.7171584399683058E-6</c:v>
                </c:pt>
                <c:pt idx="440">
                  <c:v>1.5307881090239786E-6</c:v>
                </c:pt>
                <c:pt idx="441">
                  <c:v>1.3626292841503471E-6</c:v>
                </c:pt>
                <c:pt idx="442">
                  <c:v>1.2111622272050407E-6</c:v>
                </c:pt>
                <c:pt idx="443">
                  <c:v>1.0749617231181569E-6</c:v>
                </c:pt>
                <c:pt idx="444">
                  <c:v>9.5269518566706429E-7</c:v>
                </c:pt>
                <c:pt idx="445">
                  <c:v>8.4312024400128694E-7</c:v>
                </c:pt>
                <c:pt idx="446">
                  <c:v>7.4508189509793611E-7</c:v>
                </c:pt>
                <c:pt idx="447">
                  <c:v>6.5750930203801052E-7</c:v>
                </c:pt>
                <c:pt idx="448">
                  <c:v>5.7941231228786668E-7</c:v>
                </c:pt>
                <c:pt idx="449">
                  <c:v>5.0987776418739905E-7</c:v>
                </c:pt>
                <c:pt idx="450">
                  <c:v>4.4806564371251854E-7</c:v>
                </c:pt>
                <c:pt idx="451">
                  <c:v>3.9320514740647865E-7</c:v>
                </c:pt>
                <c:pt idx="452">
                  <c:v>3.4459070126072224E-7</c:v>
                </c:pt>
                <c:pt idx="453">
                  <c:v>3.0157797935530317E-7</c:v>
                </c:pt>
                <c:pt idx="454">
                  <c:v>2.6357996031236812E-7</c:v>
                </c:pt>
                <c:pt idx="455">
                  <c:v>2.3006305413062487E-7</c:v>
                </c:pt>
                <c:pt idx="456">
                  <c:v>2.0054332679949213E-7</c:v>
                </c:pt>
                <c:pt idx="457">
                  <c:v>1.7458284527202213E-7</c:v>
                </c:pt>
                <c:pt idx="458">
                  <c:v>1.5178616092847935E-7</c:v>
                </c:pt>
                <c:pt idx="459">
                  <c:v>1.3179694560133798E-7</c:v>
                </c:pt>
                <c:pt idx="460">
                  <c:v>1.1429479056228342E-7</c:v>
                </c:pt>
                <c:pt idx="461">
                  <c:v>9.8992175590576454E-8</c:v>
                </c:pt>
                <c:pt idx="462">
                  <c:v>8.5631612341619602E-8</c:v>
                </c:pt>
                <c:pt idx="463">
                  <c:v>7.3982963701337026E-8</c:v>
                </c:pt>
                <c:pt idx="464">
                  <c:v>6.3840938628847367E-8</c:v>
                </c:pt>
                <c:pt idx="465">
                  <c:v>5.502276013620248E-8</c:v>
                </c:pt>
                <c:pt idx="466">
                  <c:v>4.7366002507113738E-8</c:v>
                </c:pt>
                <c:pt idx="467">
                  <c:v>4.0726592592168734E-8</c:v>
                </c:pt>
                <c:pt idx="468">
                  <c:v>3.4976969011057356E-8</c:v>
                </c:pt>
                <c:pt idx="469">
                  <c:v>3.0004392317388964E-8</c:v>
                </c:pt>
                <c:pt idx="470">
                  <c:v>2.5709398613695289E-8</c:v>
                </c:pt>
                <c:pt idx="471">
                  <c:v>2.2004388718724923E-8</c:v>
                </c:pt>
                <c:pt idx="472">
                  <c:v>1.8812344762709355E-8</c:v>
                </c:pt>
                <c:pt idx="473">
                  <c:v>1.6065665996650834E-8</c:v>
                </c:pt>
                <c:pt idx="474">
                  <c:v>1.3705115628139195E-8</c:v>
                </c:pt>
                <c:pt idx="475">
                  <c:v>1.1678870619452429E-8</c:v>
                </c:pt>
                <c:pt idx="476">
                  <c:v>9.9416665862235768E-9</c:v>
                </c:pt>
                <c:pt idx="477">
                  <c:v>8.4540302008220691E-9</c:v>
                </c:pt>
                <c:pt idx="478">
                  <c:v>7.1815918195930549E-9</c:v>
                </c:pt>
                <c:pt idx="479">
                  <c:v>6.0944714046183747E-9</c:v>
                </c:pt>
                <c:pt idx="480">
                  <c:v>5.1667311876850959E-9</c:v>
                </c:pt>
                <c:pt idx="481">
                  <c:v>4.3758889171411956E-9</c:v>
                </c:pt>
                <c:pt idx="482">
                  <c:v>3.7024859291463388E-9</c:v>
                </c:pt>
                <c:pt idx="483">
                  <c:v>3.129704686639791E-9</c:v>
                </c:pt>
                <c:pt idx="484">
                  <c:v>2.6430308264970707E-9</c:v>
                </c:pt>
                <c:pt idx="485">
                  <c:v>2.2299551432157195E-9</c:v>
                </c:pt>
                <c:pt idx="486">
                  <c:v>1.8797113124418754E-9</c:v>
                </c:pt>
                <c:pt idx="487">
                  <c:v>1.5830455169119589E-9</c:v>
                </c:pt>
                <c:pt idx="488">
                  <c:v>1.3320144788875338E-9</c:v>
                </c:pt>
                <c:pt idx="489">
                  <c:v>1.1198087254950538E-9</c:v>
                </c:pt>
                <c:pt idx="490">
                  <c:v>9.4059821566753542E-10</c:v>
                </c:pt>
                <c:pt idx="491">
                  <c:v>7.8939773921963414E-10</c:v>
                </c:pt>
                <c:pt idx="492">
                  <c:v>6.6194975993746591E-10</c:v>
                </c:pt>
                <c:pt idx="493">
                  <c:v>5.5462261571371228E-10</c:v>
                </c:pt>
                <c:pt idx="494">
                  <c:v>4.6432221023795544E-10</c:v>
                </c:pt>
                <c:pt idx="495">
                  <c:v>3.8841553328105955E-10</c:v>
                </c:pt>
                <c:pt idx="496">
                  <c:v>3.246645310587154E-10</c:v>
                </c:pt>
                <c:pt idx="497">
                  <c:v>2.711690154915386E-10</c:v>
                </c:pt>
                <c:pt idx="498">
                  <c:v>2.2631745243001558E-10</c:v>
                </c:pt>
                <c:pt idx="499">
                  <c:v>1.8874460515798049E-10</c:v>
                </c:pt>
                <c:pt idx="500">
                  <c:v>1.5729513180972196E-10</c:v>
                </c:pt>
                <c:pt idx="501">
                  <c:v>1.3099234481336428E-10</c:v>
                </c:pt>
                <c:pt idx="502">
                  <c:v>1.0901143815973772E-10</c:v>
                </c:pt>
                <c:pt idx="503">
                  <c:v>9.0656575211089468E-11</c:v>
                </c:pt>
                <c:pt idx="504">
                  <c:v>7.5341306881265015E-11</c:v>
                </c:pt>
                <c:pt idx="505">
                  <c:v>6.2571858261507706E-11</c:v>
                </c:pt>
                <c:pt idx="506">
                  <c:v>5.1932882000240824E-11</c:v>
                </c:pt>
                <c:pt idx="507">
                  <c:v>4.3075329780288687E-11</c:v>
                </c:pt>
                <c:pt idx="508">
                  <c:v>3.5706139821830543E-11</c:v>
                </c:pt>
                <c:pt idx="509">
                  <c:v>2.9579479164921855E-11</c:v>
                </c:pt>
                <c:pt idx="510">
                  <c:v>2.4489315183906022E-11</c:v>
                </c:pt>
                <c:pt idx="511">
                  <c:v>2.0263121934445299E-11</c:v>
                </c:pt>
                <c:pt idx="512">
                  <c:v>1.6756554055545301E-11</c:v>
                </c:pt>
                <c:pt idx="513">
                  <c:v>1.3848944516867569E-11</c:v>
                </c:pt>
                <c:pt idx="514">
                  <c:v>1.1439502941369615E-11</c:v>
                </c:pt>
                <c:pt idx="515">
                  <c:v>9.4441089265353745E-12</c:v>
                </c:pt>
                <c:pt idx="516">
                  <c:v>7.7926100750084009E-12</c:v>
                </c:pt>
                <c:pt idx="517">
                  <c:v>6.4265476308298055E-12</c:v>
                </c:pt>
                <c:pt idx="518">
                  <c:v>5.2972439700497522E-12</c:v>
                </c:pt>
                <c:pt idx="519">
                  <c:v>4.3641959524986545E-12</c:v>
                </c:pt>
                <c:pt idx="520">
                  <c:v>3.5937265152205707E-12</c:v>
                </c:pt>
                <c:pt idx="521">
                  <c:v>2.9578540624045268E-12</c:v>
                </c:pt>
                <c:pt idx="522">
                  <c:v>2.4333453438835726E-12</c:v>
                </c:pt>
                <c:pt idx="523">
                  <c:v>2.0009227563882774E-12</c:v>
                </c:pt>
                <c:pt idx="524">
                  <c:v>1.6446014727673379E-12</c:v>
                </c:pt>
                <c:pt idx="525">
                  <c:v>1.3511356122639618E-12</c:v>
                </c:pt>
                <c:pt idx="526">
                  <c:v>1.1095559035615326E-12</c:v>
                </c:pt>
                <c:pt idx="527">
                  <c:v>9.1078404301853585E-13</c:v>
                </c:pt>
                <c:pt idx="528">
                  <c:v>7.4731128377417234E-13</c:v>
                </c:pt>
                <c:pt idx="529">
                  <c:v>6.1293076800538653E-13</c:v>
                </c:pt>
                <c:pt idx="530">
                  <c:v>5.025147870027883E-13</c:v>
                </c:pt>
                <c:pt idx="531">
                  <c:v>4.1182956699797711E-13</c:v>
                </c:pt>
                <c:pt idx="532">
                  <c:v>3.3738137155760852E-13</c:v>
                </c:pt>
                <c:pt idx="533">
                  <c:v>2.7628871706230158E-13</c:v>
                </c:pt>
                <c:pt idx="534">
                  <c:v>2.2617634473212666E-13</c:v>
                </c:pt>
                <c:pt idx="535">
                  <c:v>1.8508730512376223E-13</c:v>
                </c:pt>
                <c:pt idx="536">
                  <c:v>1.5141010972398227E-13</c:v>
                </c:pt>
                <c:pt idx="537">
                  <c:v>1.2381840684078539E-13</c:v>
                </c:pt>
                <c:pt idx="538">
                  <c:v>1.0122106045374707E-13</c:v>
                </c:pt>
                <c:pt idx="539">
                  <c:v>8.2720863773544548E-14</c:v>
                </c:pt>
                <c:pt idx="540">
                  <c:v>6.7580414782592921E-14</c:v>
                </c:pt>
                <c:pt idx="541">
                  <c:v>5.5193928140393956E-14</c:v>
                </c:pt>
                <c:pt idx="542">
                  <c:v>4.5063964278233361E-14</c:v>
                </c:pt>
                <c:pt idx="543">
                  <c:v>3.678222882028757E-14</c:v>
                </c:pt>
                <c:pt idx="544">
                  <c:v>3.0013739167950581E-14</c:v>
                </c:pt>
                <c:pt idx="545">
                  <c:v>2.4483774822570048E-14</c:v>
                </c:pt>
                <c:pt idx="546">
                  <c:v>1.9967127711246751E-14</c:v>
                </c:pt>
                <c:pt idx="547">
                  <c:v>1.6279251711563988E-14</c:v>
                </c:pt>
                <c:pt idx="548">
                  <c:v>1.3268979507452396E-14</c:v>
                </c:pt>
                <c:pt idx="549">
                  <c:v>1.0812532167625414E-14</c:v>
                </c:pt>
                <c:pt idx="550">
                  <c:v>8.8085943628747084E-15</c:v>
                </c:pt>
                <c:pt idx="551">
                  <c:v>7.1742675554602342E-15</c:v>
                </c:pt>
                <c:pt idx="552">
                  <c:v>5.8417461628789564E-15</c:v>
                </c:pt>
                <c:pt idx="553">
                  <c:v>4.75558875612757E-15</c:v>
                </c:pt>
                <c:pt idx="554">
                  <c:v>3.8704787478929588E-15</c:v>
                </c:pt>
                <c:pt idx="555">
                  <c:v>3.1493875503156246E-15</c:v>
                </c:pt>
                <c:pt idx="556">
                  <c:v>2.5620684943244133E-15</c:v>
                </c:pt>
                <c:pt idx="557">
                  <c:v>2.0838224522028972E-15</c:v>
                </c:pt>
                <c:pt idx="558">
                  <c:v>1.6944865486567697E-15</c:v>
                </c:pt>
                <c:pt idx="559">
                  <c:v>1.3776059628418042E-15</c:v>
                </c:pt>
                <c:pt idx="560">
                  <c:v>1.1197559299472507E-15</c:v>
                </c:pt>
                <c:pt idx="561">
                  <c:v>9.0998690767221108E-16</c:v>
                </c:pt>
                <c:pt idx="562">
                  <c:v>7.3937069731078964E-16</c:v>
                </c:pt>
                <c:pt idx="563">
                  <c:v>6.0062928105609739E-16</c:v>
                </c:pt>
                <c:pt idx="564">
                  <c:v>4.8783140545424635E-16</c:v>
                </c:pt>
                <c:pt idx="565">
                  <c:v>3.961446289884033E-16</c:v>
                </c:pt>
                <c:pt idx="566">
                  <c:v>3.216327614517676E-16</c:v>
                </c:pt>
                <c:pt idx="567">
                  <c:v>2.610904383652141E-16</c:v>
                </c:pt>
                <c:pt idx="568">
                  <c:v>2.1190806476831062E-16</c:v>
                </c:pt>
                <c:pt idx="569">
                  <c:v>1.7196158672521701E-16</c:v>
                </c:pt>
                <c:pt idx="570">
                  <c:v>1.3952255321623626E-16</c:v>
                </c:pt>
                <c:pt idx="571">
                  <c:v>1.1318475480134851E-16</c:v>
                </c:pt>
                <c:pt idx="572">
                  <c:v>9.1804400744197701E-17</c:v>
                </c:pt>
                <c:pt idx="573">
                  <c:v>7.4451349679316688E-17</c:v>
                </c:pt>
                <c:pt idx="574">
                  <c:v>6.0369362220471587E-17</c:v>
                </c:pt>
                <c:pt idx="575">
                  <c:v>4.8943715095465121E-17</c:v>
                </c:pt>
                <c:pt idx="576">
                  <c:v>3.967482021563919E-17</c:v>
                </c:pt>
                <c:pt idx="577">
                  <c:v>3.2156740679574898E-17</c:v>
                </c:pt>
                <c:pt idx="578">
                  <c:v>2.6059699036017373E-17</c:v>
                </c:pt>
                <c:pt idx="579">
                  <c:v>2.1115839375088246E-17</c:v>
                </c:pt>
                <c:pt idx="580">
                  <c:v>1.7107640693880541E-17</c:v>
                </c:pt>
                <c:pt idx="581">
                  <c:v>1.3858490003124725E-17</c:v>
                </c:pt>
                <c:pt idx="582">
                  <c:v>1.122501432229023E-17</c:v>
                </c:pt>
                <c:pt idx="583">
                  <c:v>9.0908447539735743E-18</c:v>
                </c:pt>
                <c:pt idx="584">
                  <c:v>7.3615462685280514E-18</c:v>
                </c:pt>
                <c:pt idx="585">
                  <c:v>5.9604961502225723E-18</c:v>
                </c:pt>
                <c:pt idx="586">
                  <c:v>4.8255342911391741E-18</c:v>
                </c:pt>
                <c:pt idx="587">
                  <c:v>3.9062413320978117E-18</c:v>
                </c:pt>
                <c:pt idx="588">
                  <c:v>3.1617274030446772E-18</c:v>
                </c:pt>
                <c:pt idx="589">
                  <c:v>2.5588360212512984E-18</c:v>
                </c:pt>
                <c:pt idx="590">
                  <c:v>2.0706854747641692E-18</c:v>
                </c:pt>
                <c:pt idx="591">
                  <c:v>1.6754844939685538E-18</c:v>
                </c:pt>
                <c:pt idx="592">
                  <c:v>1.355570803646231E-18</c:v>
                </c:pt>
                <c:pt idx="593">
                  <c:v>1.0966307472504413E-18</c:v>
                </c:pt>
                <c:pt idx="594">
                  <c:v>8.8706598942672542E-19</c:v>
                </c:pt>
                <c:pt idx="595">
                  <c:v>7.1747966231808025E-19</c:v>
                </c:pt>
                <c:pt idx="596">
                  <c:v>5.8025949568554815E-19</c:v>
                </c:pt>
                <c:pt idx="597">
                  <c:v>4.6923968011761129E-19</c:v>
                </c:pt>
                <c:pt idx="598">
                  <c:v>3.7942663588974826E-19</c:v>
                </c:pt>
                <c:pt idx="599">
                  <c:v>3.0677664356999821E-19</c:v>
                </c:pt>
                <c:pt idx="600">
                  <c:v>2.4801555526840737E-19</c:v>
                </c:pt>
                <c:pt idx="601">
                  <c:v>2.0049264456723679E-19</c:v>
                </c:pt>
                <c:pt idx="602">
                  <c:v>1.6206214764623179E-19</c:v>
                </c:pt>
                <c:pt idx="603">
                  <c:v>1.3098726229904571E-19</c:v>
                </c:pt>
                <c:pt idx="604">
                  <c:v>1.0586235778325064E-19</c:v>
                </c:pt>
                <c:pt idx="605">
                  <c:v>8.5549949416685988E-20</c:v>
                </c:pt>
                <c:pt idx="606">
                  <c:v>6.9129642195789623E-20</c:v>
                </c:pt>
                <c:pt idx="607">
                  <c:v>5.5856775702579916E-20</c:v>
                </c:pt>
                <c:pt idx="608">
                  <c:v>4.512893112797317E-20</c:v>
                </c:pt>
                <c:pt idx="609">
                  <c:v>3.6458809041233627E-20</c:v>
                </c:pt>
                <c:pt idx="610">
                  <c:v>2.9452268743578732E-20</c:v>
                </c:pt>
                <c:pt idx="611">
                  <c:v>2.3790548995825506E-20</c:v>
                </c:pt>
                <c:pt idx="612">
                  <c:v>1.9215875623242749E-20</c:v>
                </c:pt>
                <c:pt idx="613">
                  <c:v>1.5519812119105738E-20</c:v>
                </c:pt>
                <c:pt idx="614">
                  <c:v>1.2533831503497695E-20</c:v>
                </c:pt>
                <c:pt idx="615">
                  <c:v>1.0121686719261241E-20</c:v>
                </c:pt>
                <c:pt idx="616">
                  <c:v>8.1732371215048811E-21</c:v>
                </c:pt>
                <c:pt idx="617">
                  <c:v>6.5994536838711188E-21</c:v>
                </c:pt>
                <c:pt idx="618">
                  <c:v>5.3283782755952129E-21</c:v>
                </c:pt>
                <c:pt idx="619">
                  <c:v>4.3018550930909867E-21</c:v>
                </c:pt>
                <c:pt idx="620">
                  <c:v>3.4728869488011573E-21</c:v>
                </c:pt>
                <c:pt idx="621">
                  <c:v>2.8034971654946818E-21</c:v>
                </c:pt>
                <c:pt idx="622">
                  <c:v>2.2630005406958266E-21</c:v>
                </c:pt>
                <c:pt idx="623">
                  <c:v>1.8266052439621587E-21</c:v>
                </c:pt>
                <c:pt idx="624">
                  <c:v>1.4742824083191336E-21</c:v>
                </c:pt>
                <c:pt idx="625">
                  <c:v>1.1898522406010058E-21</c:v>
                </c:pt>
                <c:pt idx="626">
                  <c:v>9.6024524200555546E-22</c:v>
                </c:pt>
                <c:pt idx="627">
                  <c:v>7.7490503622702072E-22</c:v>
                </c:pt>
                <c:pt idx="628">
                  <c:v>6.2530570200697699E-22</c:v>
                </c:pt>
                <c:pt idx="629">
                  <c:v>5.0456168600426692E-22</c:v>
                </c:pt>
                <c:pt idx="630">
                  <c:v>4.071125631994128E-22</c:v>
                </c:pt>
                <c:pt idx="631">
                  <c:v>3.2846830332715374E-22</c:v>
                </c:pt>
                <c:pt idx="632">
                  <c:v>2.6500344571892614E-22</c:v>
                </c:pt>
                <c:pt idx="633">
                  <c:v>2.1379080464558679E-22</c:v>
                </c:pt>
                <c:pt idx="634">
                  <c:v>1.7246712284395592E-22</c:v>
                </c:pt>
                <c:pt idx="635">
                  <c:v>1.3912454321185354E-22</c:v>
                </c:pt>
                <c:pt idx="636">
                  <c:v>1.1222294322870866E-22</c:v>
                </c:pt>
                <c:pt idx="637">
                  <c:v>9.0519126494048589E-23</c:v>
                </c:pt>
                <c:pt idx="638">
                  <c:v>7.3009633836299587E-23</c:v>
                </c:pt>
                <c:pt idx="639">
                  <c:v>5.8884557426946662E-23</c:v>
                </c:pt>
                <c:pt idx="640">
                  <c:v>4.749024339120173E-23</c:v>
                </c:pt>
                <c:pt idx="641">
                  <c:v>3.8299174249508972E-23</c:v>
                </c:pt>
                <c:pt idx="642">
                  <c:v>3.088565059286273E-23</c:v>
                </c:pt>
                <c:pt idx="643">
                  <c:v>2.4906156541285723E-23</c:v>
                </c:pt>
                <c:pt idx="644">
                  <c:v>2.0083507840776742E-23</c:v>
                </c:pt>
                <c:pt idx="645">
                  <c:v>1.6194054624997624E-23</c:v>
                </c:pt>
                <c:pt idx="646">
                  <c:v>1.3057350814214993E-23</c:v>
                </c:pt>
                <c:pt idx="647">
                  <c:v>1.0527815191081528E-23</c:v>
                </c:pt>
                <c:pt idx="648">
                  <c:v>8.4880005506773919E-24</c:v>
                </c:pt>
                <c:pt idx="649">
                  <c:v>6.8431611258438711E-24</c:v>
                </c:pt>
                <c:pt idx="650">
                  <c:v>5.5168681091771185E-24</c:v>
                </c:pt>
                <c:pt idx="651">
                  <c:v>4.4474712542726976E-24</c:v>
                </c:pt>
                <c:pt idx="652">
                  <c:v>3.5852434366111545E-24</c:v>
                </c:pt>
                <c:pt idx="653">
                  <c:v>2.8900764727984682E-24</c:v>
                </c:pt>
                <c:pt idx="654">
                  <c:v>2.3296218688501004E-24</c:v>
                </c:pt>
                <c:pt idx="655">
                  <c:v>1.8777906581912912E-24</c:v>
                </c:pt>
                <c:pt idx="656">
                  <c:v>1.5135430352600761E-24</c:v>
                </c:pt>
                <c:pt idx="657">
                  <c:v>1.2199118501380208E-24</c:v>
                </c:pt>
                <c:pt idx="658">
                  <c:v>9.8321481603420634E-25</c:v>
                </c:pt>
                <c:pt idx="659">
                  <c:v>7.924189897811438E-25</c:v>
                </c:pt>
                <c:pt idx="660">
                  <c:v>6.3862811587420256E-25</c:v>
                </c:pt>
                <c:pt idx="661">
                  <c:v>5.1466909971092055E-25</c:v>
                </c:pt>
                <c:pt idx="662">
                  <c:v>4.1475845673393972E-25</c:v>
                </c:pt>
                <c:pt idx="663">
                  <c:v>3.3423328191072516E-25</c:v>
                </c:pt>
                <c:pt idx="664">
                  <c:v>2.6933426833092898E-25</c:v>
                </c:pt>
                <c:pt idx="665">
                  <c:v>2.17030712369346E-25</c:v>
                </c:pt>
                <c:pt idx="666">
                  <c:v>1.7487938674675513E-25</c:v>
                </c:pt>
                <c:pt idx="667">
                  <c:v>1.4091073142835652E-25</c:v>
                </c:pt>
                <c:pt idx="668">
                  <c:v>1.1353707813773536E-25</c:v>
                </c:pt>
                <c:pt idx="669">
                  <c:v>9.1478645669944332E-26</c:v>
                </c:pt>
                <c:pt idx="670">
                  <c:v>7.3703867281131616E-26</c:v>
                </c:pt>
                <c:pt idx="671">
                  <c:v>5.9381276388811019E-26</c:v>
                </c:pt>
                <c:pt idx="672">
                  <c:v>4.7840713231916529E-26</c:v>
                </c:pt>
                <c:pt idx="673">
                  <c:v>3.8542047953614951E-26</c:v>
                </c:pt>
                <c:pt idx="674">
                  <c:v>3.1049964659898076E-26</c:v>
                </c:pt>
                <c:pt idx="675">
                  <c:v>2.5013632672406102E-26</c:v>
                </c:pt>
                <c:pt idx="676">
                  <c:v>2.0150318335842292E-26</c:v>
                </c:pt>
                <c:pt idx="677">
                  <c:v>1.6232174001938536E-26</c:v>
                </c:pt>
                <c:pt idx="678">
                  <c:v>1.3075588591226181E-26</c:v>
                </c:pt>
                <c:pt idx="679">
                  <c:v>1.0532603338456825E-26</c:v>
                </c:pt>
                <c:pt idx="680">
                  <c:v>8.4839924625306648E-27</c:v>
                </c:pt>
                <c:pt idx="681">
                  <c:v>6.8336860272005151E-27</c:v>
                </c:pt>
                <c:pt idx="682">
                  <c:v>5.5042747838398949E-27</c:v>
                </c:pt>
                <c:pt idx="683">
                  <c:v>4.4333872017260788E-27</c:v>
                </c:pt>
                <c:pt idx="684">
                  <c:v>3.5707695484471745E-27</c:v>
                </c:pt>
                <c:pt idx="685">
                  <c:v>2.8759326622944853E-27</c:v>
                </c:pt>
                <c:pt idx="686">
                  <c:v>2.3162554921624799E-27</c:v>
                </c:pt>
                <c:pt idx="687">
                  <c:v>1.8654567900068575E-27</c:v>
                </c:pt>
                <c:pt idx="688">
                  <c:v>1.5023635242115697E-27</c:v>
                </c:pt>
                <c:pt idx="689">
                  <c:v>1.2099184339188243E-27</c:v>
                </c:pt>
                <c:pt idx="690">
                  <c:v>9.7438031240728708E-28</c:v>
                </c:pt>
                <c:pt idx="691">
                  <c:v>7.8467961024504356E-28</c:v>
                </c:pt>
                <c:pt idx="692">
                  <c:v>6.3189920662473297E-28</c:v>
                </c:pt>
                <c:pt idx="693">
                  <c:v>5.0885604738874875E-28</c:v>
                </c:pt>
                <c:pt idx="694">
                  <c:v>4.0976406423674909E-28</c:v>
                </c:pt>
                <c:pt idx="695">
                  <c:v>3.2996259057339144E-28</c:v>
                </c:pt>
                <c:pt idx="696">
                  <c:v>2.6569755331190811E-28</c:v>
                </c:pt>
                <c:pt idx="697">
                  <c:v>2.1394518946579875E-28</c:v>
                </c:pt>
                <c:pt idx="698">
                  <c:v>1.7227002644380931E-28</c:v>
                </c:pt>
                <c:pt idx="699">
                  <c:v>1.3871046922703599E-28</c:v>
                </c:pt>
                <c:pt idx="700">
                  <c:v>1.1168663023712424E-28</c:v>
                </c:pt>
                <c:pt idx="701">
                  <c:v>8.9926079519725794E-29</c:v>
                </c:pt>
                <c:pt idx="702">
                  <c:v>7.2404032545216945E-29</c:v>
                </c:pt>
                <c:pt idx="703">
                  <c:v>5.8295169344144039E-29</c:v>
                </c:pt>
                <c:pt idx="704">
                  <c:v>4.6934824069610091E-29</c:v>
                </c:pt>
                <c:pt idx="705">
                  <c:v>3.7787723241135414E-29</c:v>
                </c:pt>
                <c:pt idx="706">
                  <c:v>3.0422805047097145E-29</c:v>
                </c:pt>
                <c:pt idx="707">
                  <c:v>2.4492937250311928E-29</c:v>
                </c:pt>
                <c:pt idx="708">
                  <c:v>1.9718581090595238E-29</c:v>
                </c:pt>
                <c:pt idx="709">
                  <c:v>1.5874633753236691E-29</c:v>
                </c:pt>
                <c:pt idx="710">
                  <c:v>1.2779831171994555E-29</c:v>
                </c:pt>
                <c:pt idx="711">
                  <c:v>1.0288213119428869E-29</c:v>
                </c:pt>
                <c:pt idx="712">
                  <c:v>8.2822493980091146E-30</c:v>
                </c:pt>
                <c:pt idx="713">
                  <c:v>6.6673039540306301E-30</c:v>
                </c:pt>
                <c:pt idx="714">
                  <c:v>5.3671765881416256E-30</c:v>
                </c:pt>
                <c:pt idx="715">
                  <c:v>4.3205125742417809E-30</c:v>
                </c:pt>
                <c:pt idx="716">
                  <c:v>3.4779112859111025E-30</c:v>
                </c:pt>
                <c:pt idx="717">
                  <c:v>2.7995977840573297E-30</c:v>
                </c:pt>
                <c:pt idx="718">
                  <c:v>2.253547794182445E-30</c:v>
                </c:pt>
                <c:pt idx="719">
                  <c:v>1.8139778146596953E-30</c:v>
                </c:pt>
                <c:pt idx="720">
                  <c:v>1.4601292771760205E-30</c:v>
                </c:pt>
                <c:pt idx="721">
                  <c:v>1.1752895095188751E-30</c:v>
                </c:pt>
                <c:pt idx="722">
                  <c:v>9.4600339458593204E-31</c:v>
                </c:pt>
                <c:pt idx="723">
                  <c:v>7.6143859329827753E-31</c:v>
                </c:pt>
                <c:pt idx="724">
                  <c:v>6.1287442733188003E-31</c:v>
                </c:pt>
                <c:pt idx="725">
                  <c:v>4.9329033847940263E-31</c:v>
                </c:pt>
                <c:pt idx="726">
                  <c:v>3.970345310582566E-31</c:v>
                </c:pt>
                <c:pt idx="727">
                  <c:v>3.195571791857085E-31</c:v>
                </c:pt>
                <c:pt idx="728">
                  <c:v>2.5719562205992686E-31</c:v>
                </c:pt>
                <c:pt idx="729">
                  <c:v>2.070014195957379E-31</c:v>
                </c:pt>
                <c:pt idx="730">
                  <c:v>1.6660111316228309E-31</c:v>
                </c:pt>
                <c:pt idx="731">
                  <c:v>1.3408412432700052E-31</c:v>
                </c:pt>
                <c:pt idx="732">
                  <c:v>1.0791250390557054E-31</c:v>
                </c:pt>
                <c:pt idx="733">
                  <c:v>8.6848273426141694E-32</c:v>
                </c:pt>
                <c:pt idx="734">
                  <c:v>6.9894930682642384E-32</c:v>
                </c:pt>
                <c:pt idx="735">
                  <c:v>5.6250358931050738E-32</c:v>
                </c:pt>
                <c:pt idx="736">
                  <c:v>4.5268917163591878E-32</c:v>
                </c:pt>
                <c:pt idx="737">
                  <c:v>3.6430921896139368E-32</c:v>
                </c:pt>
                <c:pt idx="738">
                  <c:v>2.9318079657996919E-32</c:v>
                </c:pt>
                <c:pt idx="739">
                  <c:v>2.3593710171937709E-32</c:v>
                </c:pt>
                <c:pt idx="740">
                  <c:v>1.8986826247907101E-32</c:v>
                </c:pt>
                <c:pt idx="741">
                  <c:v>1.5279318474808045E-32</c:v>
                </c:pt>
                <c:pt idx="742">
                  <c:v>1.2295639337720503E-32</c:v>
                </c:pt>
                <c:pt idx="743">
                  <c:v>9.8944994142428E-33</c:v>
                </c:pt>
                <c:pt idx="744">
                  <c:v>7.9621832769781717E-33</c:v>
                </c:pt>
                <c:pt idx="745">
                  <c:v>6.4071692576336738E-33</c:v>
                </c:pt>
                <c:pt idx="746">
                  <c:v>5.1557987706437199E-33</c:v>
                </c:pt>
                <c:pt idx="747">
                  <c:v>4.1487905110213771E-33</c:v>
                </c:pt>
                <c:pt idx="748">
                  <c:v>3.338434727269191E-33</c:v>
                </c:pt>
                <c:pt idx="749">
                  <c:v>2.6863349207674681E-33</c:v>
                </c:pt>
                <c:pt idx="750">
                  <c:v>2.161590185617802E-33</c:v>
                </c:pt>
                <c:pt idx="751">
                  <c:v>1.7393322269163602E-33</c:v>
                </c:pt>
                <c:pt idx="752">
                  <c:v>1.3995478681269953E-33</c:v>
                </c:pt>
                <c:pt idx="753">
                  <c:v>1.126131343656494E-33</c:v>
                </c:pt>
                <c:pt idx="754">
                  <c:v>9.061215474694564E-34</c:v>
                </c:pt>
                <c:pt idx="755">
                  <c:v>7.2908814648122071E-34</c:v>
                </c:pt>
                <c:pt idx="756">
                  <c:v>5.8663751180418978E-34</c:v>
                </c:pt>
                <c:pt idx="757">
                  <c:v>4.7201508646675208E-34</c:v>
                </c:pt>
                <c:pt idx="758">
                  <c:v>3.797853697450902E-34</c:v>
                </c:pt>
                <c:pt idx="759">
                  <c:v>3.0557437071505033E-34</c:v>
                </c:pt>
                <c:pt idx="760">
                  <c:v>2.4586233889700173E-34</c:v>
                </c:pt>
                <c:pt idx="761">
                  <c:v>1.9781695881221016E-34</c:v>
                </c:pt>
                <c:pt idx="762">
                  <c:v>1.5915911076683477E-34</c:v>
                </c:pt>
                <c:pt idx="763">
                  <c:v>1.2805484046515436E-34</c:v>
                </c:pt>
                <c:pt idx="764">
                  <c:v>1.0302842187130837E-34</c:v>
                </c:pt>
                <c:pt idx="765">
                  <c:v>8.2892395168276872E-35</c:v>
                </c:pt>
                <c:pt idx="766">
                  <c:v>6.6691266086739504E-35</c:v>
                </c:pt>
                <c:pt idx="767">
                  <c:v>5.3656199419752188E-35</c:v>
                </c:pt>
                <c:pt idx="768">
                  <c:v>4.3168560091142745E-35</c:v>
                </c:pt>
                <c:pt idx="769">
                  <c:v>3.4730574430785322E-35</c:v>
                </c:pt>
                <c:pt idx="770">
                  <c:v>2.7941721264277447E-35</c:v>
                </c:pt>
                <c:pt idx="771">
                  <c:v>2.2479734033692268E-35</c:v>
                </c:pt>
                <c:pt idx="772">
                  <c:v>1.8085313484637831E-35</c:v>
                </c:pt>
                <c:pt idx="773">
                  <c:v>1.4549826330255125E-35</c:v>
                </c:pt>
                <c:pt idx="774">
                  <c:v>1.1705406756798182E-35</c:v>
                </c:pt>
                <c:pt idx="775">
                  <c:v>9.4169914766872614E-36</c:v>
                </c:pt>
                <c:pt idx="776">
                  <c:v>7.5759107017141377E-36</c:v>
                </c:pt>
                <c:pt idx="777">
                  <c:v>6.0947311543608437E-36</c:v>
                </c:pt>
                <c:pt idx="778">
                  <c:v>4.9031065386767751E-36</c:v>
                </c:pt>
                <c:pt idx="779">
                  <c:v>3.9444387006394962E-36</c:v>
                </c:pt>
                <c:pt idx="780">
                  <c:v>3.1731911176497833E-36</c:v>
                </c:pt>
                <c:pt idx="781">
                  <c:v>2.5527272773314549E-36</c:v>
                </c:pt>
                <c:pt idx="782">
                  <c:v>2.0535714171582133E-36</c:v>
                </c:pt>
                <c:pt idx="783">
                  <c:v>1.6520091091613831E-36</c:v>
                </c:pt>
                <c:pt idx="784">
                  <c:v>1.3289612896062199E-36</c:v>
                </c:pt>
                <c:pt idx="785">
                  <c:v>1.0690783183127381E-36</c:v>
                </c:pt>
                <c:pt idx="786">
                  <c:v>8.6001106975711945E-37</c:v>
                </c:pt>
                <c:pt idx="787">
                  <c:v>6.9182447143100256E-37</c:v>
                </c:pt>
                <c:pt idx="788">
                  <c:v>5.5652565289086223E-37</c:v>
                </c:pt>
                <c:pt idx="789">
                  <c:v>4.4768431081940615E-37</c:v>
                </c:pt>
                <c:pt idx="790">
                  <c:v>3.6012727110462089E-37</c:v>
                </c:pt>
                <c:pt idx="791">
                  <c:v>2.8969274764705387E-37</c:v>
                </c:pt>
                <c:pt idx="792">
                  <c:v>2.3303263288326093E-37</c:v>
                </c:pt>
                <c:pt idx="793">
                  <c:v>1.8745343176582467E-37</c:v>
                </c:pt>
                <c:pt idx="794">
                  <c:v>1.5078828849912646E-37</c:v>
                </c:pt>
                <c:pt idx="795">
                  <c:v>1.2129402794783321E-37</c:v>
                </c:pt>
                <c:pt idx="796">
                  <c:v>9.7568323486010299E-38</c:v>
                </c:pt>
                <c:pt idx="797">
                  <c:v>7.8483057098804192E-38</c:v>
                </c:pt>
                <c:pt idx="798">
                  <c:v>6.3130706820312088E-38</c:v>
                </c:pt>
                <c:pt idx="799">
                  <c:v>5.0781215264057603E-38</c:v>
                </c:pt>
                <c:pt idx="800">
                  <c:v>4.0847290324080752E-38</c:v>
                </c:pt>
              </c:numCache>
            </c:numRef>
          </c:yVal>
          <c:smooth val="0"/>
          <c:extLst>
            <c:ext xmlns:c16="http://schemas.microsoft.com/office/drawing/2014/chart" uri="{C3380CC4-5D6E-409C-BE32-E72D297353CC}">
              <c16:uniqueId val="{0000000F-1D62-4DE3-8E9D-34C68BC76380}"/>
            </c:ext>
          </c:extLst>
        </c:ser>
        <c:ser>
          <c:idx val="14"/>
          <c:order val="14"/>
          <c:tx>
            <c:strRef>
              <c:f>Calc!$R$6</c:f>
              <c:strCache>
                <c:ptCount val="1"/>
                <c:pt idx="0">
                  <c:v>15</c:v>
                </c:pt>
              </c:strCache>
            </c:strRef>
          </c:tx>
          <c:spPr>
            <a:ln w="28575">
              <a:noFill/>
            </a:ln>
          </c:spPr>
          <c:marker>
            <c:symbol val="circle"/>
            <c:size val="3"/>
            <c:spPr>
              <a:solidFill>
                <a:srgbClr val="CC99FF"/>
              </a:solidFill>
              <a:ln>
                <a:solidFill>
                  <a:srgbClr val="CC99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R$7:$R$807</c:f>
              <c:numCache>
                <c:formatCode>000,000,000</c:formatCode>
                <c:ptCount val="801"/>
                <c:pt idx="0">
                  <c:v>9.0594664895663647E-38</c:v>
                </c:pt>
                <c:pt idx="1">
                  <c:v>1.1132414799382609E-37</c:v>
                </c:pt>
                <c:pt idx="2">
                  <c:v>1.367960782681701E-37</c:v>
                </c:pt>
                <c:pt idx="3">
                  <c:v>1.6809523104839951E-37</c:v>
                </c:pt>
                <c:pt idx="4">
                  <c:v>2.065544635641129E-37</c:v>
                </c:pt>
                <c:pt idx="5">
                  <c:v>2.5381143839583246E-37</c:v>
                </c:pt>
                <c:pt idx="6">
                  <c:v>3.1187831383196784E-37</c:v>
                </c:pt>
                <c:pt idx="7">
                  <c:v>3.8322736466344046E-37</c:v>
                </c:pt>
                <c:pt idx="8">
                  <c:v>4.7089617408276394E-37</c:v>
                </c:pt>
                <c:pt idx="9">
                  <c:v>5.7861686916587475E-37</c:v>
                </c:pt>
                <c:pt idx="10">
                  <c:v>7.1097489422660936E-37</c:v>
                </c:pt>
                <c:pt idx="11">
                  <c:v>8.7360407153041034E-37</c:v>
                </c:pt>
                <c:pt idx="12">
                  <c:v>1.0734262407277354E-36</c:v>
                </c:pt>
                <c:pt idx="13">
                  <c:v>1.3189456623726705E-36</c:v>
                </c:pt>
                <c:pt idx="14">
                  <c:v>1.6206106974249668E-36</c:v>
                </c:pt>
                <c:pt idx="15">
                  <c:v>1.9912581324369575E-36</c:v>
                </c:pt>
                <c:pt idx="16">
                  <c:v>2.446659030482623E-36</c:v>
                </c:pt>
                <c:pt idx="17">
                  <c:v>3.0061892997498815E-36</c:v>
                </c:pt>
                <c:pt idx="18">
                  <c:v>3.6936534680379024E-36</c:v>
                </c:pt>
                <c:pt idx="19">
                  <c:v>4.5382966568714642E-36</c:v>
                </c:pt>
                <c:pt idx="20">
                  <c:v>5.5760477395215627E-36</c:v>
                </c:pt>
                <c:pt idx="21">
                  <c:v>6.8510464818204308E-36</c:v>
                </c:pt>
                <c:pt idx="22">
                  <c:v>8.4175195195235222E-36</c:v>
                </c:pt>
                <c:pt idx="23">
                  <c:v>1.0342084832268043E-35</c:v>
                </c:pt>
                <c:pt idx="24">
                  <c:v>1.2706582559696158E-35</c:v>
                </c:pt>
                <c:pt idx="25">
                  <c:v>1.5611552341028408E-35</c:v>
                </c:pt>
                <c:pt idx="26">
                  <c:v>1.9180504792050543E-35</c:v>
                </c:pt>
                <c:pt idx="27">
                  <c:v>2.3565168425865469E-35</c:v>
                </c:pt>
                <c:pt idx="28">
                  <c:v>2.8951934703647516E-35</c:v>
                </c:pt>
                <c:pt idx="29">
                  <c:v>3.5569774722481727E-35</c:v>
                </c:pt>
                <c:pt idx="30">
                  <c:v>4.3699963462253239E-35</c:v>
                </c:pt>
                <c:pt idx="31">
                  <c:v>5.3688024166587673E-35</c:v>
                </c:pt>
                <c:pt idx="32">
                  <c:v>6.5958399570727055E-35</c:v>
                </c:pt>
                <c:pt idx="33">
                  <c:v>8.1032472298765136E-35</c:v>
                </c:pt>
                <c:pt idx="34">
                  <c:v>9.95506987293951E-35</c:v>
                </c:pt>
                <c:pt idx="35">
                  <c:v>1.2229979498427504E-34</c:v>
                </c:pt>
                <c:pt idx="36">
                  <c:v>1.5024612780747587E-34</c:v>
                </c:pt>
                <c:pt idx="37">
                  <c:v>1.8457672604072367E-34</c:v>
                </c:pt>
                <c:pt idx="38">
                  <c:v>2.2674965128542818E-34</c:v>
                </c:pt>
                <c:pt idx="39">
                  <c:v>2.7855586284099843E-34</c:v>
                </c:pt>
                <c:pt idx="40">
                  <c:v>3.4219519889552494E-34</c:v>
                </c:pt>
                <c:pt idx="41">
                  <c:v>4.2036969381498506E-34</c:v>
                </c:pt>
                <c:pt idx="42">
                  <c:v>5.1639818551865311E-34</c:v>
                </c:pt>
                <c:pt idx="43">
                  <c:v>6.3435706838645994E-34</c:v>
                </c:pt>
                <c:pt idx="44">
                  <c:v>7.7925315403445823E-34</c:v>
                </c:pt>
                <c:pt idx="45">
                  <c:v>9.5723596141184793E-34</c:v>
                </c:pt>
                <c:pt idx="46">
                  <c:v>1.1758584264634821E-33</c:v>
                </c:pt>
                <c:pt idx="47">
                  <c:v>1.4443970705920299E-33</c:v>
                </c:pt>
                <c:pt idx="48">
                  <c:v>1.7742451829222115E-33</c:v>
                </c:pt>
                <c:pt idx="49">
                  <c:v>2.1793956601981467E-33</c:v>
                </c:pt>
                <c:pt idx="50">
                  <c:v>2.6770339405080691E-33</c:v>
                </c:pt>
                <c:pt idx="51">
                  <c:v>3.2882661230841462E-33</c:v>
                </c:pt>
                <c:pt idx="52">
                  <c:v>4.0390130827767234E-33</c:v>
                </c:pt>
                <c:pt idx="53">
                  <c:v>4.9611084057699586E-33</c:v>
                </c:pt>
                <c:pt idx="54">
                  <c:v>6.0936465889273401E-33</c:v>
                </c:pt>
                <c:pt idx="55">
                  <c:v>7.4846385224174616E-33</c:v>
                </c:pt>
                <c:pt idx="56">
                  <c:v>9.1930442602784282E-33</c:v>
                </c:pt>
                <c:pt idx="57">
                  <c:v>1.1291269024104395E-32</c:v>
                </c:pt>
                <c:pt idx="58">
                  <c:v>1.3868227953410805E-32</c:v>
                </c:pt>
                <c:pt idx="59">
                  <c:v>1.7033109137634179E-32</c:v>
                </c:pt>
                <c:pt idx="60">
                  <c:v>2.0919993951909828E-32</c:v>
                </c:pt>
                <c:pt idx="61">
                  <c:v>2.5693529914666297E-32</c:v>
                </c:pt>
                <c:pt idx="62">
                  <c:v>3.1555895715127554E-32</c:v>
                </c:pt>
                <c:pt idx="63">
                  <c:v>3.8755352595016861E-32</c:v>
                </c:pt>
                <c:pt idx="64">
                  <c:v>4.7596743208508301E-32</c:v>
                </c:pt>
                <c:pt idx="65">
                  <c:v>5.8454381246991516E-32</c:v>
                </c:pt>
                <c:pt idx="66">
                  <c:v>7.1787875960170759E-32</c:v>
                </c:pt>
                <c:pt idx="67">
                  <c:v>8.816155947770251E-32</c:v>
                </c:pt>
                <c:pt idx="68">
                  <c:v>1.0826833674541981E-31</c:v>
                </c:pt>
                <c:pt idx="69">
                  <c:v>1.329589643292412E-31</c:v>
                </c:pt>
                <c:pt idx="70">
                  <c:v>1.6327799315146463E-31</c:v>
                </c:pt>
                <c:pt idx="71">
                  <c:v>2.0050789103181177E-31</c:v>
                </c:pt>
                <c:pt idx="72">
                  <c:v>2.4622320551679835E-31</c:v>
                </c:pt>
                <c:pt idx="73">
                  <c:v>3.0235705038272304E-31</c:v>
                </c:pt>
                <c:pt idx="74">
                  <c:v>3.7128271816356538E-31</c:v>
                </c:pt>
                <c:pt idx="75">
                  <c:v>4.559138578907722E-31</c:v>
                </c:pt>
                <c:pt idx="76">
                  <c:v>5.598274386884797E-31</c:v>
                </c:pt>
                <c:pt idx="77">
                  <c:v>6.8741467876343565E-31</c:v>
                </c:pt>
                <c:pt idx="78">
                  <c:v>8.4406629592196167E-31</c:v>
                </c:pt>
                <c:pt idx="79">
                  <c:v>1.0363998794227628E-30</c:v>
                </c:pt>
                <c:pt idx="80">
                  <c:v>1.2725389543130341E-30</c:v>
                </c:pt>
                <c:pt idx="81">
                  <c:v>1.5624554827053287E-30</c:v>
                </c:pt>
                <c:pt idx="82">
                  <c:v>1.9183902128777105E-30</c:v>
                </c:pt>
                <c:pt idx="83">
                  <c:v>2.3553685584156869E-30</c:v>
                </c:pt>
                <c:pt idx="84">
                  <c:v>2.8918337029743355E-30</c:v>
                </c:pt>
                <c:pt idx="85">
                  <c:v>3.5504235497955294E-30</c:v>
                </c:pt>
                <c:pt idx="86">
                  <c:v>4.3589241751053498E-30</c:v>
                </c:pt>
                <c:pt idx="87">
                  <c:v>5.3514398538846459E-30</c:v>
                </c:pt>
                <c:pt idx="88">
                  <c:v>6.5698288154257982E-30</c:v>
                </c:pt>
                <c:pt idx="89">
                  <c:v>8.0654650349454643E-30</c:v>
                </c:pt>
                <c:pt idx="90">
                  <c:v>9.9014000427466158E-30</c:v>
                </c:pt>
                <c:pt idx="91">
                  <c:v>1.2155015505964343E-29</c:v>
                </c:pt>
                <c:pt idx="92">
                  <c:v>1.4921277911087644E-29</c:v>
                </c:pt>
                <c:pt idx="93">
                  <c:v>1.8316731908085859E-29</c:v>
                </c:pt>
                <c:pt idx="94">
                  <c:v>2.2484399823366805E-29</c:v>
                </c:pt>
                <c:pt idx="95">
                  <c:v>2.7599792801451978E-29</c:v>
                </c:pt>
                <c:pt idx="96">
                  <c:v>3.3878285578829266E-29</c:v>
                </c:pt>
                <c:pt idx="97">
                  <c:v>4.158416397051575E-29</c:v>
                </c:pt>
                <c:pt idx="98">
                  <c:v>5.1041724141820338E-29</c:v>
                </c:pt>
                <c:pt idx="99">
                  <c:v>6.2648888563786977E-29</c:v>
                </c:pt>
                <c:pt idx="100">
                  <c:v>7.6893908788974746E-29</c:v>
                </c:pt>
                <c:pt idx="101">
                  <c:v>9.4375854220462157E-29</c:v>
                </c:pt>
                <c:pt idx="102">
                  <c:v>1.1582974425667081E-28</c:v>
                </c:pt>
                <c:pt idx="103">
                  <c:v>1.421573751661871E-28</c:v>
                </c:pt>
                <c:pt idx="104">
                  <c:v>1.7446513085414684E-28</c:v>
                </c:pt>
                <c:pt idx="105">
                  <c:v>2.1411035822026839E-28</c:v>
                </c:pt>
                <c:pt idx="106">
                  <c:v>2.6275824520307518E-28</c:v>
                </c:pt>
                <c:pt idx="107">
                  <c:v>3.2245157771437839E-28</c:v>
                </c:pt>
                <c:pt idx="108">
                  <c:v>3.9569628869783629E-28</c:v>
                </c:pt>
                <c:pt idx="109">
                  <c:v>4.8556637080305083E-28</c:v>
                </c:pt>
                <c:pt idx="110">
                  <c:v>5.9583253098248378E-28</c:v>
                </c:pt>
                <c:pt idx="111">
                  <c:v>7.3111995417529826E-28</c:v>
                </c:pt>
                <c:pt idx="112">
                  <c:v>8.9710175515981773E-28</c:v>
                </c:pt>
                <c:pt idx="113">
                  <c:v>1.1007361828830004E-27</c:v>
                </c:pt>
                <c:pt idx="114">
                  <c:v>1.3505574616618498E-27</c:v>
                </c:pt>
                <c:pt idx="115">
                  <c:v>1.6570323839906776E-27</c:v>
                </c:pt>
                <c:pt idx="116">
                  <c:v>2.0329975026185769E-27</c:v>
                </c:pt>
                <c:pt idx="117">
                  <c:v>2.4941951181764369E-27</c:v>
                </c:pt>
                <c:pt idx="118">
                  <c:v>3.0599303614268398E-27</c:v>
                </c:pt>
                <c:pt idx="119">
                  <c:v>3.7538766957925393E-27</c:v>
                </c:pt>
                <c:pt idx="120">
                  <c:v>4.6050633238622393E-27</c:v>
                </c:pt>
                <c:pt idx="121">
                  <c:v>5.6490855253773175E-27</c:v>
                </c:pt>
                <c:pt idx="122">
                  <c:v>6.9295881951081893E-27</c:v>
                </c:pt>
                <c:pt idx="123">
                  <c:v>8.5000841682138961E-27</c:v>
                </c:pt>
                <c:pt idx="124">
                  <c:v>1.042618278478176E-26</c:v>
                </c:pt>
                <c:pt idx="125">
                  <c:v>1.2788321125481096E-26</c:v>
                </c:pt>
                <c:pt idx="126">
                  <c:v>1.5685111145848039E-26</c:v>
                </c:pt>
                <c:pt idx="127">
                  <c:v>1.9237441403434451E-26</c:v>
                </c:pt>
                <c:pt idx="128">
                  <c:v>2.359350325729002E-26</c:v>
                </c:pt>
                <c:pt idx="129">
                  <c:v>2.8934949604799877E-26</c:v>
                </c:pt>
                <c:pt idx="130">
                  <c:v>3.5484440975258496E-26</c:v>
                </c:pt>
                <c:pt idx="131">
                  <c:v>4.35148910420447E-26</c:v>
                </c:pt>
                <c:pt idx="132">
                  <c:v>5.3360793694052288E-26</c:v>
                </c:pt>
                <c:pt idx="133">
                  <c:v>6.5432099595161988E-26</c:v>
                </c:pt>
                <c:pt idx="134">
                  <c:v>8.0231215172471324E-26</c:v>
                </c:pt>
                <c:pt idx="135">
                  <c:v>9.8373825509002411E-26</c:v>
                </c:pt>
                <c:pt idx="136">
                  <c:v>1.2061439993305669E-25</c:v>
                </c:pt>
                <c:pt idx="137">
                  <c:v>1.4787743162570951E-25</c:v>
                </c:pt>
                <c:pt idx="138">
                  <c:v>1.8129569817530921E-25</c:v>
                </c:pt>
                <c:pt idx="139">
                  <c:v>2.2225711831106174E-25</c:v>
                </c:pt>
                <c:pt idx="140">
                  <c:v>2.7246213280697491E-25</c:v>
                </c:pt>
                <c:pt idx="141">
                  <c:v>3.3399396914065626E-25</c:v>
                </c:pt>
                <c:pt idx="142">
                  <c:v>4.0940467749657101E-25</c:v>
                </c:pt>
                <c:pt idx="143">
                  <c:v>5.0182047160687283E-25</c:v>
                </c:pt>
                <c:pt idx="144">
                  <c:v>6.15070697988802E-25</c:v>
                </c:pt>
                <c:pt idx="145">
                  <c:v>7.5384572346392166E-25</c:v>
                </c:pt>
                <c:pt idx="146">
                  <c:v>9.2389021265795909E-25</c:v>
                </c:pt>
                <c:pt idx="147">
                  <c:v>1.1322397124131368E-24</c:v>
                </c:pt>
                <c:pt idx="148">
                  <c:v>1.387510227262455E-24</c:v>
                </c:pt>
                <c:pt idx="149">
                  <c:v>1.7002526308656293E-24</c:v>
                </c:pt>
                <c:pt idx="150">
                  <c:v>2.0833863999917695E-24</c:v>
                </c:pt>
                <c:pt idx="151">
                  <c:v>2.5527303870093952E-24</c:v>
                </c:pt>
                <c:pt idx="152">
                  <c:v>3.1276522942920552E-24</c:v>
                </c:pt>
                <c:pt idx="153">
                  <c:v>3.8318633386887705E-24</c:v>
                </c:pt>
                <c:pt idx="154">
                  <c:v>4.6943904906527613E-24</c:v>
                </c:pt>
                <c:pt idx="155">
                  <c:v>5.7507658781348649E-24</c:v>
                </c:pt>
                <c:pt idx="156">
                  <c:v>7.0444817496823926E-24</c:v>
                </c:pt>
                <c:pt idx="157">
                  <c:v>8.628770148027558E-24</c:v>
                </c:pt>
                <c:pt idx="158">
                  <c:v>1.0568779586468822E-23</c:v>
                </c:pt>
                <c:pt idx="159">
                  <c:v>1.2944237072290573E-23</c:v>
                </c:pt>
                <c:pt idx="160">
                  <c:v>1.5852703427097599E-23</c:v>
                </c:pt>
                <c:pt idx="161">
                  <c:v>1.9413553797374624E-23</c:v>
                </c:pt>
                <c:pt idx="162">
                  <c:v>2.3772844486405064E-23</c:v>
                </c:pt>
                <c:pt idx="163">
                  <c:v>2.9109262937537575E-23</c:v>
                </c:pt>
                <c:pt idx="164">
                  <c:v>3.5641401281518369E-23</c:v>
                </c:pt>
                <c:pt idx="165">
                  <c:v>4.3636647062093871E-23</c:v>
                </c:pt>
                <c:pt idx="166">
                  <c:v>5.3422049689501758E-23</c:v>
                </c:pt>
                <c:pt idx="167">
                  <c:v>6.5397600419233368E-23</c:v>
                </c:pt>
                <c:pt idx="168">
                  <c:v>8.0052460356186221E-23</c:v>
                </c:pt>
                <c:pt idx="169">
                  <c:v>9.7984788971865427E-23</c:v>
                </c:pt>
                <c:pt idx="170">
                  <c:v>1.1992596956102016E-22</c:v>
                </c:pt>
                <c:pt idx="171">
                  <c:v>1.4677020363909251E-22</c:v>
                </c:pt>
                <c:pt idx="172">
                  <c:v>1.7961066041792622E-22</c:v>
                </c:pt>
                <c:pt idx="173">
                  <c:v>2.1978362862790219E-22</c:v>
                </c:pt>
                <c:pt idx="174">
                  <c:v>2.6892243634957674E-22</c:v>
                </c:pt>
                <c:pt idx="175">
                  <c:v>3.2902329267987079E-22</c:v>
                </c:pt>
                <c:pt idx="176">
                  <c:v>4.0252567820632764E-22</c:v>
                </c:pt>
                <c:pt idx="177">
                  <c:v>4.9241048792058502E-22</c:v>
                </c:pt>
                <c:pt idx="178">
                  <c:v>6.0231983290867068E-22</c:v>
                </c:pt>
                <c:pt idx="179">
                  <c:v>7.3670326333247408E-22</c:v>
                </c:pt>
                <c:pt idx="180">
                  <c:v>9.0099621821950324E-22</c:v>
                </c:pt>
                <c:pt idx="181">
                  <c:v>1.1018377779726794E-21</c:v>
                </c:pt>
                <c:pt idx="182">
                  <c:v>1.3473363426228892E-21</c:v>
                </c:pt>
                <c:pt idx="183">
                  <c:v>1.6473937426384467E-21</c:v>
                </c:pt>
                <c:pt idx="184">
                  <c:v>2.0141005824589257E-21</c:v>
                </c:pt>
                <c:pt idx="185">
                  <c:v>2.4622184084016788E-21</c:v>
                </c:pt>
                <c:pt idx="186">
                  <c:v>3.009767689798436E-21</c:v>
                </c:pt>
                <c:pt idx="187">
                  <c:v>3.6787447358563983E-21</c:v>
                </c:pt>
                <c:pt idx="188">
                  <c:v>4.4959956995277019E-21</c:v>
                </c:pt>
                <c:pt idx="189">
                  <c:v>5.4942819363196514E-21</c:v>
                </c:pt>
                <c:pt idx="190">
                  <c:v>6.7135784244145789E-21</c:v>
                </c:pt>
                <c:pt idx="191">
                  <c:v>8.2026559965704974E-21</c:v>
                </c:pt>
                <c:pt idx="192">
                  <c:v>1.0021009128479528E-20</c:v>
                </c:pt>
                <c:pt idx="193">
                  <c:v>1.2241204390351219E-20</c:v>
                </c:pt>
                <c:pt idx="194">
                  <c:v>1.4951740905134209E-20</c:v>
                </c:pt>
                <c:pt idx="195">
                  <c:v>1.8260533882218125E-20</c:v>
                </c:pt>
                <c:pt idx="196">
                  <c:v>2.2299156254223817E-20</c:v>
                </c:pt>
                <c:pt idx="197">
                  <c:v>2.722800253872512E-20</c:v>
                </c:pt>
                <c:pt idx="198">
                  <c:v>3.3242574369386386E-20</c:v>
                </c:pt>
                <c:pt idx="199">
                  <c:v>4.0581130015634655E-20</c:v>
                </c:pt>
                <c:pt idx="200">
                  <c:v>4.9533992239157412E-20</c:v>
                </c:pt>
                <c:pt idx="201">
                  <c:v>6.0454871958943197E-20</c:v>
                </c:pt>
                <c:pt idx="202">
                  <c:v>7.3774641761416462E-20</c:v>
                </c:pt>
                <c:pt idx="203">
                  <c:v>9.0018086137670731E-20</c:v>
                </c:pt>
                <c:pt idx="204">
                  <c:v>1.0982426788951205E-19</c:v>
                </c:pt>
                <c:pt idx="205">
                  <c:v>1.3397128657078956E-19</c:v>
                </c:pt>
                <c:pt idx="206">
                  <c:v>1.6340637013692294E-19</c:v>
                </c:pt>
                <c:pt idx="207">
                  <c:v>1.9928244122426493E-19</c:v>
                </c:pt>
                <c:pt idx="208">
                  <c:v>2.4300254199166038E-19</c:v>
                </c:pt>
                <c:pt idx="209">
                  <c:v>2.9627379506667978E-19</c:v>
                </c:pt>
                <c:pt idx="210">
                  <c:v>3.6117293351396892E-19</c:v>
                </c:pt>
                <c:pt idx="211">
                  <c:v>4.402258627512393E-19</c:v>
                </c:pt>
                <c:pt idx="212">
                  <c:v>5.3650423749856507E-19</c:v>
                </c:pt>
                <c:pt idx="213">
                  <c:v>6.5374266586789882E-19</c:v>
                </c:pt>
                <c:pt idx="214">
                  <c:v>7.964809131306088E-19</c:v>
                </c:pt>
                <c:pt idx="215">
                  <c:v>9.7023639670081606E-19</c:v>
                </c:pt>
                <c:pt idx="216">
                  <c:v>1.181713374151132E-18</c:v>
                </c:pt>
                <c:pt idx="217">
                  <c:v>1.4390565670005705E-18</c:v>
                </c:pt>
                <c:pt idx="218">
                  <c:v>1.752158581952936E-18</c:v>
                </c:pt>
                <c:pt idx="219">
                  <c:v>2.1330324451820816E-18</c:v>
                </c:pt>
                <c:pt idx="220">
                  <c:v>2.596262922641813E-18</c:v>
                </c:pt>
                <c:pt idx="221">
                  <c:v>3.1595531425114846E-18</c:v>
                </c:pt>
                <c:pt idx="222">
                  <c:v>3.844386463604714E-18</c:v>
                </c:pt>
                <c:pt idx="223">
                  <c:v>4.6768276645166561E-18</c:v>
                </c:pt>
                <c:pt idx="224">
                  <c:v>5.6884925048317091E-18</c:v>
                </c:pt>
                <c:pt idx="225">
                  <c:v>6.9177207026028849E-18</c:v>
                </c:pt>
                <c:pt idx="226">
                  <c:v>8.4109945862234535E-18</c:v>
                </c:pt>
                <c:pt idx="227">
                  <c:v>1.0224654358968032E-17</c:v>
                </c:pt>
                <c:pt idx="228">
                  <c:v>1.2426971354538572E-17</c:v>
                </c:pt>
                <c:pt idx="229">
                  <c:v>1.5100653213373564E-17</c:v>
                </c:pt>
                <c:pt idx="230">
                  <c:v>1.8345869992668086E-17</c:v>
                </c:pt>
                <c:pt idx="231">
                  <c:v>2.2283908340644632E-17</c:v>
                </c:pt>
                <c:pt idx="232">
                  <c:v>2.7061582618091995E-17</c:v>
                </c:pt>
                <c:pt idx="233">
                  <c:v>3.2856557954722817E-17</c:v>
                </c:pt>
                <c:pt idx="234">
                  <c:v>3.988377154022253E-17</c:v>
                </c:pt>
                <c:pt idx="235">
                  <c:v>4.8403175990704012E-17</c:v>
                </c:pt>
                <c:pt idx="236">
                  <c:v>5.8729073617164589E-17</c:v>
                </c:pt>
                <c:pt idx="237">
                  <c:v>7.1241364302565289E-17</c:v>
                </c:pt>
                <c:pt idx="238">
                  <c:v>8.6399094193225702E-17</c:v>
                </c:pt>
                <c:pt idx="239">
                  <c:v>1.0475676958016358E-16</c:v>
                </c:pt>
                <c:pt idx="240">
                  <c:v>1.2698399262587421E-16</c:v>
                </c:pt>
                <c:pt idx="241">
                  <c:v>1.5388908587900502E-16</c:v>
                </c:pt>
                <c:pt idx="242">
                  <c:v>1.8644750425237917E-16</c:v>
                </c:pt>
                <c:pt idx="243">
                  <c:v>2.2583599039777026E-16</c:v>
                </c:pt>
                <c:pt idx="244">
                  <c:v>2.7347361702788102E-16</c:v>
                </c:pt>
                <c:pt idx="245">
                  <c:v>3.3107108343702424E-16</c:v>
                </c:pt>
                <c:pt idx="246">
                  <c:v>4.0068990003115259E-16</c:v>
                </c:pt>
                <c:pt idx="247">
                  <c:v>4.8481341210397838E-16</c:v>
                </c:pt>
                <c:pt idx="248">
                  <c:v>5.8643199185034443E-16</c:v>
                </c:pt>
                <c:pt idx="249">
                  <c:v>7.0914517685607294E-16</c:v>
                </c:pt>
                <c:pt idx="250">
                  <c:v>8.5728406721384086E-16</c:v>
                </c:pt>
                <c:pt idx="251">
                  <c:v>1.0360579274977704E-15</c:v>
                </c:pt>
                <c:pt idx="252">
                  <c:v>1.2517296923447963E-15</c:v>
                </c:pt>
                <c:pt idx="253">
                  <c:v>1.5118259668051913E-15</c:v>
                </c:pt>
                <c:pt idx="254">
                  <c:v>1.8253881701569338E-15</c:v>
                </c:pt>
                <c:pt idx="255">
                  <c:v>2.2032727241206531E-15</c:v>
                </c:pt>
                <c:pt idx="256">
                  <c:v>2.6585096680510666E-15</c:v>
                </c:pt>
                <c:pt idx="257">
                  <c:v>3.2067308353377719E-15</c:v>
                </c:pt>
                <c:pt idx="258">
                  <c:v>3.8666807944281679E-15</c:v>
                </c:pt>
                <c:pt idx="259">
                  <c:v>4.6608262000939758E-15</c:v>
                </c:pt>
                <c:pt idx="260">
                  <c:v>5.6160820805679262E-15</c:v>
                </c:pt>
                <c:pt idx="261">
                  <c:v>6.7646769794607913E-15</c:v>
                </c:pt>
                <c:pt idx="262">
                  <c:v>8.145182865804694E-15</c:v>
                </c:pt>
                <c:pt idx="263">
                  <c:v>9.8037404232931994E-15</c:v>
                </c:pt>
                <c:pt idx="264">
                  <c:v>1.1795515849403773E-14</c:v>
                </c:pt>
                <c:pt idx="265">
                  <c:v>1.4186431774068742E-14</c:v>
                </c:pt>
                <c:pt idx="266">
                  <c:v>1.7055222505091757E-14</c:v>
                </c:pt>
                <c:pt idx="267">
                  <c:v>2.0495872707592126E-14</c:v>
                </c:pt>
                <c:pt idx="268">
                  <c:v>2.4620509039801885E-14</c:v>
                </c:pt>
                <c:pt idx="269">
                  <c:v>2.9562826442316069E-14</c:v>
                </c:pt>
                <c:pt idx="270">
                  <c:v>3.5482144994077014E-14</c:v>
                </c:pt>
                <c:pt idx="271">
                  <c:v>4.2568209829455545E-14</c:v>
                </c:pt>
                <c:pt idx="272">
                  <c:v>5.1046865927803567E-14</c:v>
                </c:pt>
                <c:pt idx="273">
                  <c:v>6.1186762064398229E-14</c:v>
                </c:pt>
                <c:pt idx="274">
                  <c:v>7.3307264334954562E-14</c:v>
                </c:pt>
                <c:pt idx="275">
                  <c:v>8.7787789988065435E-14</c:v>
                </c:pt>
                <c:pt idx="276">
                  <c:v>1.0507880745054186E-13</c:v>
                </c:pt>
                <c:pt idx="277">
                  <c:v>1.2571478912462989E-13</c:v>
                </c:pt>
                <c:pt idx="278">
                  <c:v>1.5032945058349988E-13</c:v>
                </c:pt>
                <c:pt idx="279">
                  <c:v>1.7967366410806261E-13</c:v>
                </c:pt>
                <c:pt idx="280">
                  <c:v>2.1463649712693479E-13</c:v>
                </c:pt>
                <c:pt idx="281">
                  <c:v>2.5626989820427704E-13</c:v>
                </c:pt>
                <c:pt idx="282">
                  <c:v>3.0581763607102606E-13</c:v>
                </c:pt>
                <c:pt idx="283">
                  <c:v>3.6474919227287971E-13</c:v>
                </c:pt>
                <c:pt idx="284">
                  <c:v>4.3479941694089203E-13</c:v>
                </c:pt>
                <c:pt idx="285">
                  <c:v>5.180148817886704E-13</c:v>
                </c:pt>
                <c:pt idx="286">
                  <c:v>6.1680800671111526E-13</c:v>
                </c:pt>
                <c:pt idx="287">
                  <c:v>7.3402019852212839E-13</c:v>
                </c:pt>
                <c:pt idx="288">
                  <c:v>8.7299542486398523E-13</c:v>
                </c:pt>
                <c:pt idx="289">
                  <c:v>1.0376658558273547E-12</c:v>
                </c:pt>
                <c:pt idx="290">
                  <c:v>1.232651443261773E-12</c:v>
                </c:pt>
                <c:pt idx="291">
                  <c:v>1.4633755763098821E-12</c:v>
                </c:pt>
                <c:pt idx="292">
                  <c:v>1.7361992548025991E-12</c:v>
                </c:pt>
                <c:pt idx="293">
                  <c:v>2.0585765635043281E-12</c:v>
                </c:pt>
                <c:pt idx="294">
                  <c:v>2.4392346137524299E-12</c:v>
                </c:pt>
                <c:pt idx="295">
                  <c:v>2.8883815489948495E-12</c:v>
                </c:pt>
                <c:pt idx="296">
                  <c:v>3.4179466915251074E-12</c:v>
                </c:pt>
                <c:pt idx="297">
                  <c:v>4.0418574439782884E-12</c:v>
                </c:pt>
                <c:pt idx="298">
                  <c:v>4.7763581556865911E-12</c:v>
                </c:pt>
                <c:pt idx="299">
                  <c:v>5.640376825713909E-12</c:v>
                </c:pt>
                <c:pt idx="300">
                  <c:v>6.6559462462654407E-12</c:v>
                </c:pt>
                <c:pt idx="301">
                  <c:v>7.8486869971443129E-12</c:v>
                </c:pt>
                <c:pt idx="302">
                  <c:v>9.2483605888181264E-12</c:v>
                </c:pt>
                <c:pt idx="303">
                  <c:v>1.0889502023032166E-11</c:v>
                </c:pt>
                <c:pt idx="304">
                  <c:v>1.2812142099946117E-11</c:v>
                </c:pt>
                <c:pt idx="305">
                  <c:v>1.5062630953097461E-11</c:v>
                </c:pt>
                <c:pt idx="306">
                  <c:v>1.7694575540970124E-11</c:v>
                </c:pt>
                <c:pt idx="307">
                  <c:v>2.0769905168460472E-11</c:v>
                </c:pt>
                <c:pt idx="308">
                  <c:v>2.4360080553714358E-11</c:v>
                </c:pt>
                <c:pt idx="309">
                  <c:v>2.8547463494772471E-11</c:v>
                </c:pt>
                <c:pt idx="310">
                  <c:v>3.3426865823435269E-11</c:v>
                </c:pt>
                <c:pt idx="311">
                  <c:v>3.9107298055769259E-11</c:v>
                </c:pt>
                <c:pt idx="312">
                  <c:v>4.5713939952106426E-11</c:v>
                </c:pt>
                <c:pt idx="313">
                  <c:v>5.3390357073562453E-11</c:v>
                </c:pt>
                <c:pt idx="314">
                  <c:v>6.2300989352859768E-11</c:v>
                </c:pt>
                <c:pt idx="315">
                  <c:v>7.2633939666369055E-11</c:v>
                </c:pt>
                <c:pt idx="316">
                  <c:v>8.4604092379085405E-11</c:v>
                </c:pt>
                <c:pt idx="317">
                  <c:v>9.8456593806988145E-11</c:v>
                </c:pt>
                <c:pt idx="318">
                  <c:v>1.1447072846855429E-10</c:v>
                </c:pt>
                <c:pt idx="319">
                  <c:v>1.3296422683968678E-10</c:v>
                </c:pt>
                <c:pt idx="320">
                  <c:v>1.5429804203800592E-10</c:v>
                </c:pt>
                <c:pt idx="321">
                  <c:v>1.788816343901172E-10</c:v>
                </c:pt>
                <c:pt idx="322">
                  <c:v>2.0717880411873943E-10</c:v>
                </c:pt>
                <c:pt idx="323">
                  <c:v>2.3971411335683081E-10</c:v>
                </c:pt>
                <c:pt idx="324">
                  <c:v>2.7707993927689926E-10</c:v>
                </c:pt>
                <c:pt idx="325">
                  <c:v>3.1994420023068695E-10</c:v>
                </c:pt>
                <c:pt idx="326">
                  <c:v>3.6905879633501494E-10</c:v>
                </c:pt>
                <c:pt idx="327">
                  <c:v>4.2526880481281003E-10</c:v>
                </c:pt>
                <c:pt idx="328">
                  <c:v>4.8952246849692083E-10</c:v>
                </c:pt>
                <c:pt idx="329">
                  <c:v>5.62882013112844E-10</c:v>
                </c:pt>
                <c:pt idx="330">
                  <c:v>6.4653532515581361E-10</c:v>
                </c:pt>
                <c:pt idx="331">
                  <c:v>7.4180851724215778E-10</c:v>
                </c:pt>
                <c:pt idx="332">
                  <c:v>8.501794016184446E-10</c:v>
                </c:pt>
                <c:pt idx="333">
                  <c:v>9.7329188492616242E-10</c:v>
                </c:pt>
                <c:pt idx="334">
                  <c:v>1.1129712882196708E-9</c:v>
                </c:pt>
                <c:pt idx="335">
                  <c:v>1.2712405854993146E-9</c:v>
                </c:pt>
                <c:pt idx="336">
                  <c:v>1.4503375415385369E-9</c:v>
                </c:pt>
                <c:pt idx="337">
                  <c:v>1.6527327154520705E-9</c:v>
                </c:pt>
                <c:pt idx="338">
                  <c:v>1.8811482801880161E-9</c:v>
                </c:pt>
                <c:pt idx="339">
                  <c:v>2.1385775898675424E-9</c:v>
                </c:pt>
                <c:pt idx="340">
                  <c:v>2.4283054066025582E-9</c:v>
                </c:pt>
                <c:pt idx="341">
                  <c:v>2.7539286760903504E-9</c:v>
                </c:pt>
                <c:pt idx="342">
                  <c:v>3.1193777169434649E-9</c:v>
                </c:pt>
                <c:pt idx="343">
                  <c:v>3.5289376624364621E-9</c:v>
                </c:pt>
                <c:pt idx="344">
                  <c:v>3.9872699652604851E-9</c:v>
                </c:pt>
                <c:pt idx="345">
                  <c:v>4.4994337461441187E-9</c:v>
                </c:pt>
                <c:pt idx="346">
                  <c:v>5.070906736060251E-9</c:v>
                </c:pt>
                <c:pt idx="347">
                  <c:v>5.7076055294892417E-9</c:v>
                </c:pt>
                <c:pt idx="348">
                  <c:v>6.4159048332135602E-9</c:v>
                </c:pt>
                <c:pt idx="349">
                  <c:v>7.2026553618136994E-9</c:v>
                </c:pt>
                <c:pt idx="350">
                  <c:v>8.0751999979283464E-9</c:v>
                </c:pt>
                <c:pt idx="351">
                  <c:v>9.0413878030174648E-9</c:v>
                </c:pt>
                <c:pt idx="352">
                  <c:v>1.0109585433479081E-8</c:v>
                </c:pt>
                <c:pt idx="353">
                  <c:v>1.1288685488246705E-8</c:v>
                </c:pt>
                <c:pt idx="354">
                  <c:v>1.2588111288229824E-8</c:v>
                </c:pt>
                <c:pt idx="355">
                  <c:v>1.4017817566002015E-8</c:v>
                </c:pt>
                <c:pt idx="356">
                  <c:v>1.5588286526895246E-8</c:v>
                </c:pt>
                <c:pt idx="357">
                  <c:v>1.7310518731067242E-8</c:v>
                </c:pt>
                <c:pt idx="358">
                  <c:v>1.9196018241128123E-8</c:v>
                </c:pt>
                <c:pt idx="359">
                  <c:v>2.1256771482526102E-8</c:v>
                </c:pt>
                <c:pt idx="360">
                  <c:v>2.3505219275043928E-8</c:v>
                </c:pt>
                <c:pt idx="361">
                  <c:v>2.5954221514387581E-8</c:v>
                </c:pt>
                <c:pt idx="362">
                  <c:v>2.8617014013804799E-8</c:v>
                </c:pt>
                <c:pt idx="363">
                  <c:v>3.1507157057750964E-8</c:v>
                </c:pt>
                <c:pt idx="364">
                  <c:v>3.4638475273472321E-8</c:v>
                </c:pt>
                <c:pt idx="365">
                  <c:v>3.8024988492537212E-8</c:v>
                </c:pt>
                <c:pt idx="366">
                  <c:v>4.1680833353172066E-8</c:v>
                </c:pt>
                <c:pt idx="367">
                  <c:v>4.5620175485885012E-8</c:v>
                </c:pt>
                <c:pt idx="368">
                  <c:v>4.9857112229239121E-8</c:v>
                </c:pt>
                <c:pt idx="369">
                  <c:v>5.4405565939412334E-8</c:v>
                </c:pt>
                <c:pt idx="370">
                  <c:v>5.9279168085776523E-8</c:v>
                </c:pt>
                <c:pt idx="371">
                  <c:v>6.4491134464212557E-8</c:v>
                </c:pt>
                <c:pt idx="372">
                  <c:v>7.0054132009062222E-8</c:v>
                </c:pt>
                <c:pt idx="373">
                  <c:v>7.5980137841963141E-8</c:v>
                </c:pt>
                <c:pt idx="374">
                  <c:v>8.2280291359454131E-8</c:v>
                </c:pt>
                <c:pt idx="375">
                  <c:v>8.8964740329029961E-8</c:v>
                </c:pt>
                <c:pt idx="376">
                  <c:v>9.6042482132750162E-8</c:v>
                </c:pt>
                <c:pt idx="377">
                  <c:v>1.0352120146588806E-7</c:v>
                </c:pt>
                <c:pt idx="378">
                  <c:v>1.1140710596232225E-7</c:v>
                </c:pt>
                <c:pt idx="379">
                  <c:v>1.1970476137533545E-7</c:v>
                </c:pt>
                <c:pt idx="380">
                  <c:v>1.2841692808873581E-7</c:v>
                </c:pt>
                <c:pt idx="381">
                  <c:v>1.3754440086528971E-7</c:v>
                </c:pt>
                <c:pt idx="382">
                  <c:v>1.4708585385387673E-7</c:v>
                </c:pt>
                <c:pt idx="383">
                  <c:v>1.5703769297003391E-7</c:v>
                </c:pt>
                <c:pt idx="384">
                  <c:v>1.6739391783329777E-7</c:v>
                </c:pt>
                <c:pt idx="385">
                  <c:v>1.7814599548583565E-7</c:v>
                </c:pt>
                <c:pt idx="386">
                  <c:v>1.8928274812737869E-7</c:v>
                </c:pt>
                <c:pt idx="387">
                  <c:v>2.0079025707896625E-7</c:v>
                </c:pt>
                <c:pt idx="388">
                  <c:v>2.1265178513039729E-7</c:v>
                </c:pt>
                <c:pt idx="389">
                  <c:v>2.2484771933204635E-7</c:v>
                </c:pt>
                <c:pt idx="390">
                  <c:v>2.3735553616000096E-7</c:v>
                </c:pt>
                <c:pt idx="391">
                  <c:v>2.5014979081394523E-7</c:v>
                </c:pt>
                <c:pt idx="392">
                  <c:v>2.6320213220051825E-7</c:v>
                </c:pt>
                <c:pt idx="393">
                  <c:v>2.7648134491204479E-7</c:v>
                </c:pt>
                <c:pt idx="394">
                  <c:v>2.899534192338121E-7</c:v>
                </c:pt>
                <c:pt idx="395">
                  <c:v>3.0358164990512556E-7</c:v>
                </c:pt>
                <c:pt idx="396">
                  <c:v>3.1732676402378644E-7</c:v>
                </c:pt>
                <c:pt idx="397">
                  <c:v>3.311470781248852E-7</c:v>
                </c:pt>
                <c:pt idx="398">
                  <c:v>3.4499868408766042E-7</c:v>
                </c:pt>
                <c:pt idx="399">
                  <c:v>3.5883566313441443E-7</c:v>
                </c:pt>
                <c:pt idx="400">
                  <c:v>3.7261032678924149E-7</c:v>
                </c:pt>
                <c:pt idx="401">
                  <c:v>3.862734832679123E-7</c:v>
                </c:pt>
                <c:pt idx="402">
                  <c:v>3.997747273809144E-7</c:v>
                </c:pt>
                <c:pt idx="403">
                  <c:v>4.1306275165579344E-7</c:v>
                </c:pt>
                <c:pt idx="404">
                  <c:v>4.260856760301034E-7</c:v>
                </c:pt>
                <c:pt idx="405">
                  <c:v>4.3879139313876099E-7</c:v>
                </c:pt>
                <c:pt idx="406">
                  <c:v>4.5112792592634025E-7</c:v>
                </c:pt>
                <c:pt idx="407">
                  <c:v>4.6304379406156907E-7</c:v>
                </c:pt>
                <c:pt idx="408">
                  <c:v>4.7448838542368919E-7</c:v>
                </c:pt>
                <c:pt idx="409">
                  <c:v>4.8541232877297016E-7</c:v>
                </c:pt>
                <c:pt idx="410">
                  <c:v>4.9576786361457034E-7</c:v>
                </c:pt>
                <c:pt idx="411">
                  <c:v>5.055092032187939E-7</c:v>
                </c:pt>
                <c:pt idx="412">
                  <c:v>5.1459288677371731E-7</c:v>
                </c:pt>
                <c:pt idx="413">
                  <c:v>5.2297811671878341E-7</c:v>
                </c:pt>
                <c:pt idx="414">
                  <c:v>5.3062707743993443E-7</c:v>
                </c:pt>
                <c:pt idx="415">
                  <c:v>5.3750523169676111E-7</c:v>
                </c:pt>
                <c:pt idx="416">
                  <c:v>5.4358159139735851E-7</c:v>
                </c:pt>
                <c:pt idx="417">
                  <c:v>5.4882895963324295E-7</c:v>
                </c:pt>
                <c:pt idx="418">
                  <c:v>5.5322414123055989E-7</c:v>
                </c:pt>
                <c:pt idx="419">
                  <c:v>5.5674811945870409E-7</c:v>
                </c:pt>
                <c:pt idx="420">
                  <c:v>5.5938619695758811E-7</c:v>
                </c:pt>
                <c:pt idx="421">
                  <c:v>5.6112809939279531E-7</c:v>
                </c:pt>
                <c:pt idx="422">
                  <c:v>5.6196804081625598E-7</c:v>
                </c:pt>
                <c:pt idx="423">
                  <c:v>5.619047501911667E-7</c:v>
                </c:pt>
                <c:pt idx="424">
                  <c:v>5.6094145902546747E-7</c:v>
                </c:pt>
                <c:pt idx="425">
                  <c:v>5.590858505403276E-7</c:v>
                </c:pt>
                <c:pt idx="426">
                  <c:v>5.5634997127089572E-7</c:v>
                </c:pt>
                <c:pt idx="427">
                  <c:v>5.527501064484655E-7</c:v>
                </c:pt>
                <c:pt idx="428">
                  <c:v>5.4830662093927027E-7</c:v>
                </c:pt>
                <c:pt idx="429">
                  <c:v>5.4304376790846113E-7</c:v>
                </c:pt>
                <c:pt idx="430">
                  <c:v>5.3698946773340307E-7</c:v>
                </c:pt>
                <c:pt idx="431">
                  <c:v>5.3017506000257601E-7</c:v>
                </c:pt>
                <c:pt idx="432">
                  <c:v>5.2263503170164514E-7</c:v>
                </c:pt>
                <c:pt idx="433">
                  <c:v>5.144067249033413E-7</c:v>
                </c:pt>
                <c:pt idx="434">
                  <c:v>5.0553002744070292E-7</c:v>
                </c:pt>
                <c:pt idx="435">
                  <c:v>4.9604705015289939E-7</c:v>
                </c:pt>
                <c:pt idx="436">
                  <c:v>4.8600179434927989E-7</c:v>
                </c:pt>
                <c:pt idx="437">
                  <c:v>4.7543981314123299E-7</c:v>
                </c:pt>
                <c:pt idx="438">
                  <c:v>4.6440787024483764E-7</c:v>
                </c:pt>
                <c:pt idx="439">
                  <c:v>4.5295359976273588E-7</c:v>
                </c:pt>
                <c:pt idx="440">
                  <c:v>4.4112517031427192E-7</c:v>
                </c:pt>
                <c:pt idx="441">
                  <c:v>4.2897095670324194E-7</c:v>
                </c:pt>
                <c:pt idx="442">
                  <c:v>4.1653922209648042E-7</c:v>
                </c:pt>
                <c:pt idx="443">
                  <c:v>4.0387781343949188E-7</c:v>
                </c:pt>
                <c:pt idx="444">
                  <c:v>3.9103387256232378E-7</c:v>
                </c:pt>
                <c:pt idx="445">
                  <c:v>3.7805356513550186E-7</c:v>
                </c:pt>
                <c:pt idx="446">
                  <c:v>3.6498182932743683E-7</c:v>
                </c:pt>
                <c:pt idx="447">
                  <c:v>3.5186214569711683E-7</c:v>
                </c:pt>
                <c:pt idx="448">
                  <c:v>3.3873632953389821E-7</c:v>
                </c:pt>
                <c:pt idx="449">
                  <c:v>3.2564434653557061E-7</c:v>
                </c:pt>
                <c:pt idx="450">
                  <c:v>3.126241524007446E-7</c:v>
                </c:pt>
                <c:pt idx="451">
                  <c:v>2.99711556606915E-7</c:v>
                </c:pt>
                <c:pt idx="452">
                  <c:v>2.8694011035500901E-7</c:v>
                </c:pt>
                <c:pt idx="453">
                  <c:v>2.7434101838821457E-7</c:v>
                </c:pt>
                <c:pt idx="454">
                  <c:v>2.6194307414066529E-7</c:v>
                </c:pt>
                <c:pt idx="455">
                  <c:v>2.4977261744229266E-7</c:v>
                </c:pt>
                <c:pt idx="456">
                  <c:v>2.3785351380165386E-7</c:v>
                </c:pt>
                <c:pt idx="457">
                  <c:v>2.2620715411053993E-7</c:v>
                </c:pt>
                <c:pt idx="458">
                  <c:v>2.1485247346280514E-7</c:v>
                </c:pt>
                <c:pt idx="459">
                  <c:v>2.0380598765618388E-7</c:v>
                </c:pt>
                <c:pt idx="460">
                  <c:v>1.9308184584895656E-7</c:v>
                </c:pt>
                <c:pt idx="461">
                  <c:v>1.8269189777317739E-7</c:v>
                </c:pt>
                <c:pt idx="462">
                  <c:v>1.726457738614807E-7</c:v>
                </c:pt>
                <c:pt idx="463">
                  <c:v>1.6295097662395166E-7</c:v>
                </c:pt>
                <c:pt idx="464">
                  <c:v>1.5361298161368831E-7</c:v>
                </c:pt>
                <c:pt idx="465">
                  <c:v>1.4463534634247473E-7</c:v>
                </c:pt>
                <c:pt idx="466">
                  <c:v>1.3601982554962798E-7</c:v>
                </c:pt>
                <c:pt idx="467">
                  <c:v>1.2776649128518508E-7</c:v>
                </c:pt>
                <c:pt idx="468">
                  <c:v>1.198738563411415E-7</c:v>
                </c:pt>
                <c:pt idx="469">
                  <c:v>1.1233899964901632E-7</c:v>
                </c:pt>
                <c:pt idx="470">
                  <c:v>1.051576923565063E-7</c:v>
                </c:pt>
                <c:pt idx="471">
                  <c:v>9.8324523398008241E-8</c:v>
                </c:pt>
                <c:pt idx="472">
                  <c:v>9.1833023481453292E-8</c:v>
                </c:pt>
                <c:pt idx="473">
                  <c:v>8.5675786524947303E-8</c:v>
                </c:pt>
                <c:pt idx="474">
                  <c:v>7.984458768950869E-8</c:v>
                </c:pt>
                <c:pt idx="475">
                  <c:v>7.4330497266851649E-8</c:v>
                </c:pt>
                <c:pt idx="476">
                  <c:v>6.9123989792211655E-8</c:v>
                </c:pt>
                <c:pt idx="477">
                  <c:v>6.4215047860292978E-8</c:v>
                </c:pt>
                <c:pt idx="478">
                  <c:v>5.9593260226296393E-8</c:v>
                </c:pt>
                <c:pt idx="479">
                  <c:v>5.5247913872680643E-8</c:v>
                </c:pt>
                <c:pt idx="480">
                  <c:v>5.1168079815061842E-8</c:v>
                </c:pt>
                <c:pt idx="481">
                  <c:v>4.734269250670617E-8</c:v>
                </c:pt>
                <c:pt idx="482">
                  <c:v>4.3760622780073321E-8</c:v>
                </c:pt>
                <c:pt idx="483">
                  <c:v>4.0410744335417432E-8</c:v>
                </c:pt>
                <c:pt idx="484">
                  <c:v>3.7281993850439671E-8</c:v>
                </c:pt>
                <c:pt idx="485">
                  <c:v>3.4363424841333452E-8</c:v>
                </c:pt>
                <c:pt idx="486">
                  <c:v>3.1644255454393293E-8</c:v>
                </c:pt>
                <c:pt idx="487">
                  <c:v>2.9113910408845277E-8</c:v>
                </c:pt>
                <c:pt idx="488">
                  <c:v>2.676205734592762E-8</c:v>
                </c:pt>
                <c:pt idx="489">
                  <c:v>2.4578637866970116E-8</c:v>
                </c:pt>
                <c:pt idx="490">
                  <c:v>2.2553893564537418E-8</c:v>
                </c:pt>
                <c:pt idx="491">
                  <c:v>2.0678387366234282E-8</c:v>
                </c:pt>
                <c:pt idx="492">
                  <c:v>1.8943020520856067E-8</c:v>
                </c:pt>
                <c:pt idx="493">
                  <c:v>1.7339045561803994E-8</c:v>
                </c:pt>
                <c:pt idx="494">
                  <c:v>1.5858075583569317E-8</c:v>
                </c:pt>
                <c:pt idx="495">
                  <c:v>1.4492090164094722E-8</c:v>
                </c:pt>
                <c:pt idx="496">
                  <c:v>1.3233438259494017E-8</c:v>
                </c:pt>
                <c:pt idx="497">
                  <c:v>1.2074838388450509E-8</c:v>
                </c:pt>
                <c:pt idx="498">
                  <c:v>1.1009376412014809E-8</c:v>
                </c:pt>
                <c:pt idx="499">
                  <c:v>1.0030501201050333E-8</c:v>
                </c:pt>
                <c:pt idx="500">
                  <c:v>9.1320184685067257E-9</c:v>
                </c:pt>
                <c:pt idx="501">
                  <c:v>8.3080830275331739E-9</c:v>
                </c:pt>
                <c:pt idx="502">
                  <c:v>7.5531897194459598E-9</c:v>
                </c:pt>
                <c:pt idx="503">
                  <c:v>6.8621632381001156E-9</c:v>
                </c:pt>
                <c:pt idx="504">
                  <c:v>6.230147059518493E-9</c:v>
                </c:pt>
                <c:pt idx="505">
                  <c:v>5.6525916679919111E-9</c:v>
                </c:pt>
                <c:pt idx="506">
                  <c:v>5.1252422524453377E-9</c:v>
                </c:pt>
                <c:pt idx="507">
                  <c:v>4.6441260298889114E-9</c:v>
                </c:pt>
                <c:pt idx="508">
                  <c:v>4.2055393363444741E-9</c:v>
                </c:pt>
                <c:pt idx="509">
                  <c:v>3.8060346099179242E-9</c:v>
                </c:pt>
                <c:pt idx="510">
                  <c:v>3.4424073757354698E-9</c:v>
                </c:pt>
                <c:pt idx="511">
                  <c:v>3.1116833283723392E-9</c:v>
                </c:pt>
                <c:pt idx="512">
                  <c:v>2.8111055942038252E-9</c:v>
                </c:pt>
                <c:pt idx="513">
                  <c:v>2.5381222438525982E-9</c:v>
                </c:pt>
                <c:pt idx="514">
                  <c:v>2.2903741135831919E-9</c:v>
                </c:pt>
                <c:pt idx="515">
                  <c:v>2.0656829841220841E-9</c:v>
                </c:pt>
                <c:pt idx="516">
                  <c:v>1.8620401559368444E-9</c:v>
                </c:pt>
                <c:pt idx="517">
                  <c:v>1.6775954514663829E-9</c:v>
                </c:pt>
                <c:pt idx="518">
                  <c:v>1.5106466671344251E-9</c:v>
                </c:pt>
                <c:pt idx="519">
                  <c:v>1.3596294911475044E-9</c:v>
                </c:pt>
                <c:pt idx="520">
                  <c:v>1.223107897045088E-9</c:v>
                </c:pt>
                <c:pt idx="521">
                  <c:v>1.0997650176813629E-9</c:v>
                </c:pt>
                <c:pt idx="522">
                  <c:v>9.8839449972738518E-10</c:v>
                </c:pt>
                <c:pt idx="523">
                  <c:v>8.8789233483382839E-10</c:v>
                </c:pt>
                <c:pt idx="524">
                  <c:v>7.9724916024865204E-10</c:v>
                </c:pt>
                <c:pt idx="525">
                  <c:v>7.1554301887145568E-10</c:v>
                </c:pt>
                <c:pt idx="526">
                  <c:v>6.4193256642087308E-10</c:v>
                </c:pt>
                <c:pt idx="527">
                  <c:v>5.7565071151885956E-10</c:v>
                </c:pt>
                <c:pt idx="528">
                  <c:v>5.1599867303452226E-10</c:v>
                </c:pt>
                <c:pt idx="529">
                  <c:v>4.6234043791711731E-10</c:v>
                </c:pt>
                <c:pt idx="530">
                  <c:v>4.1409760195302084E-10</c:v>
                </c:pt>
                <c:pt idx="531">
                  <c:v>3.7074457536058288E-10</c:v>
                </c:pt>
                <c:pt idx="532">
                  <c:v>3.3180413485633201E-10</c:v>
                </c:pt>
                <c:pt idx="533">
                  <c:v>2.968433037512038E-10</c:v>
                </c:pt>
                <c:pt idx="534">
                  <c:v>2.6546954173661419E-10</c:v>
                </c:pt>
                <c:pt idx="535">
                  <c:v>2.3732722626938407E-10</c:v>
                </c:pt>
                <c:pt idx="536">
                  <c:v>2.1209440783673859E-10</c:v>
                </c:pt>
                <c:pt idx="537">
                  <c:v>1.8947982185520381E-10</c:v>
                </c:pt>
                <c:pt idx="538">
                  <c:v>1.6922014050962594E-10</c:v>
                </c:pt>
                <c:pt idx="539">
                  <c:v>1.5107744845466234E-10</c:v>
                </c:pt>
                <c:pt idx="540">
                  <c:v>1.3483692696205657E-10</c:v>
                </c:pt>
                <c:pt idx="541">
                  <c:v>1.2030473179304945E-10</c:v>
                </c:pt>
                <c:pt idx="542">
                  <c:v>1.0730605079050381E-10</c:v>
                </c:pt>
                <c:pt idx="543">
                  <c:v>9.5683327913288939E-11</c:v>
                </c:pt>
                <c:pt idx="544">
                  <c:v>8.5294641163811999E-11</c:v>
                </c:pt>
                <c:pt idx="545">
                  <c:v>7.6012222584240375E-11</c:v>
                </c:pt>
                <c:pt idx="546">
                  <c:v>6.7721109209741157E-11</c:v>
                </c:pt>
                <c:pt idx="547">
                  <c:v>6.0317914563337969E-11</c:v>
                </c:pt>
                <c:pt idx="548">
                  <c:v>5.3709710953778655E-11</c:v>
                </c:pt>
                <c:pt idx="549">
                  <c:v>4.7813013490655527E-11</c:v>
                </c:pt>
                <c:pt idx="550">
                  <c:v>4.2552857358171654E-11</c:v>
                </c:pt>
                <c:pt idx="551">
                  <c:v>3.7861960488900538E-11</c:v>
                </c:pt>
                <c:pt idx="552">
                  <c:v>3.3679964349806544E-11</c:v>
                </c:pt>
                <c:pt idx="553">
                  <c:v>2.9952746094764343E-11</c:v>
                </c:pt>
                <c:pt idx="554">
                  <c:v>2.6631795849698736E-11</c:v>
                </c:pt>
                <c:pt idx="555">
                  <c:v>2.3673653379466782E-11</c:v>
                </c:pt>
                <c:pt idx="556">
                  <c:v>2.1039398838825326E-11</c:v>
                </c:pt>
                <c:pt idx="557">
                  <c:v>1.8694192734873869E-11</c:v>
                </c:pt>
                <c:pt idx="558">
                  <c:v>1.660686062564041E-11</c:v>
                </c:pt>
                <c:pt idx="559">
                  <c:v>1.4749518449647966E-11</c:v>
                </c:pt>
                <c:pt idx="560">
                  <c:v>1.3097234726000279E-11</c:v>
                </c:pt>
                <c:pt idx="561">
                  <c:v>1.1627726184379165E-11</c:v>
                </c:pt>
                <c:pt idx="562">
                  <c:v>1.0321083680712828E-11</c:v>
                </c:pt>
                <c:pt idx="563">
                  <c:v>9.1595255285289307E-12</c:v>
                </c:pt>
                <c:pt idx="564">
                  <c:v>8.1271756289647502E-12</c:v>
                </c:pt>
                <c:pt idx="565">
                  <c:v>7.2098640158447109E-12</c:v>
                </c:pt>
                <c:pt idx="566">
                  <c:v>6.3949476467683198E-12</c:v>
                </c:pt>
                <c:pt idx="567">
                  <c:v>5.6711494685449533E-12</c:v>
                </c:pt>
                <c:pt idx="568">
                  <c:v>5.0284139662063575E-12</c:v>
                </c:pt>
                <c:pt idx="569">
                  <c:v>4.4577775707282453E-12</c:v>
                </c:pt>
                <c:pt idx="570">
                  <c:v>3.9512524523648673E-12</c:v>
                </c:pt>
                <c:pt idx="571">
                  <c:v>3.5017223651603472E-12</c:v>
                </c:pt>
                <c:pt idx="572">
                  <c:v>3.1028493348858878E-12</c:v>
                </c:pt>
                <c:pt idx="573">
                  <c:v>2.7489900980767716E-12</c:v>
                </c:pt>
                <c:pt idx="574">
                  <c:v>2.4351213050210685E-12</c:v>
                </c:pt>
                <c:pt idx="575">
                  <c:v>2.156772595246711E-12</c:v>
                </c:pt>
                <c:pt idx="576">
                  <c:v>1.9099667410330038E-12</c:v>
                </c:pt>
                <c:pt idx="577">
                  <c:v>1.6911661334637114E-12</c:v>
                </c:pt>
                <c:pt idx="578">
                  <c:v>1.4972249571933714E-12</c:v>
                </c:pt>
                <c:pt idx="579">
                  <c:v>1.3253464650729865E-12</c:v>
                </c:pt>
                <c:pt idx="580">
                  <c:v>1.1730448226006903E-12</c:v>
                </c:pt>
                <c:pt idx="581">
                  <c:v>1.0381110454038769E-12</c:v>
                </c:pt>
                <c:pt idx="582">
                  <c:v>9.1858260110687469E-13</c:v>
                </c:pt>
                <c:pt idx="583">
                  <c:v>8.1271629041923072E-13</c:v>
                </c:pt>
                <c:pt idx="584">
                  <c:v>7.1896406156161037E-13</c:v>
                </c:pt>
                <c:pt idx="585">
                  <c:v>6.359514475614186E-13</c:v>
                </c:pt>
                <c:pt idx="586">
                  <c:v>5.6245834790627952E-13</c:v>
                </c:pt>
                <c:pt idx="587">
                  <c:v>4.9740190480600303E-13</c:v>
                </c:pt>
                <c:pt idx="588">
                  <c:v>4.3982125024209508E-13</c:v>
                </c:pt>
                <c:pt idx="589">
                  <c:v>3.8886392328592371E-13</c:v>
                </c:pt>
                <c:pt idx="590">
                  <c:v>3.4377377814897917E-13</c:v>
                </c:pt>
                <c:pt idx="591">
                  <c:v>3.0388022226379745E-13</c:v>
                </c:pt>
                <c:pt idx="592">
                  <c:v>2.6858864063287977E-13</c:v>
                </c:pt>
                <c:pt idx="593">
                  <c:v>2.3737187787353295E-13</c:v>
                </c:pt>
                <c:pt idx="594">
                  <c:v>2.0976266303324158E-13</c:v>
                </c:pt>
                <c:pt idx="595">
                  <c:v>1.8534687447388491E-13</c:v>
                </c:pt>
                <c:pt idx="596">
                  <c:v>1.6375755309202446E-13</c:v>
                </c:pt>
                <c:pt idx="597">
                  <c:v>1.4466958196707167E-13</c:v>
                </c:pt>
                <c:pt idx="598">
                  <c:v>1.2779495932324216E-13</c:v>
                </c:pt>
                <c:pt idx="599">
                  <c:v>1.1287859957089986E-13</c:v>
                </c:pt>
                <c:pt idx="600">
                  <c:v>9.9694604237831888E-14</c:v>
                </c:pt>
                <c:pt idx="601">
                  <c:v>8.8042950904420907E-14</c:v>
                </c:pt>
                <c:pt idx="602">
                  <c:v>7.7746553890857584E-14</c:v>
                </c:pt>
                <c:pt idx="603">
                  <c:v>6.8648655481924049E-14</c:v>
                </c:pt>
                <c:pt idx="604">
                  <c:v>6.0610510971241283E-14</c:v>
                </c:pt>
                <c:pt idx="605">
                  <c:v>5.3509334825956632E-14</c:v>
                </c:pt>
                <c:pt idx="606">
                  <c:v>4.7236478857710419E-14</c:v>
                </c:pt>
                <c:pt idx="607">
                  <c:v>4.1695816486335005E-14</c:v>
                </c:pt>
                <c:pt idx="608">
                  <c:v>3.6802310036565867E-14</c:v>
                </c:pt>
                <c:pt idx="609">
                  <c:v>3.2480740554522305E-14</c:v>
                </c:pt>
                <c:pt idx="610">
                  <c:v>2.8664581898901647E-14</c:v>
                </c:pt>
                <c:pt idx="611">
                  <c:v>2.5295002884842145E-14</c:v>
                </c:pt>
                <c:pt idx="612">
                  <c:v>2.2319983059397493E-14</c:v>
                </c:pt>
                <c:pt idx="613">
                  <c:v>1.969352929292296E-14</c:v>
                </c:pt>
                <c:pt idx="614">
                  <c:v>1.7374981798443314E-14</c:v>
                </c:pt>
                <c:pt idx="615">
                  <c:v>1.5328399463661987E-14</c:v>
                </c:pt>
                <c:pt idx="616">
                  <c:v>1.3522015511139559E-14</c:v>
                </c:pt>
                <c:pt idx="617">
                  <c:v>1.1927755509760624E-14</c:v>
                </c:pt>
                <c:pt idx="618">
                  <c:v>1.0520810655119691E-14</c:v>
                </c:pt>
                <c:pt idx="619">
                  <c:v>9.2792600336149267E-15</c:v>
                </c:pt>
                <c:pt idx="620">
                  <c:v>8.1837362920536848E-15</c:v>
                </c:pt>
                <c:pt idx="621">
                  <c:v>7.2171297641246277E-15</c:v>
                </c:pt>
                <c:pt idx="622">
                  <c:v>6.364326663774707E-15</c:v>
                </c:pt>
                <c:pt idx="623">
                  <c:v>5.6119774522478187E-15</c:v>
                </c:pt>
                <c:pt idx="624">
                  <c:v>4.948291926363622E-15</c:v>
                </c:pt>
                <c:pt idx="625">
                  <c:v>4.3628579672912524E-15</c:v>
                </c:pt>
                <c:pt idx="626">
                  <c:v>3.8464812367652466E-15</c:v>
                </c:pt>
                <c:pt idx="627">
                  <c:v>3.3910434159950969E-15</c:v>
                </c:pt>
                <c:pt idx="628">
                  <c:v>2.9893768567219203E-15</c:v>
                </c:pt>
                <c:pt idx="629">
                  <c:v>2.6351537563642844E-15</c:v>
                </c:pt>
                <c:pt idx="630">
                  <c:v>2.3227881850862942E-15</c:v>
                </c:pt>
                <c:pt idx="631">
                  <c:v>2.0473494834329832E-15</c:v>
                </c:pt>
                <c:pt idx="632">
                  <c:v>1.8044857188986388E-15</c:v>
                </c:pt>
                <c:pt idx="633">
                  <c:v>1.5903560398436643E-15</c:v>
                </c:pt>
                <c:pt idx="634">
                  <c:v>1.4015708985207711E-15</c:v>
                </c:pt>
                <c:pt idx="635">
                  <c:v>1.2351392329028953E-15</c:v>
                </c:pt>
                <c:pt idx="636">
                  <c:v>1.0884218016953269E-15</c:v>
                </c:pt>
                <c:pt idx="637">
                  <c:v>9.590899594949446E-16</c:v>
                </c:pt>
                <c:pt idx="638">
                  <c:v>8.4508924125194783E-16</c:v>
                </c:pt>
                <c:pt idx="639">
                  <c:v>7.4460719781725362E-16</c:v>
                </c:pt>
                <c:pt idx="640">
                  <c:v>6.5604498883351335E-16</c:v>
                </c:pt>
                <c:pt idx="641">
                  <c:v>5.7799229616182145E-16</c:v>
                </c:pt>
                <c:pt idx="642">
                  <c:v>5.09205171605811E-16</c:v>
                </c:pt>
                <c:pt idx="643">
                  <c:v>4.4858647728350058E-16</c:v>
                </c:pt>
                <c:pt idx="644">
                  <c:v>3.9516861665119146E-16</c:v>
                </c:pt>
                <c:pt idx="645">
                  <c:v>3.4809828907869678E-16</c:v>
                </c:pt>
                <c:pt idx="646">
                  <c:v>3.0662303194010621E-16</c:v>
                </c:pt>
                <c:pt idx="647">
                  <c:v>2.7007934151585447E-16</c:v>
                </c:pt>
                <c:pt idx="648">
                  <c:v>2.3788218827585321E-16</c:v>
                </c:pt>
                <c:pt idx="649">
                  <c:v>2.0951576355537386E-16</c:v>
                </c:pt>
                <c:pt idx="650">
                  <c:v>1.8452531356787587E-16</c:v>
                </c:pt>
                <c:pt idx="651">
                  <c:v>1.6250993351098221E-16</c:v>
                </c:pt>
                <c:pt idx="652">
                  <c:v>1.4311620930860741E-16</c:v>
                </c:pt>
                <c:pt idx="653">
                  <c:v>1.260326076707091E-16</c:v>
                </c:pt>
                <c:pt idx="654">
                  <c:v>1.1098452672198057E-16</c:v>
                </c:pt>
                <c:pt idx="655">
                  <c:v>9.7729929704682488E-17</c:v>
                </c:pt>
                <c:pt idx="656">
                  <c:v>8.6055493311891537E-17</c:v>
                </c:pt>
                <c:pt idx="657">
                  <c:v>7.5773210205432283E-17</c:v>
                </c:pt>
                <c:pt idx="658">
                  <c:v>6.6717392348926459E-17</c:v>
                </c:pt>
                <c:pt idx="659">
                  <c:v>5.8742028026928984E-17</c:v>
                </c:pt>
                <c:pt idx="660">
                  <c:v>5.1718450945805751E-17</c:v>
                </c:pt>
                <c:pt idx="661">
                  <c:v>4.5533284687046458E-17</c:v>
                </c:pt>
                <c:pt idx="662">
                  <c:v>4.0086630084726118E-17</c:v>
                </c:pt>
                <c:pt idx="663">
                  <c:v>3.5290466912763997E-17</c:v>
                </c:pt>
                <c:pt idx="664">
                  <c:v>3.1067244619340873E-17</c:v>
                </c:pt>
                <c:pt idx="665">
                  <c:v>2.7348639814225677E-17</c:v>
                </c:pt>
                <c:pt idx="666">
                  <c:v>2.4074460838811255E-17</c:v>
                </c:pt>
                <c:pt idx="667">
                  <c:v>2.119168205673794E-17</c:v>
                </c:pt>
                <c:pt idx="668">
                  <c:v>1.8653592547029011E-17</c:v>
                </c:pt>
                <c:pt idx="669">
                  <c:v>1.6419045686565795E-17</c:v>
                </c:pt>
                <c:pt idx="670">
                  <c:v>1.4451797696169399E-17</c:v>
                </c:pt>
                <c:pt idx="671">
                  <c:v>1.2719924634081291E-17</c:v>
                </c:pt>
                <c:pt idx="672">
                  <c:v>1.1195308555037203E-17</c:v>
                </c:pt>
                <c:pt idx="673">
                  <c:v>9.8531846539186771E-18</c:v>
                </c:pt>
                <c:pt idx="674">
                  <c:v>8.671742171149129E-18</c:v>
                </c:pt>
                <c:pt idx="675">
                  <c:v>7.6317726966677738E-18</c:v>
                </c:pt>
                <c:pt idx="676">
                  <c:v>6.7163602543281174E-18</c:v>
                </c:pt>
                <c:pt idx="677">
                  <c:v>5.9106082170836935E-18</c:v>
                </c:pt>
                <c:pt idx="678">
                  <c:v>5.2013986856739762E-18</c:v>
                </c:pt>
                <c:pt idx="679">
                  <c:v>4.5771804805050192E-18</c:v>
                </c:pt>
                <c:pt idx="680">
                  <c:v>4.0277823525849598E-18</c:v>
                </c:pt>
                <c:pt idx="681">
                  <c:v>3.544248419797676E-18</c:v>
                </c:pt>
                <c:pt idx="682">
                  <c:v>3.1186931903546041E-18</c:v>
                </c:pt>
                <c:pt idx="683">
                  <c:v>2.7441738467509629E-18</c:v>
                </c:pt>
                <c:pt idx="684">
                  <c:v>2.4145777400140921E-18</c:v>
                </c:pt>
                <c:pt idx="685">
                  <c:v>2.1245232861998944E-18</c:v>
                </c:pt>
                <c:pt idx="686">
                  <c:v>1.8692726723115205E-18</c:v>
                </c:pt>
                <c:pt idx="687">
                  <c:v>1.64465496691338E-18</c:v>
                </c:pt>
                <c:pt idx="688">
                  <c:v>1.4469983980163785E-18</c:v>
                </c:pt>
                <c:pt idx="689">
                  <c:v>1.2730707072673453E-18</c:v>
                </c:pt>
                <c:pt idx="690">
                  <c:v>1.1200266192300024E-18</c:v>
                </c:pt>
                <c:pt idx="691">
                  <c:v>9.8536157860709866E-19</c:v>
                </c:pt>
                <c:pt idx="692">
                  <c:v>8.6687100890212447E-19</c:v>
                </c:pt>
                <c:pt idx="693">
                  <c:v>7.6261443474797704E-19</c:v>
                </c:pt>
                <c:pt idx="694">
                  <c:v>6.7088388837987704E-19</c:v>
                </c:pt>
                <c:pt idx="695">
                  <c:v>5.9017608957243388E-19</c:v>
                </c:pt>
                <c:pt idx="696">
                  <c:v>5.1916794910465617E-19</c:v>
                </c:pt>
                <c:pt idx="697">
                  <c:v>4.5669499949289733E-19</c:v>
                </c:pt>
                <c:pt idx="698">
                  <c:v>4.0173240365798831E-19</c:v>
                </c:pt>
                <c:pt idx="699">
                  <c:v>3.5337823402780427E-19</c:v>
                </c:pt>
                <c:pt idx="700">
                  <c:v>3.1083875107696021E-19</c:v>
                </c:pt>
                <c:pt idx="701">
                  <c:v>2.7341544252764301E-19</c:v>
                </c:pt>
                <c:pt idx="702">
                  <c:v>2.4049361312616236E-19</c:v>
                </c:pt>
                <c:pt idx="703">
                  <c:v>2.1153233959306558E-19</c:v>
                </c:pt>
                <c:pt idx="704">
                  <c:v>1.8605562786016143E-19</c:v>
                </c:pt>
                <c:pt idx="705">
                  <c:v>1.6364462874090034E-19</c:v>
                </c:pt>
                <c:pt idx="706">
                  <c:v>1.4393078565735471E-19</c:v>
                </c:pt>
                <c:pt idx="707">
                  <c:v>1.2658980293582757E-19</c:v>
                </c:pt>
                <c:pt idx="708">
                  <c:v>1.1133633655541139E-19</c:v>
                </c:pt>
                <c:pt idx="709">
                  <c:v>9.7919320934700262E-20</c:v>
                </c:pt>
                <c:pt idx="710">
                  <c:v>8.6117855708069026E-20</c:v>
                </c:pt>
                <c:pt idx="711">
                  <c:v>7.5737585424009466E-20</c:v>
                </c:pt>
                <c:pt idx="712">
                  <c:v>6.6607513216844544E-20</c:v>
                </c:pt>
                <c:pt idx="713">
                  <c:v>5.8577196493527638E-20</c:v>
                </c:pt>
                <c:pt idx="714">
                  <c:v>5.1514278882762617E-20</c:v>
                </c:pt>
                <c:pt idx="715">
                  <c:v>4.5302318188026856E-20</c:v>
                </c:pt>
                <c:pt idx="716">
                  <c:v>3.9838874898392331E-20</c:v>
                </c:pt>
                <c:pt idx="717">
                  <c:v>3.5033830014750183E-20</c:v>
                </c:pt>
                <c:pt idx="718">
                  <c:v>3.080790474960221E-20</c:v>
                </c:pt>
                <c:pt idx="719">
                  <c:v>2.7091357871511886E-20</c:v>
                </c:pt>
                <c:pt idx="720">
                  <c:v>2.3822839427531644E-20</c:v>
                </c:pt>
                <c:pt idx="721">
                  <c:v>2.0948382078434024E-20</c:v>
                </c:pt>
                <c:pt idx="722">
                  <c:v>1.8420513550478538E-20</c:v>
                </c:pt>
                <c:pt idx="723">
                  <c:v>1.619747567901432E-20</c:v>
                </c:pt>
                <c:pt idx="724">
                  <c:v>1.4242537256166296E-20</c:v>
                </c:pt>
                <c:pt idx="725">
                  <c:v>1.2523389426184536E-20</c:v>
                </c:pt>
                <c:pt idx="726">
                  <c:v>1.1011613725791118E-20</c:v>
                </c:pt>
                <c:pt idx="727">
                  <c:v>9.6822140504810407E-21</c:v>
                </c:pt>
                <c:pt idx="728">
                  <c:v>8.5132048722631262E-21</c:v>
                </c:pt>
                <c:pt idx="729">
                  <c:v>7.4852489540256992E-21</c:v>
                </c:pt>
                <c:pt idx="730">
                  <c:v>6.5813386220524838E-21</c:v>
                </c:pt>
                <c:pt idx="731">
                  <c:v>5.786515358627453E-21</c:v>
                </c:pt>
                <c:pt idx="732">
                  <c:v>5.0876231181083031E-21</c:v>
                </c:pt>
                <c:pt idx="733">
                  <c:v>4.4730913114479188E-21</c:v>
                </c:pt>
                <c:pt idx="734">
                  <c:v>3.932743895811062E-21</c:v>
                </c:pt>
                <c:pt idx="735">
                  <c:v>3.4576314313297022E-21</c:v>
                </c:pt>
                <c:pt idx="736">
                  <c:v>3.0398833458256146E-21</c:v>
                </c:pt>
                <c:pt idx="737">
                  <c:v>2.6725779779081881E-21</c:v>
                </c:pt>
                <c:pt idx="738">
                  <c:v>2.3496282599637374E-21</c:v>
                </c:pt>
                <c:pt idx="739">
                  <c:v>2.0656811621724207E-21</c:v>
                </c:pt>
                <c:pt idx="740">
                  <c:v>1.8160292417883919E-21</c:v>
                </c:pt>
                <c:pt idx="741">
                  <c:v>1.5965328418699158E-21</c:v>
                </c:pt>
                <c:pt idx="742">
                  <c:v>1.4035516580430425E-21</c:v>
                </c:pt>
                <c:pt idx="743">
                  <c:v>1.2338845472965706E-21</c:v>
                </c:pt>
                <c:pt idx="744">
                  <c:v>1.0847165855768126E-21</c:v>
                </c:pt>
                <c:pt idx="745">
                  <c:v>9.5357250381932733E-22</c:v>
                </c:pt>
                <c:pt idx="746">
                  <c:v>8.3827573253611456E-22</c:v>
                </c:pt>
                <c:pt idx="747">
                  <c:v>7.3691238172790658E-22</c:v>
                </c:pt>
                <c:pt idx="748">
                  <c:v>6.4779956086271112E-22</c:v>
                </c:pt>
                <c:pt idx="749">
                  <c:v>5.6945751673194645E-22</c:v>
                </c:pt>
                <c:pt idx="750">
                  <c:v>5.0058512973326176E-22</c:v>
                </c:pt>
                <c:pt idx="751">
                  <c:v>4.4003836332553593E-22</c:v>
                </c:pt>
                <c:pt idx="752">
                  <c:v>3.8681131208373086E-22</c:v>
                </c:pt>
                <c:pt idx="753">
                  <c:v>3.4001953411797285E-22</c:v>
                </c:pt>
                <c:pt idx="754">
                  <c:v>2.9888539371404517E-22</c:v>
                </c:pt>
                <c:pt idx="755">
                  <c:v>2.6272517126133883E-22</c:v>
                </c:pt>
                <c:pt idx="756">
                  <c:v>2.3093772785230168E-22</c:v>
                </c:pt>
                <c:pt idx="757">
                  <c:v>2.0299453716120943E-22</c:v>
                </c:pt>
                <c:pt idx="758">
                  <c:v>1.7843091967791161E-22</c:v>
                </c:pt>
                <c:pt idx="759">
                  <c:v>1.5683833447483781E-22</c:v>
                </c:pt>
                <c:pt idx="760">
                  <c:v>1.3785760103811276E-22</c:v>
                </c:pt>
                <c:pt idx="761">
                  <c:v>1.2117293886498952E-22</c:v>
                </c:pt>
                <c:pt idx="762">
                  <c:v>1.065067264801372E-22</c:v>
                </c:pt>
                <c:pt idx="763">
                  <c:v>9.3614892821894616E-23</c:v>
                </c:pt>
                <c:pt idx="764">
                  <c:v>8.2282864999749193E-23</c:v>
                </c:pt>
                <c:pt idx="765">
                  <c:v>7.2322005119544807E-23</c:v>
                </c:pt>
                <c:pt idx="766">
                  <c:v>6.3566477262758336E-23</c:v>
                </c:pt>
                <c:pt idx="767">
                  <c:v>5.5870492772378449E-23</c:v>
                </c:pt>
                <c:pt idx="768">
                  <c:v>4.9105888060396609E-23</c:v>
                </c:pt>
                <c:pt idx="769">
                  <c:v>4.3159994979362611E-23</c:v>
                </c:pt>
                <c:pt idx="770">
                  <c:v>3.7933768315069861E-23</c:v>
                </c:pt>
                <c:pt idx="771">
                  <c:v>3.3340139477194863E-23</c:v>
                </c:pt>
                <c:pt idx="772">
                  <c:v>2.9302568991285229E-23</c:v>
                </c:pt>
                <c:pt idx="773">
                  <c:v>2.5753773861814444E-23</c:v>
                </c:pt>
                <c:pt idx="774">
                  <c:v>2.2634608679665332E-23</c:v>
                </c:pt>
                <c:pt idx="775">
                  <c:v>1.9893081891286825E-23</c:v>
                </c:pt>
                <c:pt idx="776">
                  <c:v>1.748349092142288E-23</c:v>
                </c:pt>
                <c:pt idx="777">
                  <c:v>1.5365661829357279E-23</c:v>
                </c:pt>
                <c:pt idx="778">
                  <c:v>1.3504280810213687E-23</c:v>
                </c:pt>
                <c:pt idx="779">
                  <c:v>1.1868306504711949E-23</c:v>
                </c:pt>
                <c:pt idx="780">
                  <c:v>1.0430453342642435E-23</c:v>
                </c:pt>
                <c:pt idx="781">
                  <c:v>9.1667373141713227E-24</c:v>
                </c:pt>
                <c:pt idx="782">
                  <c:v>8.056076663431806E-24</c:v>
                </c:pt>
                <c:pt idx="783">
                  <c:v>7.0799408523248679E-24</c:v>
                </c:pt>
                <c:pt idx="784">
                  <c:v>6.222041952066708E-24</c:v>
                </c:pt>
                <c:pt idx="785">
                  <c:v>5.4680633613852837E-24</c:v>
                </c:pt>
                <c:pt idx="786">
                  <c:v>4.8054213125410675E-24</c:v>
                </c:pt>
                <c:pt idx="787">
                  <c:v>4.2230552287253529E-24</c:v>
                </c:pt>
                <c:pt idx="788">
                  <c:v>3.7112434261547451E-24</c:v>
                </c:pt>
                <c:pt idx="789">
                  <c:v>3.2614411058107624E-24</c:v>
                </c:pt>
                <c:pt idx="790">
                  <c:v>2.8661379416866766E-24</c:v>
                </c:pt>
                <c:pt idx="791">
                  <c:v>2.5187328910646816E-24</c:v>
                </c:pt>
                <c:pt idx="792">
                  <c:v>2.2134241540528354E-24</c:v>
                </c:pt>
                <c:pt idx="793">
                  <c:v>1.9451124373350367E-24</c:v>
                </c:pt>
                <c:pt idx="794">
                  <c:v>1.7093159273954453E-24</c:v>
                </c:pt>
                <c:pt idx="795">
                  <c:v>1.5020955458152096E-24</c:v>
                </c:pt>
                <c:pt idx="796">
                  <c:v>1.3199892515074936E-24</c:v>
                </c:pt>
                <c:pt idx="797">
                  <c:v>1.1599542916581576E-24</c:v>
                </c:pt>
                <c:pt idx="798">
                  <c:v>1.0193164398584942E-24</c:v>
                </c:pt>
                <c:pt idx="799">
                  <c:v>8.9572537846451573E-25</c:v>
                </c:pt>
                <c:pt idx="800">
                  <c:v>7.8711548016656119E-25</c:v>
                </c:pt>
              </c:numCache>
            </c:numRef>
          </c:yVal>
          <c:smooth val="0"/>
          <c:extLst>
            <c:ext xmlns:c16="http://schemas.microsoft.com/office/drawing/2014/chart" uri="{C3380CC4-5D6E-409C-BE32-E72D297353CC}">
              <c16:uniqueId val="{00000010-1D62-4DE3-8E9D-34C68BC76380}"/>
            </c:ext>
          </c:extLst>
        </c:ser>
        <c:ser>
          <c:idx val="15"/>
          <c:order val="15"/>
          <c:tx>
            <c:strRef>
              <c:f>Calc!$S$6</c:f>
              <c:strCache>
                <c:ptCount val="1"/>
                <c:pt idx="0">
                  <c:v>16</c:v>
                </c:pt>
              </c:strCache>
            </c:strRef>
          </c:tx>
          <c:spPr>
            <a:ln w="28575">
              <a:noFill/>
            </a:ln>
          </c:spPr>
          <c:marker>
            <c:symbol val="plus"/>
            <c:size val="3"/>
            <c:spPr>
              <a:noFill/>
              <a:ln>
                <a:solidFill>
                  <a:srgbClr val="FFCC99"/>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S$7:$S$807</c:f>
              <c:numCache>
                <c:formatCode>000,000,000</c:formatCode>
                <c:ptCount val="801"/>
                <c:pt idx="0">
                  <c:v>4.2809497947963725E-43</c:v>
                </c:pt>
                <c:pt idx="1">
                  <c:v>5.4521525296407367E-43</c:v>
                </c:pt>
                <c:pt idx="2">
                  <c:v>6.9437387016262968E-43</c:v>
                </c:pt>
                <c:pt idx="3">
                  <c:v>8.8433379199076118E-43</c:v>
                </c:pt>
                <c:pt idx="4">
                  <c:v>1.1262544445627903E-42</c:v>
                </c:pt>
                <c:pt idx="5">
                  <c:v>1.4343469995928178E-42</c:v>
                </c:pt>
                <c:pt idx="6">
                  <c:v>1.8267088041109289E-42</c:v>
                </c:pt>
                <c:pt idx="7">
                  <c:v>2.3263859295851526E-42</c:v>
                </c:pt>
                <c:pt idx="8">
                  <c:v>2.9627261940491973E-42</c:v>
                </c:pt>
                <c:pt idx="9">
                  <c:v>3.7731020513689734E-42</c:v>
                </c:pt>
                <c:pt idx="10">
                  <c:v>4.805104438414651E-42</c:v>
                </c:pt>
                <c:pt idx="11">
                  <c:v>6.1193362955999238E-42</c:v>
                </c:pt>
                <c:pt idx="12">
                  <c:v>7.792969648370698E-42</c:v>
                </c:pt>
                <c:pt idx="13">
                  <c:v>9.9242749184008759E-42</c:v>
                </c:pt>
                <c:pt idx="14">
                  <c:v>1.2638388148124874E-41</c:v>
                </c:pt>
                <c:pt idx="15">
                  <c:v>1.6094654412212995E-41</c:v>
                </c:pt>
                <c:pt idx="16">
                  <c:v>2.0495978108498927E-41</c:v>
                </c:pt>
                <c:pt idx="17">
                  <c:v>2.6100728484033099E-41</c:v>
                </c:pt>
                <c:pt idx="18">
                  <c:v>3.3237898553359912E-41</c:v>
                </c:pt>
                <c:pt idx="19">
                  <c:v>4.2326406281958472E-41</c:v>
                </c:pt>
                <c:pt idx="20">
                  <c:v>5.3899669710225532E-41</c:v>
                </c:pt>
                <c:pt idx="21">
                  <c:v>6.8636896804624498E-41</c:v>
                </c:pt>
                <c:pt idx="22">
                  <c:v>8.7402924347091585E-41</c:v>
                </c:pt>
                <c:pt idx="23">
                  <c:v>1.1129894115806182E-40</c:v>
                </c:pt>
                <c:pt idx="24">
                  <c:v>1.4172706872939573E-40</c:v>
                </c:pt>
                <c:pt idx="25">
                  <c:v>1.804725842651301E-40</c:v>
                </c:pt>
                <c:pt idx="26">
                  <c:v>2.298086047263511E-40</c:v>
                </c:pt>
                <c:pt idx="27">
                  <c:v>2.9262936626004756E-40</c:v>
                </c:pt>
                <c:pt idx="28">
                  <c:v>3.7261990838107966E-40</c:v>
                </c:pt>
                <c:pt idx="29">
                  <c:v>4.7447210450859576E-40</c:v>
                </c:pt>
                <c:pt idx="30">
                  <c:v>6.0415969471996814E-40</c:v>
                </c:pt>
                <c:pt idx="31">
                  <c:v>7.6928843170924724E-40</c:v>
                </c:pt>
                <c:pt idx="32">
                  <c:v>9.7954184908930347E-40</c:v>
                </c:pt>
                <c:pt idx="33">
                  <c:v>1.2472487596729172E-39</c:v>
                </c:pt>
                <c:pt idx="34">
                  <c:v>1.5881057177155204E-39</c:v>
                </c:pt>
                <c:pt idx="35">
                  <c:v>2.0220967501420735E-39</c:v>
                </c:pt>
                <c:pt idx="36">
                  <c:v>2.5746642080426726E-39</c:v>
                </c:pt>
                <c:pt idx="37">
                  <c:v>3.2781992864304563E-39</c:v>
                </c:pt>
                <c:pt idx="38">
                  <c:v>4.1739394667678487E-39</c:v>
                </c:pt>
                <c:pt idx="39">
                  <c:v>5.31438394679015E-39</c:v>
                </c:pt>
                <c:pt idx="40">
                  <c:v>6.7663684275975857E-39</c:v>
                </c:pt>
                <c:pt idx="41">
                  <c:v>8.6149792002878452E-39</c:v>
                </c:pt>
                <c:pt idx="42">
                  <c:v>1.0968535567917487E-38</c:v>
                </c:pt>
                <c:pt idx="43">
                  <c:v>1.3964932122258082E-38</c:v>
                </c:pt>
                <c:pt idx="44">
                  <c:v>1.7779711919632999E-38</c:v>
                </c:pt>
                <c:pt idx="45">
                  <c:v>2.2636342812180681E-38</c:v>
                </c:pt>
                <c:pt idx="46">
                  <c:v>2.8819298002638428E-38</c:v>
                </c:pt>
                <c:pt idx="47">
                  <c:v>3.6690705825833917E-38</c:v>
                </c:pt>
                <c:pt idx="48">
                  <c:v>4.6711542392467854E-38</c:v>
                </c:pt>
                <c:pt idx="49">
                  <c:v>5.9468606243156527E-38</c:v>
                </c:pt>
                <c:pt idx="50">
                  <c:v>7.5708852054955961E-38</c:v>
                </c:pt>
                <c:pt idx="51">
                  <c:v>9.638309044407846E-38</c:v>
                </c:pt>
                <c:pt idx="52">
                  <c:v>1.2270160811586758E-37</c:v>
                </c:pt>
                <c:pt idx="53">
                  <c:v>1.5620495896168461E-37</c:v>
                </c:pt>
                <c:pt idx="54">
                  <c:v>1.9885406282564065E-37</c:v>
                </c:pt>
                <c:pt idx="55">
                  <c:v>2.5314487626204363E-37</c:v>
                </c:pt>
                <c:pt idx="56">
                  <c:v>3.2225433445504731E-37</c:v>
                </c:pt>
                <c:pt idx="57">
                  <c:v>4.1022608926545946E-37</c:v>
                </c:pt>
                <c:pt idx="58">
                  <c:v>5.2220689158124906E-37</c:v>
                </c:pt>
                <c:pt idx="59">
                  <c:v>6.6474742224086974E-37</c:v>
                </c:pt>
                <c:pt idx="60">
                  <c:v>8.4618513711040076E-37</c:v>
                </c:pt>
                <c:pt idx="61">
                  <c:v>1.0771314776729171E-36</c:v>
                </c:pt>
                <c:pt idx="62">
                  <c:v>1.3710918876513517E-36</c:v>
                </c:pt>
                <c:pt idx="63">
                  <c:v>1.7452548235524635E-36</c:v>
                </c:pt>
                <c:pt idx="64">
                  <c:v>2.2214958039663979E-36</c:v>
                </c:pt>
                <c:pt idx="65">
                  <c:v>2.8276550831601391E-36</c:v>
                </c:pt>
                <c:pt idx="66">
                  <c:v>3.5991634893591449E-36</c:v>
                </c:pt>
                <c:pt idx="67">
                  <c:v>4.5811112661860975E-36</c:v>
                </c:pt>
                <c:pt idx="68">
                  <c:v>5.8308805788020702E-36</c:v>
                </c:pt>
                <c:pt idx="69">
                  <c:v>7.4214951975446197E-36</c:v>
                </c:pt>
                <c:pt idx="70">
                  <c:v>9.4458826632277064E-36</c:v>
                </c:pt>
                <c:pt idx="71">
                  <c:v>1.2022297401566301E-35</c:v>
                </c:pt>
                <c:pt idx="72">
                  <c:v>1.5301220882371794E-35</c:v>
                </c:pt>
                <c:pt idx="73">
                  <c:v>1.9474140945971323E-35</c:v>
                </c:pt>
                <c:pt idx="74">
                  <c:v>2.4784721847715536E-35</c:v>
                </c:pt>
                <c:pt idx="75">
                  <c:v>3.1543015764138366E-35</c:v>
                </c:pt>
                <c:pt idx="76">
                  <c:v>4.0143543552959605E-35</c:v>
                </c:pt>
                <c:pt idx="77">
                  <c:v>5.1088297754033183E-35</c:v>
                </c:pt>
                <c:pt idx="78">
                  <c:v>6.5016007245360704E-35</c:v>
                </c:pt>
                <c:pt idx="79">
                  <c:v>8.2739367268066599E-35</c:v>
                </c:pt>
                <c:pt idx="80">
                  <c:v>1.0529240186699616E-34</c:v>
                </c:pt>
                <c:pt idx="81">
                  <c:v>1.3399071506616602E-34</c:v>
                </c:pt>
                <c:pt idx="82">
                  <c:v>1.7050813652351779E-34</c:v>
                </c:pt>
                <c:pt idx="83">
                  <c:v>2.1697422048907948E-34</c:v>
                </c:pt>
                <c:pt idx="84">
                  <c:v>2.7609826893497346E-34</c:v>
                </c:pt>
                <c:pt idx="85">
                  <c:v>3.5132709105847522E-34</c:v>
                </c:pt>
                <c:pt idx="86">
                  <c:v>4.4704567138723869E-34</c:v>
                </c:pt>
                <c:pt idx="87">
                  <c:v>5.6883241110782712E-34</c:v>
                </c:pt>
                <c:pt idx="88">
                  <c:v>7.23783776500501E-34</c:v>
                </c:pt>
                <c:pt idx="89">
                  <c:v>9.2092721820124978E-34</c:v>
                </c:pt>
                <c:pt idx="90">
                  <c:v>1.171746348957254E-33</c:v>
                </c:pt>
                <c:pt idx="91">
                  <c:v>1.4908488824552666E-33</c:v>
                </c:pt>
                <c:pt idx="92">
                  <c:v>1.8968161190330511E-33</c:v>
                </c:pt>
                <c:pt idx="93">
                  <c:v>2.4132832952838684E-33</c:v>
                </c:pt>
                <c:pt idx="94">
                  <c:v>3.0703135033876389E-33</c:v>
                </c:pt>
                <c:pt idx="95">
                  <c:v>3.9061449073310619E-33</c:v>
                </c:pt>
                <c:pt idx="96">
                  <c:v>4.969412621860236E-33</c:v>
                </c:pt>
                <c:pt idx="97">
                  <c:v>6.3219741276843909E-33</c:v>
                </c:pt>
                <c:pt idx="98">
                  <c:v>8.0425020638146275E-33</c:v>
                </c:pt>
                <c:pt idx="99">
                  <c:v>1.0231052686451002E-32</c:v>
                </c:pt>
                <c:pt idx="100">
                  <c:v>1.3014874782354604E-32</c:v>
                </c:pt>
                <c:pt idx="101">
                  <c:v>1.6555795637459569E-32</c:v>
                </c:pt>
                <c:pt idx="102">
                  <c:v>2.1059611936414356E-32</c:v>
                </c:pt>
                <c:pt idx="103">
                  <c:v>2.6788029476146763E-32</c:v>
                </c:pt>
                <c:pt idx="104">
                  <c:v>3.4073843012768929E-32</c:v>
                </c:pt>
                <c:pt idx="105">
                  <c:v>4.3340234933993817E-32</c:v>
                </c:pt>
                <c:pt idx="106">
                  <c:v>5.5125309567663256E-32</c:v>
                </c:pt>
                <c:pt idx="107">
                  <c:v>7.0113282532741208E-32</c:v>
                </c:pt>
                <c:pt idx="108">
                  <c:v>8.9174129056391534E-32</c:v>
                </c:pt>
                <c:pt idx="109">
                  <c:v>1.1341398377909999E-31</c:v>
                </c:pt>
                <c:pt idx="110">
                  <c:v>1.4423920539682853E-31</c:v>
                </c:pt>
                <c:pt idx="111">
                  <c:v>1.8343780829810646E-31</c:v>
                </c:pt>
                <c:pt idx="112">
                  <c:v>2.3328296555549923E-31</c:v>
                </c:pt>
                <c:pt idx="113">
                  <c:v>2.966645608996553E-31</c:v>
                </c:pt>
                <c:pt idx="114">
                  <c:v>3.7725638488754266E-31</c:v>
                </c:pt>
                <c:pt idx="115">
                  <c:v>4.7972862539424794E-31</c:v>
                </c:pt>
                <c:pt idx="116">
                  <c:v>6.1001791293402505E-31</c:v>
                </c:pt>
                <c:pt idx="117">
                  <c:v>7.7567049714640185E-31</c:v>
                </c:pt>
                <c:pt idx="118">
                  <c:v>9.8627834252583139E-31</c:v>
                </c:pt>
                <c:pt idx="119">
                  <c:v>1.2540332809472743E-30</c:v>
                </c:pt>
                <c:pt idx="120">
                  <c:v>1.5944311527672935E-30</c:v>
                </c:pt>
                <c:pt idx="121">
                  <c:v>2.0271664970357814E-30</c:v>
                </c:pt>
                <c:pt idx="122">
                  <c:v>2.5772693094502904E-30</c:v>
                </c:pt>
                <c:pt idx="123">
                  <c:v>3.2765493022438082E-30</c:v>
                </c:pt>
                <c:pt idx="124">
                  <c:v>4.1654307705098934E-30</c:v>
                </c:pt>
                <c:pt idx="125">
                  <c:v>5.2952836065126958E-30</c:v>
                </c:pt>
                <c:pt idx="126">
                  <c:v>6.7313844916869556E-30</c:v>
                </c:pt>
                <c:pt idx="127">
                  <c:v>8.5566784653335802E-30</c:v>
                </c:pt>
                <c:pt idx="128">
                  <c:v>1.0876556988014446E-29</c:v>
                </c:pt>
                <c:pt idx="129">
                  <c:v>1.3824926911256587E-29</c:v>
                </c:pt>
                <c:pt idx="130">
                  <c:v>1.7571918764059514E-29</c:v>
                </c:pt>
                <c:pt idx="131">
                  <c:v>2.2333676696802192E-29</c:v>
                </c:pt>
                <c:pt idx="132">
                  <c:v>2.838479164594212E-29</c:v>
                </c:pt>
                <c:pt idx="133">
                  <c:v>3.6074090600104831E-29</c:v>
                </c:pt>
                <c:pt idx="134">
                  <c:v>4.5844686888027922E-29</c:v>
                </c:pt>
                <c:pt idx="135">
                  <c:v>5.8259440115767469E-29</c:v>
                </c:pt>
                <c:pt idx="136">
                  <c:v>7.4033283636289385E-29</c:v>
                </c:pt>
                <c:pt idx="137">
                  <c:v>9.4074269844546352E-29</c:v>
                </c:pt>
                <c:pt idx="138">
                  <c:v>1.1953568148240279E-28</c:v>
                </c:pt>
                <c:pt idx="139">
                  <c:v>1.5188218882308604E-28</c:v>
                </c:pt>
                <c:pt idx="140">
                  <c:v>1.9297383398390859E-28</c:v>
                </c:pt>
                <c:pt idx="141">
                  <c:v>2.4517264020643907E-28</c:v>
                </c:pt>
                <c:pt idx="142">
                  <c:v>3.1147793345146177E-28</c:v>
                </c:pt>
                <c:pt idx="143">
                  <c:v>3.9569809923581471E-28</c:v>
                </c:pt>
                <c:pt idx="144">
                  <c:v>5.0266857201892059E-28</c:v>
                </c:pt>
                <c:pt idx="145">
                  <c:v>6.3852848516079996E-28</c:v>
                </c:pt>
                <c:pt idx="146">
                  <c:v>8.1107174547864177E-28</c:v>
                </c:pt>
                <c:pt idx="147">
                  <c:v>1.0301925264951921E-27</c:v>
                </c:pt>
                <c:pt idx="148">
                  <c:v>1.3084505378000462E-27</c:v>
                </c:pt>
                <c:pt idx="149">
                  <c:v>1.6617882276125041E-27</c:v>
                </c:pt>
                <c:pt idx="150">
                  <c:v>2.1104406956189052E-27</c:v>
                </c:pt>
                <c:pt idx="151">
                  <c:v>2.6800900198893536E-27</c:v>
                </c:pt>
                <c:pt idx="152">
                  <c:v>3.4033295513099703E-27</c:v>
                </c:pt>
                <c:pt idx="153">
                  <c:v>4.3215212819085034E-27</c:v>
                </c:pt>
                <c:pt idx="154">
                  <c:v>5.4871516380382936E-27</c:v>
                </c:pt>
                <c:pt idx="155">
                  <c:v>6.966819237189755E-27</c:v>
                </c:pt>
                <c:pt idx="156">
                  <c:v>8.8450238629278882E-27</c:v>
                </c:pt>
                <c:pt idx="157">
                  <c:v>1.1228971162479291E-26</c:v>
                </c:pt>
                <c:pt idx="158">
                  <c:v>1.4254664895701056E-26</c:v>
                </c:pt>
                <c:pt idx="159">
                  <c:v>1.8094631177581916E-26</c:v>
                </c:pt>
                <c:pt idx="160">
                  <c:v>2.2967711128127391E-26</c:v>
                </c:pt>
                <c:pt idx="161">
                  <c:v>2.9151474822958836E-26</c:v>
                </c:pt>
                <c:pt idx="162">
                  <c:v>3.6997956941287437E-26</c:v>
                </c:pt>
                <c:pt idx="163">
                  <c:v>4.6953601279287765E-26</c:v>
                </c:pt>
                <c:pt idx="164">
                  <c:v>5.9584537766032958E-26</c:v>
                </c:pt>
                <c:pt idx="165">
                  <c:v>7.5608614978665159E-26</c:v>
                </c:pt>
                <c:pt idx="166">
                  <c:v>9.5935990089199362E-26</c:v>
                </c:pt>
                <c:pt idx="167">
                  <c:v>1.2172055778828489E-25</c:v>
                </c:pt>
                <c:pt idx="168">
                  <c:v>1.5442510670267963E-25</c:v>
                </c:pt>
                <c:pt idx="169">
                  <c:v>1.9590385988599329E-25</c:v>
                </c:pt>
                <c:pt idx="170">
                  <c:v>2.4850702775869909E-25</c:v>
                </c:pt>
                <c:pt idx="171">
                  <c:v>3.1521323130190882E-25</c:v>
                </c:pt>
                <c:pt idx="172">
                  <c:v>3.9979720848462159E-25</c:v>
                </c:pt>
                <c:pt idx="173">
                  <c:v>5.0704218389692983E-25</c:v>
                </c:pt>
                <c:pt idx="174">
                  <c:v>6.4300876911556223E-25</c:v>
                </c:pt>
                <c:pt idx="175">
                  <c:v>8.1537540681092962E-25</c:v>
                </c:pt>
                <c:pt idx="176">
                  <c:v>1.0338693485221479E-24</c:v>
                </c:pt>
                <c:pt idx="177">
                  <c:v>1.3108121834874266E-24</c:v>
                </c:pt>
                <c:pt idx="178">
                  <c:v>1.6618102905871858E-24</c:v>
                </c:pt>
                <c:pt idx="179">
                  <c:v>2.1066286166158124E-24</c:v>
                </c:pt>
                <c:pt idx="180">
                  <c:v>2.6702963326259607E-24</c:v>
                </c:pt>
                <c:pt idx="181">
                  <c:v>3.384505742411879E-24</c:v>
                </c:pt>
                <c:pt idx="182">
                  <c:v>4.2893820154271155E-24</c:v>
                </c:pt>
                <c:pt idx="183">
                  <c:v>5.4357217763904896E-24</c:v>
                </c:pt>
                <c:pt idx="184">
                  <c:v>6.8878244228979781E-24</c:v>
                </c:pt>
                <c:pt idx="185">
                  <c:v>8.7270726697671915E-24</c:v>
                </c:pt>
                <c:pt idx="186">
                  <c:v>1.1056460011582621E-23</c:v>
                </c:pt>
                <c:pt idx="187">
                  <c:v>1.4006314793304335E-23</c:v>
                </c:pt>
                <c:pt idx="188">
                  <c:v>1.7741536206755512E-23</c:v>
                </c:pt>
                <c:pt idx="189">
                  <c:v>2.2470740347159291E-23</c:v>
                </c:pt>
                <c:pt idx="190">
                  <c:v>2.8457818952823344E-23</c:v>
                </c:pt>
                <c:pt idx="191">
                  <c:v>3.6036545261558977E-23</c:v>
                </c:pt>
                <c:pt idx="192">
                  <c:v>4.5629027664334711E-23</c:v>
                </c:pt>
                <c:pt idx="193">
                  <c:v>5.7769021479401287E-23</c:v>
                </c:pt>
                <c:pt idx="194">
                  <c:v>7.3131373488231809E-23</c:v>
                </c:pt>
                <c:pt idx="195">
                  <c:v>9.2569207065819404E-23</c:v>
                </c:pt>
                <c:pt idx="196">
                  <c:v>1.1716087566879667E-22</c:v>
                </c:pt>
                <c:pt idx="197">
                  <c:v>1.4826924159433527E-22</c:v>
                </c:pt>
                <c:pt idx="198">
                  <c:v>1.8761650356594495E-22</c:v>
                </c:pt>
                <c:pt idx="199">
                  <c:v>2.373786363966399E-22</c:v>
                </c:pt>
                <c:pt idx="200">
                  <c:v>3.0030456343057859E-22</c:v>
                </c:pt>
                <c:pt idx="201">
                  <c:v>3.7986651386332781E-22</c:v>
                </c:pt>
                <c:pt idx="202">
                  <c:v>4.8044969300147915E-22</c:v>
                </c:pt>
                <c:pt idx="203">
                  <c:v>6.0759150275745972E-22</c:v>
                </c:pt>
                <c:pt idx="204">
                  <c:v>7.6828320360746639E-22</c:v>
                </c:pt>
                <c:pt idx="205">
                  <c:v>9.7135024777950642E-22</c:v>
                </c:pt>
                <c:pt idx="206">
                  <c:v>1.2279317122149334E-21</c:v>
                </c:pt>
                <c:pt idx="207">
                  <c:v>1.5520845392755495E-21</c:v>
                </c:pt>
                <c:pt idx="208">
                  <c:v>1.9615449297836337E-21</c:v>
                </c:pt>
                <c:pt idx="209">
                  <c:v>2.4786875736346557E-21</c:v>
                </c:pt>
                <c:pt idx="210">
                  <c:v>3.1317338828218445E-21</c:v>
                </c:pt>
                <c:pt idx="211">
                  <c:v>3.9562735554331378E-21</c:v>
                </c:pt>
                <c:pt idx="212">
                  <c:v>4.9971803301930673E-21</c:v>
                </c:pt>
                <c:pt idx="213">
                  <c:v>6.3110235452748559E-21</c:v>
                </c:pt>
                <c:pt idx="214">
                  <c:v>7.9691031642052366E-21</c:v>
                </c:pt>
                <c:pt idx="215">
                  <c:v>1.0061268617580832E-20</c:v>
                </c:pt>
                <c:pt idx="216">
                  <c:v>1.2700722811344163E-20</c:v>
                </c:pt>
                <c:pt idx="217">
                  <c:v>1.6030064071575832E-20</c:v>
                </c:pt>
                <c:pt idx="218">
                  <c:v>2.0228883259809213E-20</c:v>
                </c:pt>
                <c:pt idx="219">
                  <c:v>2.5523314086980184E-20</c:v>
                </c:pt>
                <c:pt idx="220">
                  <c:v>3.2198035883980535E-20</c:v>
                </c:pt>
                <c:pt idx="221">
                  <c:v>4.0611354881768856E-20</c:v>
                </c:pt>
                <c:pt idx="222">
                  <c:v>5.1214148819738833E-20</c:v>
                </c:pt>
                <c:pt idx="223">
                  <c:v>6.4573658434229922E-20</c:v>
                </c:pt>
                <c:pt idx="224">
                  <c:v>8.1403358058327296E-20</c:v>
                </c:pt>
                <c:pt idx="225">
                  <c:v>1.0260044863653568E-19</c:v>
                </c:pt>
                <c:pt idx="226">
                  <c:v>1.292929054432397E-19</c:v>
                </c:pt>
                <c:pt idx="227">
                  <c:v>1.6289849903467938E-19</c:v>
                </c:pt>
                <c:pt idx="228">
                  <c:v>2.0519881555761529E-19</c:v>
                </c:pt>
                <c:pt idx="229">
                  <c:v>2.5843206149076591E-19</c:v>
                </c:pt>
                <c:pt idx="230">
                  <c:v>3.2540938555699574E-19</c:v>
                </c:pt>
                <c:pt idx="231">
                  <c:v>4.0966063338265985E-19</c:v>
                </c:pt>
                <c:pt idx="232">
                  <c:v>5.1561692628008969E-19</c:v>
                </c:pt>
                <c:pt idx="233">
                  <c:v>6.4883929611343984E-19</c:v>
                </c:pt>
                <c:pt idx="234">
                  <c:v>8.1630490280758232E-19</c:v>
                </c:pt>
                <c:pt idx="235">
                  <c:v>1.0267652204734118E-18</c:v>
                </c:pt>
                <c:pt idx="236">
                  <c:v>1.2911941398657616E-18</c:v>
                </c:pt>
                <c:pt idx="237">
                  <c:v>1.6233483695399464E-18</c:v>
                </c:pt>
                <c:pt idx="238">
                  <c:v>2.04046803711635E-18</c:v>
                </c:pt>
                <c:pt idx="239">
                  <c:v>2.564152257550915E-18</c:v>
                </c:pt>
                <c:pt idx="240">
                  <c:v>3.2214529717844495E-18</c:v>
                </c:pt>
                <c:pt idx="241">
                  <c:v>4.0462409682955024E-18</c:v>
                </c:pt>
                <c:pt idx="242">
                  <c:v>5.0809111788108415E-18</c:v>
                </c:pt>
                <c:pt idx="243">
                  <c:v>6.3785107020441635E-18</c:v>
                </c:pt>
                <c:pt idx="244">
                  <c:v>8.0053933148408177E-18</c:v>
                </c:pt>
                <c:pt idx="245">
                  <c:v>1.0044529415695134E-17</c:v>
                </c:pt>
                <c:pt idx="246">
                  <c:v>1.2599631567771649E-17</c:v>
                </c:pt>
                <c:pt idx="247">
                  <c:v>1.5800294493461515E-17</c:v>
                </c:pt>
                <c:pt idx="248">
                  <c:v>1.9808396277743213E-17</c:v>
                </c:pt>
                <c:pt idx="249">
                  <c:v>2.4826066827697565E-17</c:v>
                </c:pt>
                <c:pt idx="250">
                  <c:v>3.110560297435483E-17</c:v>
                </c:pt>
                <c:pt idx="251">
                  <c:v>3.8961800266696959E-17</c:v>
                </c:pt>
                <c:pt idx="252">
                  <c:v>4.8787283522206395E-17</c:v>
                </c:pt>
                <c:pt idx="253">
                  <c:v>6.1071556507958049E-17</c:v>
                </c:pt>
                <c:pt idx="254">
                  <c:v>7.642466179785133E-17</c:v>
                </c:pt>
                <c:pt idx="255">
                  <c:v>9.5606552324035534E-17</c:v>
                </c:pt>
                <c:pt idx="256">
                  <c:v>1.195635355279948E-16</c:v>
                </c:pt>
                <c:pt idx="257">
                  <c:v>1.4947347047616737E-16</c:v>
                </c:pt>
                <c:pt idx="258">
                  <c:v>1.8680179148368037E-16</c:v>
                </c:pt>
                <c:pt idx="259">
                  <c:v>2.3337091536639406E-16</c:v>
                </c:pt>
                <c:pt idx="260">
                  <c:v>2.9144618378176376E-16</c:v>
                </c:pt>
                <c:pt idx="261">
                  <c:v>3.6384222206937119E-16</c:v>
                </c:pt>
                <c:pt idx="262">
                  <c:v>4.5405449184707534E-16</c:v>
                </c:pt>
                <c:pt idx="263">
                  <c:v>5.6642191323769755E-16</c:v>
                </c:pt>
                <c:pt idx="264">
                  <c:v>7.0632777886137048E-16</c:v>
                </c:pt>
                <c:pt idx="265">
                  <c:v>8.8044783016228125E-16</c:v>
                </c:pt>
                <c:pt idx="266">
                  <c:v>1.0970563834583277E-15</c:v>
                </c:pt>
                <c:pt idx="267">
                  <c:v>1.3664038586226703E-15</c:v>
                </c:pt>
                <c:pt idx="268">
                  <c:v>1.7011820748437448E-15</c:v>
                </c:pt>
                <c:pt idx="269">
                  <c:v>2.1170973532559841E-15</c:v>
                </c:pt>
                <c:pt idx="270">
                  <c:v>2.6335759478098409E-15</c:v>
                </c:pt>
                <c:pt idx="271">
                  <c:v>3.2746317855566757E-15</c:v>
                </c:pt>
                <c:pt idx="272">
                  <c:v>4.069933143060216E-15</c:v>
                </c:pt>
                <c:pt idx="273">
                  <c:v>5.0561129669214114E-15</c:v>
                </c:pt>
                <c:pt idx="274">
                  <c:v>6.2783773643012228E-15</c:v>
                </c:pt>
                <c:pt idx="275">
                  <c:v>7.7924787055011951E-15</c:v>
                </c:pt>
                <c:pt idx="276">
                  <c:v>9.6671342292595639E-15</c:v>
                </c:pt>
                <c:pt idx="277">
                  <c:v>1.1986988542943061E-14</c:v>
                </c:pt>
                <c:pt idx="278">
                  <c:v>1.4856239587458085E-14</c:v>
                </c:pt>
                <c:pt idx="279">
                  <c:v>1.8403073235595371E-14</c:v>
                </c:pt>
                <c:pt idx="280">
                  <c:v>2.2785082602349668E-14</c:v>
                </c:pt>
                <c:pt idx="281">
                  <c:v>2.8195885427264596E-14</c:v>
                </c:pt>
                <c:pt idx="282">
                  <c:v>3.4873197804876314E-14</c:v>
                </c:pt>
                <c:pt idx="283">
                  <c:v>4.310867659103879E-14</c:v>
                </c:pt>
                <c:pt idx="284">
                  <c:v>5.325990778196497E-14</c:v>
                </c:pt>
                <c:pt idx="285">
                  <c:v>6.5764996160468999E-14</c:v>
                </c:pt>
                <c:pt idx="286">
                  <c:v>8.1160305027778298E-14</c:v>
                </c:pt>
                <c:pt idx="287">
                  <c:v>1.0010200683922997E-13</c:v>
                </c:pt>
                <c:pt idx="288">
                  <c:v>1.233922395159557E-13</c:v>
                </c:pt>
                <c:pt idx="289">
                  <c:v>1.52010823205216E-13</c:v>
                </c:pt>
                <c:pt idx="290">
                  <c:v>1.8715368311742409E-13</c:v>
                </c:pt>
                <c:pt idx="291">
                  <c:v>2.3027935141560116E-13</c:v>
                </c:pt>
                <c:pt idx="292">
                  <c:v>2.8316519156987552E-13</c:v>
                </c:pt>
                <c:pt idx="293">
                  <c:v>3.4797530982024614E-13</c:v>
                </c:pt>
                <c:pt idx="294">
                  <c:v>4.2734249939402063E-13</c:v>
                </c:pt>
                <c:pt idx="295">
                  <c:v>5.2446701434232305E-13</c:v>
                </c:pt>
                <c:pt idx="296">
                  <c:v>6.4323550340952309E-13</c:v>
                </c:pt>
                <c:pt idx="297">
                  <c:v>7.8836406425827186E-13</c:v>
                </c:pt>
                <c:pt idx="298">
                  <c:v>9.6557012084295594E-13</c:v>
                </c:pt>
                <c:pt idx="299">
                  <c:v>1.1817787004228964E-12</c:v>
                </c:pt>
                <c:pt idx="300">
                  <c:v>1.4453697130857379E-12</c:v>
                </c:pt>
                <c:pt idx="301">
                  <c:v>1.7664740403004849E-12</c:v>
                </c:pt>
                <c:pt idx="302">
                  <c:v>2.1573276480430873E-12</c:v>
                </c:pt>
                <c:pt idx="303">
                  <c:v>2.6326945864697017E-12</c:v>
                </c:pt>
                <c:pt idx="304">
                  <c:v>3.2103716583553464E-12</c:v>
                </c:pt>
                <c:pt idx="305">
                  <c:v>3.9117897738038194E-12</c:v>
                </c:pt>
                <c:pt idx="306">
                  <c:v>4.7627296056306956E-12</c:v>
                </c:pt>
                <c:pt idx="307">
                  <c:v>5.7941721707113171E-12</c:v>
                </c:pt>
                <c:pt idx="308">
                  <c:v>7.043308446213715E-12</c:v>
                </c:pt>
                <c:pt idx="309">
                  <c:v>8.5547361516000332E-12</c:v>
                </c:pt>
                <c:pt idx="310">
                  <c:v>1.0381876460556206E-11</c:v>
                </c:pt>
                <c:pt idx="311">
                  <c:v>1.258864873242823E-11</c:v>
                </c:pt>
                <c:pt idx="312">
                  <c:v>1.5251447459403734E-11</c:v>
                </c:pt>
                <c:pt idx="313">
                  <c:v>1.8461472611349969E-11</c:v>
                </c:pt>
                <c:pt idx="314">
                  <c:v>2.2327472531578958E-11</c:v>
                </c:pt>
                <c:pt idx="315">
                  <c:v>2.6978967609600625E-11</c:v>
                </c:pt>
                <c:pt idx="316">
                  <c:v>3.2570033255923352E-11</c:v>
                </c:pt>
                <c:pt idx="317">
                  <c:v>3.928373236279133E-11</c:v>
                </c:pt>
                <c:pt idx="318">
                  <c:v>4.7337300595304006E-11</c:v>
                </c:pt>
                <c:pt idx="319">
                  <c:v>5.6988202669163736E-11</c:v>
                </c:pt>
                <c:pt idx="320">
                  <c:v>6.8541194390168656E-11</c:v>
                </c:pt>
                <c:pt idx="321">
                  <c:v>8.2356543817183284E-11</c:v>
                </c:pt>
                <c:pt idx="322">
                  <c:v>9.8859585628015381E-11</c:v>
                </c:pt>
                <c:pt idx="323">
                  <c:v>1.1855180577978127E-10</c:v>
                </c:pt>
                <c:pt idx="324">
                  <c:v>1.4202367902200179E-10</c:v>
                </c:pt>
                <c:pt idx="325">
                  <c:v>1.6996950989447569E-10</c:v>
                </c:pt>
                <c:pt idx="326">
                  <c:v>2.0320455866334585E-10</c:v>
                </c:pt>
                <c:pt idx="327">
                  <c:v>2.4268476733997806E-10</c:v>
                </c:pt>
                <c:pt idx="328">
                  <c:v>2.8952943758565875E-10</c:v>
                </c:pt>
                <c:pt idx="329">
                  <c:v>3.4504725199567199E-10</c:v>
                </c:pt>
                <c:pt idx="330">
                  <c:v>4.1076607300193542E-10</c:v>
                </c:pt>
                <c:pt idx="331">
                  <c:v>4.8846699940589484E-10</c:v>
                </c:pt>
                <c:pt idx="332">
                  <c:v>5.8022320926133021E-10</c:v>
                </c:pt>
                <c:pt idx="333">
                  <c:v>6.8844416930389496E-10</c:v>
                </c:pt>
                <c:pt idx="334">
                  <c:v>8.1592584511541599E-10</c:v>
                </c:pt>
                <c:pt idx="335">
                  <c:v>9.6590760235854906E-10</c:v>
                </c:pt>
                <c:pt idx="336">
                  <c:v>1.1421365472445618E-9</c:v>
                </c:pt>
                <c:pt idx="337">
                  <c:v>1.348940113293957E-9</c:v>
                </c:pt>
                <c:pt idx="338">
                  <c:v>1.5913077606540326E-9</c:v>
                </c:pt>
                <c:pt idx="339">
                  <c:v>1.8749827128221181E-9</c:v>
                </c:pt>
                <c:pt idx="340">
                  <c:v>2.2065647124748181E-9</c:v>
                </c:pt>
                <c:pt idx="341">
                  <c:v>2.5936248319121051E-9</c:v>
                </c:pt>
                <c:pt idx="342">
                  <c:v>3.0448334228664352E-9</c:v>
                </c:pt>
                <c:pt idx="343">
                  <c:v>3.5701023333510594E-9</c:v>
                </c:pt>
                <c:pt idx="344">
                  <c:v>4.1807425538455868E-9</c:v>
                </c:pt>
                <c:pt idx="345">
                  <c:v>4.8896384792145212E-9</c:v>
                </c:pt>
                <c:pt idx="346">
                  <c:v>5.7114399838597701E-9</c:v>
                </c:pt>
                <c:pt idx="347">
                  <c:v>6.6627735030150374E-9</c:v>
                </c:pt>
                <c:pt idx="348">
                  <c:v>7.7624732898640867E-9</c:v>
                </c:pt>
                <c:pt idx="349">
                  <c:v>9.0318339731639426E-9</c:v>
                </c:pt>
                <c:pt idx="350">
                  <c:v>1.0494885469945437E-8</c:v>
                </c:pt>
                <c:pt idx="351">
                  <c:v>1.2178691209173422E-8</c:v>
                </c:pt>
                <c:pt idx="352">
                  <c:v>1.4113670491394392E-8</c:v>
                </c:pt>
                <c:pt idx="353">
                  <c:v>1.6333945642751541E-8</c:v>
                </c:pt>
                <c:pt idx="354">
                  <c:v>1.8877714415711677E-8</c:v>
                </c:pt>
                <c:pt idx="355">
                  <c:v>2.1787647839918416E-8</c:v>
                </c:pt>
                <c:pt idx="356">
                  <c:v>2.5111313431469381E-8</c:v>
                </c:pt>
                <c:pt idx="357">
                  <c:v>2.8901623324629889E-8</c:v>
                </c:pt>
                <c:pt idx="358">
                  <c:v>3.3217306493960985E-8</c:v>
                </c:pt>
                <c:pt idx="359">
                  <c:v>3.8123403785074727E-8</c:v>
                </c:pt>
                <c:pt idx="360">
                  <c:v>4.3691783967409576E-8</c:v>
                </c:pt>
                <c:pt idx="361">
                  <c:v>5.0001678462101521E-8</c:v>
                </c:pt>
                <c:pt idx="362">
                  <c:v>5.7140231782732842E-8</c:v>
                </c:pt>
                <c:pt idx="363">
                  <c:v>6.5203064058213675E-8</c:v>
                </c:pt>
                <c:pt idx="364">
                  <c:v>7.4294841288256228E-8</c:v>
                </c:pt>
                <c:pt idx="365">
                  <c:v>8.4529848217370261E-8</c:v>
                </c:pt>
                <c:pt idx="366">
                  <c:v>9.6032557909081689E-8</c:v>
                </c:pt>
                <c:pt idx="367">
                  <c:v>1.089381912660184E-7</c:v>
                </c:pt>
                <c:pt idx="368">
                  <c:v>1.2339325888319742E-7</c:v>
                </c:pt>
                <c:pt idx="369">
                  <c:v>1.3955607675289465E-7</c:v>
                </c:pt>
                <c:pt idx="370">
                  <c:v>1.575972464733201E-7</c:v>
                </c:pt>
                <c:pt idx="371">
                  <c:v>1.7770008976541972E-7</c:v>
                </c:pt>
                <c:pt idx="372">
                  <c:v>2.0006102628976234E-7</c:v>
                </c:pt>
                <c:pt idx="373">
                  <c:v>2.248898829977903E-7</c:v>
                </c:pt>
                <c:pt idx="374">
                  <c:v>2.5241012256941889E-7</c:v>
                </c:pt>
                <c:pt idx="375">
                  <c:v>2.8285897790419478E-7</c:v>
                </c:pt>
                <c:pt idx="376">
                  <c:v>3.1648747916924079E-7</c:v>
                </c:pt>
                <c:pt idx="377">
                  <c:v>3.5356035958800951E-7</c:v>
                </c:pt>
                <c:pt idx="378">
                  <c:v>3.9435582600376251E-7</c:v>
                </c:pt>
                <c:pt idx="379">
                  <c:v>4.3916518029485044E-7</c:v>
                </c:pt>
                <c:pt idx="380">
                  <c:v>4.8829227797888484E-7</c:v>
                </c:pt>
                <c:pt idx="381">
                  <c:v>5.4205281084157519E-7</c:v>
                </c:pt>
                <c:pt idx="382">
                  <c:v>6.0077340118401463E-7</c:v>
                </c:pt>
                <c:pt idx="383">
                  <c:v>6.6479049631657953E-7</c:v>
                </c:pt>
                <c:pt idx="384">
                  <c:v>7.3444905325281114E-7</c:v>
                </c:pt>
                <c:pt idx="385">
                  <c:v>8.1010100518271668E-7</c:v>
                </c:pt>
                <c:pt idx="386">
                  <c:v>8.9210350323709416E-7</c:v>
                </c:pt>
                <c:pt idx="387">
                  <c:v>9.8081692929288736E-7</c:v>
                </c:pt>
                <c:pt idx="388">
                  <c:v>1.0766026781077798E-6</c:v>
                </c:pt>
                <c:pt idx="389">
                  <c:v>1.1798207098982189E-6</c:v>
                </c:pt>
                <c:pt idx="390">
                  <c:v>1.2908268775685569E-6</c:v>
                </c:pt>
                <c:pt idx="391">
                  <c:v>1.4099700361340593E-6</c:v>
                </c:pt>
                <c:pt idx="392">
                  <c:v>1.5375889454222052E-6</c:v>
                </c:pt>
                <c:pt idx="393">
                  <c:v>1.6740089808445128E-6</c:v>
                </c:pt>
                <c:pt idx="394">
                  <c:v>1.8195386708554736E-6</c:v>
                </c:pt>
                <c:pt idx="395">
                  <c:v>1.9744660836018146E-6</c:v>
                </c:pt>
                <c:pt idx="396">
                  <c:v>2.1390550891517959E-6</c:v>
                </c:pt>
                <c:pt idx="397">
                  <c:v>2.3135415275150061E-6</c:v>
                </c:pt>
                <c:pt idx="398">
                  <c:v>2.4981293163457117E-6</c:v>
                </c:pt>
                <c:pt idx="399">
                  <c:v>2.692986535694555E-6</c:v>
                </c:pt>
                <c:pt idx="400">
                  <c:v>2.8982415303568407E-6</c:v>
                </c:pt>
                <c:pt idx="401">
                  <c:v>3.1139790731856378E-6</c:v>
                </c:pt>
                <c:pt idx="402">
                  <c:v>3.3402366351190897E-6</c:v>
                </c:pt>
                <c:pt idx="403">
                  <c:v>3.5770008095416573E-6</c:v>
                </c:pt>
                <c:pt idx="404">
                  <c:v>3.8242039398917052E-6</c:v>
                </c:pt>
                <c:pt idx="405">
                  <c:v>4.0817210000830475E-6</c:v>
                </c:pt>
                <c:pt idx="406">
                  <c:v>4.3493667772717268E-6</c:v>
                </c:pt>
                <c:pt idx="407">
                  <c:v>4.6268934057328845E-6</c:v>
                </c:pt>
                <c:pt idx="408">
                  <c:v>4.9139882990798675E-6</c:v>
                </c:pt>
                <c:pt idx="409">
                  <c:v>5.2102725257478345E-6</c:v>
                </c:pt>
                <c:pt idx="410">
                  <c:v>5.5152996695650946E-6</c:v>
                </c:pt>
                <c:pt idx="411">
                  <c:v>5.8285552133653334E-6</c:v>
                </c:pt>
                <c:pt idx="412">
                  <c:v>6.1494564789715197E-6</c:v>
                </c:pt>
                <c:pt idx="413">
                  <c:v>6.4773531515539638E-6</c:v>
                </c:pt>
                <c:pt idx="414">
                  <c:v>6.8115284103838587E-6</c:v>
                </c:pt>
                <c:pt idx="415">
                  <c:v>7.1512006814404475E-6</c:v>
                </c:pt>
                <c:pt idx="416">
                  <c:v>7.4955260202705444E-6</c:v>
                </c:pt>
                <c:pt idx="417">
                  <c:v>7.8436011260389091E-6</c:v>
                </c:pt>
                <c:pt idx="418">
                  <c:v>8.1944669799554487E-6</c:v>
                </c:pt>
                <c:pt idx="419">
                  <c:v>8.5471130933364549E-6</c:v>
                </c:pt>
                <c:pt idx="420">
                  <c:v>8.9004823425768509E-6</c:v>
                </c:pt>
                <c:pt idx="421">
                  <c:v>9.2534763604040028E-6</c:v>
                </c:pt>
                <c:pt idx="422">
                  <c:v>9.6049614450873504E-6</c:v>
                </c:pt>
                <c:pt idx="423">
                  <c:v>9.9537749419123484E-6</c:v>
                </c:pt>
                <c:pt idx="424">
                  <c:v>1.0298732044326839E-5</c:v>
                </c:pt>
                <c:pt idx="425">
                  <c:v>1.0638632955851478E-5</c:v>
                </c:pt>
                <c:pt idx="426">
                  <c:v>1.0972270348218659E-5</c:v>
                </c:pt>
                <c:pt idx="427">
                  <c:v>1.1298437046380651E-5</c:v>
                </c:pt>
                <c:pt idx="428">
                  <c:v>1.1615933867084464E-5</c:v>
                </c:pt>
                <c:pt idx="429">
                  <c:v>1.192357753472692E-5</c:v>
                </c:pt>
                <c:pt idx="430">
                  <c:v>1.2220208596239359E-5</c:v>
                </c:pt>
                <c:pt idx="431">
                  <c:v>1.2504699255840211E-5</c:v>
                </c:pt>
                <c:pt idx="432">
                  <c:v>1.2775961050662881E-5</c:v>
                </c:pt>
                <c:pt idx="433">
                  <c:v>1.3032952289515708E-5</c:v>
                </c:pt>
                <c:pt idx="434">
                  <c:v>1.3274685179345661E-5</c:v>
                </c:pt>
                <c:pt idx="435">
                  <c:v>1.3500232567322083E-5</c:v>
                </c:pt>
                <c:pt idx="436">
                  <c:v>1.370873423077801E-5</c:v>
                </c:pt>
                <c:pt idx="437">
                  <c:v>1.3899402652478915E-5</c:v>
                </c:pt>
                <c:pt idx="438">
                  <c:v>1.4071528224742995E-5</c:v>
                </c:pt>
                <c:pt idx="439">
                  <c:v>1.4224483832717231E-5</c:v>
                </c:pt>
                <c:pt idx="440">
                  <c:v>1.4357728774513474E-5</c:v>
                </c:pt>
                <c:pt idx="441">
                  <c:v>1.4470811983804561E-5</c:v>
                </c:pt>
                <c:pt idx="442">
                  <c:v>1.4563374528751092E-5</c:v>
                </c:pt>
                <c:pt idx="443">
                  <c:v>1.4635151369642769E-5</c:v>
                </c:pt>
                <c:pt idx="444">
                  <c:v>1.4685972366266502E-5</c:v>
                </c:pt>
                <c:pt idx="445">
                  <c:v>1.4715762534618921E-5</c:v>
                </c:pt>
                <c:pt idx="446">
                  <c:v>1.4724541561043824E-5</c:v>
                </c:pt>
                <c:pt idx="447">
                  <c:v>1.4712422590068086E-5</c:v>
                </c:pt>
                <c:pt idx="448">
                  <c:v>1.4679610310017631E-5</c:v>
                </c:pt>
                <c:pt idx="449">
                  <c:v>1.4626398367816348E-5</c:v>
                </c:pt>
                <c:pt idx="450">
                  <c:v>1.4553166151105045E-5</c:v>
                </c:pt>
                <c:pt idx="451">
                  <c:v>1.4460374981889014E-5</c:v>
                </c:pt>
                <c:pt idx="452">
                  <c:v>1.4348563771255356E-5</c:v>
                </c:pt>
                <c:pt idx="453">
                  <c:v>1.4218344189248659E-5</c:v>
                </c:pt>
                <c:pt idx="454">
                  <c:v>1.4070395407707625E-5</c:v>
                </c:pt>
                <c:pt idx="455">
                  <c:v>1.3905458476728247E-5</c:v>
                </c:pt>
                <c:pt idx="456">
                  <c:v>1.3724330397415953E-5</c:v>
                </c:pt>
                <c:pt idx="457">
                  <c:v>1.3527857954725774E-5</c:v>
                </c:pt>
                <c:pt idx="458">
                  <c:v>1.33169313744861E-5</c:v>
                </c:pt>
                <c:pt idx="459">
                  <c:v>1.3092477868181907E-5</c:v>
                </c:pt>
                <c:pt idx="460">
                  <c:v>1.2855455127788443E-5</c:v>
                </c:pt>
                <c:pt idx="461">
                  <c:v>1.2606844830942236E-5</c:v>
                </c:pt>
                <c:pt idx="462">
                  <c:v>1.2347646214073843E-5</c:v>
                </c:pt>
                <c:pt idx="463">
                  <c:v>1.2078869767882671E-5</c:v>
                </c:pt>
                <c:pt idx="464">
                  <c:v>1.1801531105770792E-5</c:v>
                </c:pt>
                <c:pt idx="465">
                  <c:v>1.1516645051661111E-5</c:v>
                </c:pt>
                <c:pt idx="466">
                  <c:v>1.1225219989075943E-5</c:v>
                </c:pt>
                <c:pt idx="467">
                  <c:v>1.0928252508533965E-5</c:v>
                </c:pt>
                <c:pt idx="468">
                  <c:v>1.0626722385318433E-5</c:v>
                </c:pt>
                <c:pt idx="469">
                  <c:v>1.0321587914550351E-5</c:v>
                </c:pt>
                <c:pt idx="470">
                  <c:v>1.0013781625353803E-5</c:v>
                </c:pt>
                <c:pt idx="471">
                  <c:v>9.7042063907906247E-6</c:v>
                </c:pt>
                <c:pt idx="472">
                  <c:v>9.3937319452403266E-6</c:v>
                </c:pt>
                <c:pt idx="473">
                  <c:v>9.0831918160684535E-6</c:v>
                </c:pt>
                <c:pt idx="474">
                  <c:v>8.7733806718167587E-6</c:v>
                </c:pt>
                <c:pt idx="475">
                  <c:v>8.4650520848084996E-6</c:v>
                </c:pt>
                <c:pt idx="476">
                  <c:v>8.1589167020331712E-6</c:v>
                </c:pt>
                <c:pt idx="477">
                  <c:v>7.855640814490642E-6</c:v>
                </c:pt>
                <c:pt idx="478">
                  <c:v>7.5558453118529506E-6</c:v>
                </c:pt>
                <c:pt idx="479">
                  <c:v>7.2601050063726554E-6</c:v>
                </c:pt>
                <c:pt idx="480">
                  <c:v>6.9689483074264882E-6</c:v>
                </c:pt>
                <c:pt idx="481">
                  <c:v>6.6828572259453635E-6</c:v>
                </c:pt>
                <c:pt idx="482">
                  <c:v>6.4022676862410931E-6</c:v>
                </c:pt>
                <c:pt idx="483">
                  <c:v>6.127570121384779E-6</c:v>
                </c:pt>
                <c:pt idx="484">
                  <c:v>5.8591103273151024E-6</c:v>
                </c:pt>
                <c:pt idx="485">
                  <c:v>5.5971905502312834E-6</c:v>
                </c:pt>
                <c:pt idx="486">
                  <c:v>5.3420707815411827E-6</c:v>
                </c:pt>
                <c:pt idx="487">
                  <c:v>5.0939702346583946E-6</c:v>
                </c:pt>
                <c:pt idx="488">
                  <c:v>4.8530689782525447E-6</c:v>
                </c:pt>
                <c:pt idx="489">
                  <c:v>4.6195097011197653E-6</c:v>
                </c:pt>
                <c:pt idx="490">
                  <c:v>4.393399584631139E-6</c:v>
                </c:pt>
                <c:pt idx="491">
                  <c:v>4.1748122597022106E-6</c:v>
                </c:pt>
                <c:pt idx="492">
                  <c:v>3.9637898263764242E-6</c:v>
                </c:pt>
                <c:pt idx="493">
                  <c:v>3.7603449154013295E-6</c:v>
                </c:pt>
                <c:pt idx="494">
                  <c:v>3.5644627725693226E-6</c:v>
                </c:pt>
                <c:pt idx="495">
                  <c:v>3.3761033480667077E-6</c:v>
                </c:pt>
                <c:pt idx="496">
                  <c:v>3.1952033745992852E-6</c:v>
                </c:pt>
                <c:pt idx="497">
                  <c:v>3.0216784196189032E-6</c:v>
                </c:pt>
                <c:pt idx="498">
                  <c:v>2.8554248985370813E-6</c:v>
                </c:pt>
                <c:pt idx="499">
                  <c:v>2.6963220373626315E-6</c:v>
                </c:pt>
                <c:pt idx="500">
                  <c:v>2.5442337747211525E-6</c:v>
                </c:pt>
                <c:pt idx="501">
                  <c:v>2.3990105946893691E-6</c:v>
                </c:pt>
                <c:pt idx="502">
                  <c:v>2.2604912832963222E-6</c:v>
                </c:pt>
                <c:pt idx="503">
                  <c:v>2.1285046028914755E-6</c:v>
                </c:pt>
                <c:pt idx="504">
                  <c:v>2.002870879852818E-6</c:v>
                </c:pt>
                <c:pt idx="505">
                  <c:v>1.8834035022942142E-6</c:v>
                </c:pt>
                <c:pt idx="506">
                  <c:v>1.7699103255313908E-6</c:v>
                </c:pt>
                <c:pt idx="507">
                  <c:v>1.6621949840717746E-6</c:v>
                </c:pt>
                <c:pt idx="508">
                  <c:v>1.5600581098069686E-6</c:v>
                </c:pt>
                <c:pt idx="509">
                  <c:v>1.4632984569057623E-6</c:v>
                </c:pt>
                <c:pt idx="510">
                  <c:v>1.3717139346332711E-6</c:v>
                </c:pt>
                <c:pt idx="511">
                  <c:v>1.2851025499574757E-6</c:v>
                </c:pt>
                <c:pt idx="512">
                  <c:v>1.2032632623548631E-6</c:v>
                </c:pt>
                <c:pt idx="513">
                  <c:v>1.125996753692012E-6</c:v>
                </c:pt>
                <c:pt idx="514">
                  <c:v>1.0531061164475083E-6</c:v>
                </c:pt>
                <c:pt idx="515">
                  <c:v>9.8439746385162689E-7</c:v>
                </c:pt>
                <c:pt idx="516">
                  <c:v>9.1968046576500059E-7</c:v>
                </c:pt>
                <c:pt idx="517">
                  <c:v>8.5876881429885291E-7</c:v>
                </c:pt>
                <c:pt idx="518">
                  <c:v>8.0148062330223013E-7</c:v>
                </c:pt>
                <c:pt idx="519">
                  <c:v>7.4763876591229859E-7</c:v>
                </c:pt>
                <c:pt idx="520">
                  <c:v>6.9707115438864724E-7</c:v>
                </c:pt>
                <c:pt idx="521">
                  <c:v>6.4961096643452585E-7</c:v>
                </c:pt>
                <c:pt idx="522">
                  <c:v>6.0509682215562933E-7</c:v>
                </c:pt>
                <c:pt idx="523">
                  <c:v>5.6337291572205195E-7</c:v>
                </c:pt>
                <c:pt idx="524">
                  <c:v>5.2428910568881299E-7</c:v>
                </c:pt>
                <c:pt idx="525">
                  <c:v>4.877009677972683E-7</c:v>
                </c:pt>
                <c:pt idx="526">
                  <c:v>4.5346981392936509E-7</c:v>
                </c:pt>
                <c:pt idx="527">
                  <c:v>4.2146268072169573E-7</c:v>
                </c:pt>
                <c:pt idx="528">
                  <c:v>3.9155229117096617E-7</c:v>
                </c:pt>
                <c:pt idx="529">
                  <c:v>3.6361699237933901E-7</c:v>
                </c:pt>
                <c:pt idx="530">
                  <c:v>3.3754067240017023E-7</c:v>
                </c:pt>
                <c:pt idx="531">
                  <c:v>3.132126589544382E-7</c:v>
                </c:pt>
                <c:pt idx="532">
                  <c:v>2.9052760259768871E-7</c:v>
                </c:pt>
                <c:pt idx="533">
                  <c:v>2.6938534672839837E-7</c:v>
                </c:pt>
                <c:pt idx="534">
                  <c:v>2.4969078664344E-7</c:v>
                </c:pt>
                <c:pt idx="535">
                  <c:v>2.3135371966517196E-7</c:v>
                </c:pt>
                <c:pt idx="536">
                  <c:v>2.1428868818966492E-7</c:v>
                </c:pt>
                <c:pt idx="537">
                  <c:v>1.9841481733731022E-7</c:v>
                </c:pt>
                <c:pt idx="538">
                  <c:v>1.836556487255327E-7</c:v>
                </c:pt>
                <c:pt idx="539">
                  <c:v>1.699389717306525E-7</c:v>
                </c:pt>
                <c:pt idx="540">
                  <c:v>1.5719665346058543E-7</c:v>
                </c:pt>
                <c:pt idx="541">
                  <c:v>1.4536446852391479E-7</c:v>
                </c:pt>
                <c:pt idx="542">
                  <c:v>1.3438192955297683E-7</c:v>
                </c:pt>
                <c:pt idx="543">
                  <c:v>1.2419211931951143E-7</c:v>
                </c:pt>
                <c:pt idx="544">
                  <c:v>1.1474152517082929E-7</c:v>
                </c:pt>
                <c:pt idx="545">
                  <c:v>1.0597987641219608E-7</c:v>
                </c:pt>
                <c:pt idx="546">
                  <c:v>9.7859985167267278E-8</c:v>
                </c:pt>
                <c:pt idx="547">
                  <c:v>9.0337591162221987E-8</c:v>
                </c:pt>
                <c:pt idx="548">
                  <c:v>8.3371210800830205E-8</c:v>
                </c:pt>
                <c:pt idx="549">
                  <c:v>7.6921990826385496E-8</c:v>
                </c:pt>
                <c:pt idx="550">
                  <c:v>7.0953566802294575E-8</c:v>
                </c:pt>
                <c:pt idx="551">
                  <c:v>6.5431926585082816E-8</c:v>
                </c:pt>
                <c:pt idx="552">
                  <c:v>6.0325278912097686E-8</c:v>
                </c:pt>
                <c:pt idx="553">
                  <c:v>5.5603927180182145E-8</c:v>
                </c:pt>
                <c:pt idx="554">
                  <c:v>5.1240148450930961E-8</c:v>
                </c:pt>
                <c:pt idx="555">
                  <c:v>4.7208077682622565E-8</c:v>
                </c:pt>
                <c:pt idx="556">
                  <c:v>4.3483597157741326E-8</c:v>
                </c:pt>
                <c:pt idx="557">
                  <c:v>4.0044231048200147E-8</c:v>
                </c:pt>
                <c:pt idx="558">
                  <c:v>3.6869045037350965E-8</c:v>
                </c:pt>
                <c:pt idx="559">
                  <c:v>3.3938550898394179E-8</c:v>
                </c:pt>
                <c:pt idx="560">
                  <c:v>3.1234615912460784E-8</c:v>
                </c:pt>
                <c:pt idx="561">
                  <c:v>2.874037699630322E-8</c:v>
                </c:pt>
                <c:pt idx="562">
                  <c:v>2.6440159398625218E-8</c:v>
                </c:pt>
                <c:pt idx="563">
                  <c:v>2.4319399815709281E-8</c:v>
                </c:pt>
                <c:pt idx="564">
                  <c:v>2.2364573770509663E-8</c:v>
                </c:pt>
                <c:pt idx="565">
                  <c:v>2.0563127094885588E-8</c:v>
                </c:pt>
                <c:pt idx="566">
                  <c:v>1.8903411351704338E-8</c:v>
                </c:pt>
                <c:pt idx="567">
                  <c:v>1.7374623032045484E-8</c:v>
                </c:pt>
                <c:pt idx="568">
                  <c:v>1.596674636249731E-8</c:v>
                </c:pt>
                <c:pt idx="569">
                  <c:v>1.4670499558365077E-8</c:v>
                </c:pt>
                <c:pt idx="570">
                  <c:v>1.3477284360378391E-8</c:v>
                </c:pt>
                <c:pt idx="571">
                  <c:v>1.23791386949995E-8</c:v>
                </c:pt>
                <c:pt idx="572">
                  <c:v>1.136869230167927E-8</c:v>
                </c:pt>
                <c:pt idx="573">
                  <c:v>1.0439125174135376E-8</c:v>
                </c:pt>
                <c:pt idx="574">
                  <c:v>9.5841286669338848E-9</c:v>
                </c:pt>
                <c:pt idx="575">
                  <c:v>8.7978691232437769E-9</c:v>
                </c:pt>
                <c:pt idx="576">
                  <c:v>8.074953884418731E-9</c:v>
                </c:pt>
                <c:pt idx="577">
                  <c:v>7.4103995471613484E-9</c:v>
                </c:pt>
                <c:pt idx="578">
                  <c:v>6.7996023391778665E-9</c:v>
                </c:pt>
                <c:pt idx="579">
                  <c:v>6.2383104895139545E-9</c:v>
                </c:pt>
                <c:pt idx="580">
                  <c:v>5.7225984750812903E-9</c:v>
                </c:pt>
                <c:pt idx="581">
                  <c:v>5.2488430302100587E-9</c:v>
                </c:pt>
                <c:pt idx="582">
                  <c:v>4.813700811321381E-9</c:v>
                </c:pt>
                <c:pt idx="583">
                  <c:v>4.4140876140471328E-9</c:v>
                </c:pt>
                <c:pt idx="584">
                  <c:v>4.0471590452464594E-9</c:v>
                </c:pt>
                <c:pt idx="585">
                  <c:v>3.7102925573680232E-9</c:v>
                </c:pt>
                <c:pt idx="586">
                  <c:v>3.4010707574974352E-9</c:v>
                </c:pt>
                <c:pt idx="587">
                  <c:v>3.1172659081750722E-9</c:v>
                </c:pt>
                <c:pt idx="588">
                  <c:v>2.8568255416398326E-9</c:v>
                </c:pt>
                <c:pt idx="589">
                  <c:v>2.6178591135823239E-9</c:v>
                </c:pt>
                <c:pt idx="590">
                  <c:v>2.3986256267555207E-9</c:v>
                </c:pt>
                <c:pt idx="591">
                  <c:v>2.1975221588569329E-9</c:v>
                </c:pt>
                <c:pt idx="592">
                  <c:v>2.0130732330171629E-9</c:v>
                </c:pt>
                <c:pt idx="593">
                  <c:v>1.843920972957333E-9</c:v>
                </c:pt>
                <c:pt idx="594">
                  <c:v>1.6888159884441656E-9</c:v>
                </c:pt>
                <c:pt idx="595">
                  <c:v>1.5466089400528994E-9</c:v>
                </c:pt>
                <c:pt idx="596">
                  <c:v>1.4162427354675919E-9</c:v>
                </c:pt>
                <c:pt idx="597">
                  <c:v>1.2967453126107719E-9</c:v>
                </c:pt>
                <c:pt idx="598">
                  <c:v>1.1872229677744713E-9</c:v>
                </c:pt>
                <c:pt idx="599">
                  <c:v>1.0868541896636091E-9</c:v>
                </c:pt>
                <c:pt idx="600">
                  <c:v>9.9488396284828006E-10</c:v>
                </c:pt>
                <c:pt idx="601">
                  <c:v>9.1061850655449216E-10</c:v>
                </c:pt>
                <c:pt idx="602">
                  <c:v>8.3342041701738277E-10</c:v>
                </c:pt>
                <c:pt idx="603">
                  <c:v>7.6270418378359513E-10</c:v>
                </c:pt>
                <c:pt idx="604">
                  <c:v>6.9793205237795114E-10</c:v>
                </c:pt>
                <c:pt idx="605">
                  <c:v>6.3861020765720348E-10</c:v>
                </c:pt>
                <c:pt idx="606">
                  <c:v>5.8428525396016264E-10</c:v>
                </c:pt>
                <c:pt idx="607">
                  <c:v>5.3454096984492574E-10</c:v>
                </c:pt>
                <c:pt idx="608">
                  <c:v>4.8899531676701731E-10</c:v>
                </c:pt>
                <c:pt idx="609">
                  <c:v>4.4729768252883506E-10</c:v>
                </c:pt>
                <c:pt idx="610">
                  <c:v>4.0912634169766873E-10</c:v>
                </c:pt>
                <c:pt idx="611">
                  <c:v>3.741861164772544E-10</c:v>
                </c:pt>
                <c:pt idx="612">
                  <c:v>3.4220622271286524E-10</c:v>
                </c:pt>
                <c:pt idx="613">
                  <c:v>3.129382868285782E-10</c:v>
                </c:pt>
                <c:pt idx="614">
                  <c:v>2.8615452053616525E-10</c:v>
                </c:pt>
                <c:pt idx="615">
                  <c:v>2.6164604112613502E-10</c:v>
                </c:pt>
                <c:pt idx="616">
                  <c:v>2.3922132605355811E-10</c:v>
                </c:pt>
                <c:pt idx="617">
                  <c:v>2.1870479137374324E-10</c:v>
                </c:pt>
                <c:pt idx="618">
                  <c:v>1.9993548436247415E-10</c:v>
                </c:pt>
                <c:pt idx="619">
                  <c:v>1.827658813833703E-10</c:v>
                </c:pt>
                <c:pt idx="620">
                  <c:v>1.6706078273959226E-10</c:v>
                </c:pt>
                <c:pt idx="621">
                  <c:v>1.526962968727181E-10</c:v>
                </c:pt>
                <c:pt idx="622">
                  <c:v>1.3955890685405189E-10</c:v>
                </c:pt>
                <c:pt idx="623">
                  <c:v>1.2754461265294154E-10</c:v>
                </c:pt>
                <c:pt idx="624">
                  <c:v>1.165581431651447E-10</c:v>
                </c:pt>
                <c:pt idx="625">
                  <c:v>1.0651223244984513E-10</c:v>
                </c:pt>
                <c:pt idx="626">
                  <c:v>9.7326955051088479E-11</c:v>
                </c:pt>
                <c:pt idx="627">
                  <c:v>8.892911567764843E-11</c:v>
                </c:pt>
                <c:pt idx="628">
                  <c:v>8.1251688883204362E-11</c:v>
                </c:pt>
                <c:pt idx="629">
                  <c:v>7.4233304728627903E-11</c:v>
                </c:pt>
                <c:pt idx="630">
                  <c:v>6.78177767228195E-11</c:v>
                </c:pt>
                <c:pt idx="631">
                  <c:v>6.1953668629431701E-11</c:v>
                </c:pt>
                <c:pt idx="632">
                  <c:v>5.6593896996099465E-11</c:v>
                </c:pt>
                <c:pt idx="633">
                  <c:v>5.1695366510386555E-11</c:v>
                </c:pt>
                <c:pt idx="634">
                  <c:v>4.721863551671934E-11</c:v>
                </c:pt>
                <c:pt idx="635">
                  <c:v>4.3127609239861E-11</c:v>
                </c:pt>
                <c:pt idx="636">
                  <c:v>3.9389258456186357E-11</c:v>
                </c:pt>
                <c:pt idx="637">
                  <c:v>3.5973361534446255E-11</c:v>
                </c:pt>
                <c:pt idx="638">
                  <c:v>3.2852267933468389E-11</c:v>
                </c:pt>
                <c:pt idx="639">
                  <c:v>3.0000681398524425E-11</c:v>
                </c:pt>
                <c:pt idx="640">
                  <c:v>2.7395461238828363E-11</c:v>
                </c:pt>
                <c:pt idx="641">
                  <c:v>2.5015440198981743E-11</c:v>
                </c:pt>
                <c:pt idx="642">
                  <c:v>2.2841257557931191E-11</c:v>
                </c:pt>
                <c:pt idx="643">
                  <c:v>2.0855206198541388E-11</c:v>
                </c:pt>
                <c:pt idx="644">
                  <c:v>1.9041092494114332E-11</c:v>
                </c:pt>
                <c:pt idx="645">
                  <c:v>1.7384107950414754E-11</c:v>
                </c:pt>
                <c:pt idx="646">
                  <c:v>1.5870711629849106E-11</c:v>
                </c:pt>
                <c:pt idx="647">
                  <c:v>1.448852246213985E-11</c:v>
                </c:pt>
                <c:pt idx="648">
                  <c:v>1.3226220620611137E-11</c:v>
                </c:pt>
                <c:pt idx="649">
                  <c:v>1.207345720917519E-11</c:v>
                </c:pt>
                <c:pt idx="650">
                  <c:v>1.1020771567628551E-11</c:v>
                </c:pt>
                <c:pt idx="651">
                  <c:v>1.0059515559804494E-11</c:v>
                </c:pt>
                <c:pt idx="652">
                  <c:v>9.1817842609681226E-12</c:v>
                </c:pt>
                <c:pt idx="653">
                  <c:v>8.3803525093918775E-12</c:v>
                </c:pt>
                <c:pt idx="654">
                  <c:v>7.6486168308975695E-12</c:v>
                </c:pt>
                <c:pt idx="655">
                  <c:v>6.9805422860377407E-12</c:v>
                </c:pt>
                <c:pt idx="656">
                  <c:v>6.3706138265471317E-12</c:v>
                </c:pt>
                <c:pt idx="657">
                  <c:v>5.8137917823196754E-12</c:v>
                </c:pt>
                <c:pt idx="658">
                  <c:v>5.3054711313001438E-12</c:v>
                </c:pt>
                <c:pt idx="659">
                  <c:v>4.8414442337793651E-12</c:v>
                </c:pt>
                <c:pt idx="660">
                  <c:v>4.4178667390838806E-12</c:v>
                </c:pt>
                <c:pt idx="661">
                  <c:v>4.0312263968727935E-12</c:v>
                </c:pt>
                <c:pt idx="662">
                  <c:v>3.6783145277244543E-12</c:v>
                </c:pt>
                <c:pt idx="663">
                  <c:v>3.3561999281582597E-12</c:v>
                </c:pt>
                <c:pt idx="664">
                  <c:v>3.062205004087522E-12</c:v>
                </c:pt>
                <c:pt idx="665">
                  <c:v>2.7938839438498347E-12</c:v>
                </c:pt>
                <c:pt idx="666">
                  <c:v>2.5490027579409199E-12</c:v>
                </c:pt>
                <c:pt idx="667">
                  <c:v>2.3255210270376291E-12</c:v>
                </c:pt>
                <c:pt idx="668">
                  <c:v>2.1215752131233521E-12</c:v>
                </c:pt>
                <c:pt idx="669">
                  <c:v>1.9354634009678282E-12</c:v>
                </c:pt>
                <c:pt idx="670">
                  <c:v>1.7656313480969001E-12</c:v>
                </c:pt>
                <c:pt idx="671">
                  <c:v>1.6106597319886139E-12</c:v>
                </c:pt>
                <c:pt idx="672">
                  <c:v>1.4692524923322773E-12</c:v>
                </c:pt>
                <c:pt idx="673">
                  <c:v>1.3402261750457529E-12</c:v>
                </c:pt>
                <c:pt idx="674">
                  <c:v>1.2225001924738425E-12</c:v>
                </c:pt>
                <c:pt idx="675">
                  <c:v>1.1150879215690714E-12</c:v>
                </c:pt>
                <c:pt idx="676">
                  <c:v>1.0170885683724246E-12</c:v>
                </c:pt>
                <c:pt idx="677">
                  <c:v>9.2767973327048456E-13</c:v>
                </c:pt>
                <c:pt idx="678">
                  <c:v>8.4611061700933085E-13</c:v>
                </c:pt>
                <c:pt idx="679">
                  <c:v>7.7169581260788289E-13</c:v>
                </c:pt>
                <c:pt idx="680">
                  <c:v>7.0380963291839845E-13</c:v>
                </c:pt>
                <c:pt idx="681">
                  <c:v>6.4188092789077189E-13</c:v>
                </c:pt>
                <c:pt idx="682">
                  <c:v>5.8538834950849472E-13</c:v>
                </c:pt>
                <c:pt idx="683">
                  <c:v>5.3385602594378838E-13</c:v>
                </c:pt>
                <c:pt idx="684">
                  <c:v>4.8684960975876542E-13</c:v>
                </c:pt>
                <c:pt idx="685">
                  <c:v>4.4397266797563808E-13</c:v>
                </c:pt>
                <c:pt idx="686">
                  <c:v>4.048633846134146E-13</c:v>
                </c:pt>
                <c:pt idx="687">
                  <c:v>3.6919154877238132E-13</c:v>
                </c:pt>
                <c:pt idx="688">
                  <c:v>3.3665580366865451E-13</c:v>
                </c:pt>
                <c:pt idx="689">
                  <c:v>3.069811341220998E-13</c:v>
                </c:pt>
                <c:pt idx="690">
                  <c:v>2.7991657193658277E-13</c:v>
                </c:pt>
                <c:pt idx="691">
                  <c:v>2.5523310035422317E-13</c:v>
                </c:pt>
                <c:pt idx="692">
                  <c:v>2.3272174041102547E-13</c:v>
                </c:pt>
                <c:pt idx="693">
                  <c:v>2.1219180346324953E-13</c:v>
                </c:pt>
                <c:pt idx="694">
                  <c:v>1.9346929553055451E-13</c:v>
                </c:pt>
                <c:pt idx="695">
                  <c:v>1.7639546031906909E-13</c:v>
                </c:pt>
                <c:pt idx="696">
                  <c:v>1.6082544893055125E-13</c:v>
                </c:pt>
                <c:pt idx="697">
                  <c:v>1.4662710528585433E-13</c:v>
                </c:pt>
                <c:pt idx="698">
                  <c:v>1.336798572443328E-13</c:v>
                </c:pt>
                <c:pt idx="699">
                  <c:v>1.2187370425392895E-13</c:v>
                </c:pt>
                <c:pt idx="700">
                  <c:v>1.111082931684707E-13</c:v>
                </c:pt>
                <c:pt idx="701">
                  <c:v>1.0129207458264627E-13</c:v>
                </c:pt>
                <c:pt idx="702">
                  <c:v>9.2341532700354084E-14</c:v>
                </c:pt>
                <c:pt idx="703">
                  <c:v>8.4180482344534031E-14</c:v>
                </c:pt>
                <c:pt idx="704">
                  <c:v>7.6739427290129351E-14</c:v>
                </c:pt>
                <c:pt idx="705">
                  <c:v>6.9954974577825033E-14</c:v>
                </c:pt>
                <c:pt idx="706">
                  <c:v>6.3769299952922235E-14</c:v>
                </c:pt>
                <c:pt idx="707">
                  <c:v>5.8129659979035635E-14</c:v>
                </c:pt>
                <c:pt idx="708">
                  <c:v>5.2987946763918304E-14</c:v>
                </c:pt>
                <c:pt idx="709">
                  <c:v>4.8300281592786801E-14</c:v>
                </c:pt>
                <c:pt idx="710">
                  <c:v>4.4026644079013054E-14</c:v>
                </c:pt>
                <c:pt idx="711">
                  <c:v>4.0130533740312588E-14</c:v>
                </c:pt>
                <c:pt idx="712">
                  <c:v>3.6578661171424172E-14</c:v>
                </c:pt>
                <c:pt idx="713">
                  <c:v>3.3340666237944455E-14</c:v>
                </c:pt>
                <c:pt idx="714">
                  <c:v>3.0388860932164614E-14</c:v>
                </c:pt>
                <c:pt idx="715">
                  <c:v>2.7697994739481238E-14</c:v>
                </c:pt>
                <c:pt idx="716">
                  <c:v>2.5245040553538475E-14</c:v>
                </c:pt>
                <c:pt idx="717">
                  <c:v>2.3008999341849363E-14</c:v>
                </c:pt>
                <c:pt idx="718">
                  <c:v>2.097072192942023E-14</c:v>
                </c:pt>
                <c:pt idx="719">
                  <c:v>1.9112746401649683E-14</c:v>
                </c:pt>
                <c:pt idx="720">
                  <c:v>1.7419149762336891E-14</c:v>
                </c:pt>
                <c:pt idx="721">
                  <c:v>1.5875412601812282E-14</c:v>
                </c:pt>
                <c:pt idx="722">
                  <c:v>1.4468295636289556E-14</c:v>
                </c:pt>
                <c:pt idx="723">
                  <c:v>1.3185727079667659E-14</c:v>
                </c:pt>
                <c:pt idx="724">
                  <c:v>1.2016699902555183E-14</c:v>
                </c:pt>
                <c:pt idx="725">
                  <c:v>1.0951178109065568E-14</c:v>
                </c:pt>
                <c:pt idx="726">
                  <c:v>9.9800112459312621E-15</c:v>
                </c:pt>
                <c:pt idx="727">
                  <c:v>9.0948564201435461E-15</c:v>
                </c:pt>
                <c:pt idx="728">
                  <c:v>8.2881071679422976E-15</c:v>
                </c:pt>
                <c:pt idx="729">
                  <c:v>7.5528285761436885E-15</c:v>
                </c:pt>
                <c:pt idx="730">
                  <c:v>6.882698105678029E-15</c:v>
                </c:pt>
                <c:pt idx="731">
                  <c:v>6.2719516187956896E-15</c:v>
                </c:pt>
                <c:pt idx="732">
                  <c:v>5.7153341528241336E-15</c:v>
                </c:pt>
                <c:pt idx="733">
                  <c:v>5.2080550247130216E-15</c:v>
                </c:pt>
                <c:pt idx="734">
                  <c:v>4.7457468854583464E-15</c:v>
                </c:pt>
                <c:pt idx="735">
                  <c:v>4.3244283782207111E-15</c:v>
                </c:pt>
                <c:pt idx="736">
                  <c:v>3.9404700840246499E-15</c:v>
                </c:pt>
                <c:pt idx="737">
                  <c:v>3.5905634654986578E-15</c:v>
                </c:pt>
                <c:pt idx="738">
                  <c:v>3.2716925456958562E-15</c:v>
                </c:pt>
                <c:pt idx="739">
                  <c:v>2.9811080821222472E-15</c:v>
                </c:pt>
                <c:pt idx="740">
                  <c:v>2.7163040156417759E-15</c:v>
                </c:pt>
                <c:pt idx="741">
                  <c:v>2.4749959953755527E-15</c:v>
                </c:pt>
                <c:pt idx="742">
                  <c:v>2.2551017960841075E-15</c:v>
                </c:pt>
                <c:pt idx="743">
                  <c:v>2.054723462240349E-15</c:v>
                </c:pt>
                <c:pt idx="744">
                  <c:v>1.8721310265659407E-15</c:v>
                </c:pt>
                <c:pt idx="745">
                  <c:v>1.705747664541815E-15</c:v>
                </c:pt>
                <c:pt idx="746">
                  <c:v>1.554136158612069E-15</c:v>
                </c:pt>
                <c:pt idx="747">
                  <c:v>1.4159865565725412E-15</c:v>
                </c:pt>
                <c:pt idx="748">
                  <c:v>1.2901049191246226E-15</c:v>
                </c:pt>
                <c:pt idx="749">
                  <c:v>1.1754030608005098E-15</c:v>
                </c:pt>
                <c:pt idx="750">
                  <c:v>1.0708891963215261E-15</c:v>
                </c:pt>
                <c:pt idx="751">
                  <c:v>9.756594131159046E-16</c:v>
                </c:pt>
                <c:pt idx="752">
                  <c:v>8.8888989677014367E-16</c:v>
                </c:pt>
                <c:pt idx="753">
                  <c:v>8.0982984340318747E-16</c:v>
                </c:pt>
                <c:pt idx="754">
                  <c:v>7.3779499797439254E-16</c:v>
                </c:pt>
                <c:pt idx="755">
                  <c:v>6.7216176380380094E-16</c:v>
                </c:pt>
                <c:pt idx="756">
                  <c:v>6.1236183251420514E-16</c:v>
                </c:pt>
                <c:pt idx="757">
                  <c:v>5.5787728872098017E-16</c:v>
                </c:pt>
                <c:pt idx="758">
                  <c:v>5.0823614745719419E-16</c:v>
                </c:pt>
                <c:pt idx="759">
                  <c:v>4.6300828630615715E-16</c:v>
                </c:pt>
                <c:pt idx="760">
                  <c:v>4.2180173711396052E-16</c:v>
                </c:pt>
                <c:pt idx="761">
                  <c:v>3.8425930581527866E-16</c:v>
                </c:pt>
                <c:pt idx="762">
                  <c:v>3.5005549130964694E-16</c:v>
                </c:pt>
                <c:pt idx="763">
                  <c:v>3.188936768475627E-16</c:v>
                </c:pt>
                <c:pt idx="764">
                  <c:v>2.9050357008695366E-16</c:v>
                </c:pt>
                <c:pt idx="765">
                  <c:v>2.6463886961245848E-16</c:v>
                </c:pt>
                <c:pt idx="766">
                  <c:v>2.4107513807882216E-16</c:v>
                </c:pt>
                <c:pt idx="767">
                  <c:v>2.1960786364604285E-16</c:v>
                </c:pt>
                <c:pt idx="768">
                  <c:v>2.0005069304478847E-16</c:v>
                </c:pt>
                <c:pt idx="769">
                  <c:v>1.8223382112331666E-16</c:v>
                </c:pt>
                <c:pt idx="770">
                  <c:v>1.660025230983385E-16</c:v>
                </c:pt>
                <c:pt idx="771">
                  <c:v>1.512158167122761E-16</c:v>
                </c:pt>
                <c:pt idx="772">
                  <c:v>1.3774524303690382E-16</c:v>
                </c:pt>
                <c:pt idx="773">
                  <c:v>1.2547375522012839E-16</c:v>
                </c:pt>
                <c:pt idx="774">
                  <c:v>1.1429470577241189E-16</c:v>
                </c:pt>
                <c:pt idx="775">
                  <c:v>1.0411092360212869E-16</c:v>
                </c:pt>
                <c:pt idx="776">
                  <c:v>9.4833872831222822E-17</c:v>
                </c:pt>
                <c:pt idx="777">
                  <c:v>8.6382886235357899E-17</c:v>
                </c:pt>
                <c:pt idx="778">
                  <c:v>7.8684466639806052E-17</c:v>
                </c:pt>
                <c:pt idx="779">
                  <c:v>7.1671650250617375E-17</c:v>
                </c:pt>
                <c:pt idx="780">
                  <c:v>6.5283426476958571E-17</c:v>
                </c:pt>
                <c:pt idx="781">
                  <c:v>5.946420920103713E-17</c:v>
                </c:pt>
                <c:pt idx="782">
                  <c:v>5.416335495792963E-17</c:v>
                </c:pt>
                <c:pt idx="783">
                  <c:v>4.9334723880301116E-17</c:v>
                </c:pt>
                <c:pt idx="784">
                  <c:v>4.4936279570993732E-17</c:v>
                </c:pt>
                <c:pt idx="785">
                  <c:v>4.0929724512820928E-17</c:v>
                </c:pt>
                <c:pt idx="786">
                  <c:v>3.7280167833058491E-17</c:v>
                </c:pt>
                <c:pt idx="787">
                  <c:v>3.3955822543915302E-17</c:v>
                </c:pt>
                <c:pt idx="788">
                  <c:v>3.0927729688511079E-17</c:v>
                </c:pt>
                <c:pt idx="789">
                  <c:v>2.8169506951414004E-17</c:v>
                </c:pt>
                <c:pt idx="790">
                  <c:v>2.565711960583558E-17</c:v>
                </c:pt>
                <c:pt idx="791">
                  <c:v>2.336867180902249E-17</c:v>
                </c:pt>
                <c:pt idx="792">
                  <c:v>2.1284216418974378E-17</c:v>
                </c:pt>
                <c:pt idx="793">
                  <c:v>1.9385581712062225E-17</c:v>
                </c:pt>
                <c:pt idx="794">
                  <c:v>1.7656213496721632E-17</c:v>
                </c:pt>
                <c:pt idx="795">
                  <c:v>1.6081031251902535E-17</c:v>
                </c:pt>
                <c:pt idx="796">
                  <c:v>1.464629704564949E-17</c:v>
                </c:pt>
                <c:pt idx="797">
                  <c:v>1.3339496107511805E-17</c:v>
                </c:pt>
                <c:pt idx="798">
                  <c:v>1.2149228010490169E-17</c:v>
                </c:pt>
                <c:pt idx="799">
                  <c:v>1.1065107529366322E-17</c:v>
                </c:pt>
                <c:pt idx="800">
                  <c:v>1.0077674306260741E-17</c:v>
                </c:pt>
              </c:numCache>
            </c:numRef>
          </c:yVal>
          <c:smooth val="0"/>
          <c:extLst>
            <c:ext xmlns:c16="http://schemas.microsoft.com/office/drawing/2014/chart" uri="{C3380CC4-5D6E-409C-BE32-E72D297353CC}">
              <c16:uniqueId val="{00000011-1D62-4DE3-8E9D-34C68BC76380}"/>
            </c:ext>
          </c:extLst>
        </c:ser>
        <c:ser>
          <c:idx val="16"/>
          <c:order val="16"/>
          <c:tx>
            <c:strRef>
              <c:f>Calc!$T$6</c:f>
              <c:strCache>
                <c:ptCount val="1"/>
                <c:pt idx="0">
                  <c:v>17</c:v>
                </c:pt>
              </c:strCache>
            </c:strRef>
          </c:tx>
          <c:spPr>
            <a:ln w="28575">
              <a:noFill/>
            </a:ln>
          </c:spPr>
          <c:marker>
            <c:symbol val="dot"/>
            <c:size val="3"/>
            <c:spPr>
              <a:noFill/>
              <a:ln>
                <a:solidFill>
                  <a:srgbClr val="3366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T$7:$T$807</c:f>
              <c:numCache>
                <c:formatCode>000,000,000</c:formatCode>
                <c:ptCount val="801"/>
                <c:pt idx="0">
                  <c:v>2.9766076215398282E-33</c:v>
                </c:pt>
                <c:pt idx="1">
                  <c:v>3.5776021889624678E-33</c:v>
                </c:pt>
                <c:pt idx="2">
                  <c:v>4.2999164364902392E-33</c:v>
                </c:pt>
                <c:pt idx="3">
                  <c:v>5.1680351902987701E-33</c:v>
                </c:pt>
                <c:pt idx="4">
                  <c:v>6.2113836592295948E-33</c:v>
                </c:pt>
                <c:pt idx="5">
                  <c:v>7.4653240191347145E-33</c:v>
                </c:pt>
                <c:pt idx="6">
                  <c:v>8.9723529753839504E-33</c:v>
                </c:pt>
                <c:pt idx="7">
                  <c:v>1.0783540822244841E-32</c:v>
                </c:pt>
                <c:pt idx="8">
                  <c:v>1.2960260684138378E-32</c:v>
                </c:pt>
                <c:pt idx="9">
                  <c:v>1.5576266435337186E-32</c:v>
                </c:pt>
                <c:pt idx="10">
                  <c:v>1.8720189582913885E-32</c:v>
                </c:pt>
                <c:pt idx="11">
                  <c:v>2.2498539560699168E-32</c:v>
                </c:pt>
                <c:pt idx="12">
                  <c:v>2.7039308897900691E-32</c:v>
                </c:pt>
                <c:pt idx="13">
                  <c:v>3.249630516930533E-32</c:v>
                </c:pt>
                <c:pt idx="14">
                  <c:v>3.905435619475318E-32</c:v>
                </c:pt>
                <c:pt idx="15">
                  <c:v>4.6935564462743474E-32</c:v>
                </c:pt>
                <c:pt idx="16">
                  <c:v>5.6406822202488539E-32</c:v>
                </c:pt>
                <c:pt idx="17">
                  <c:v>6.7788841116565763E-32</c:v>
                </c:pt>
                <c:pt idx="18">
                  <c:v>8.1467001949419317E-32</c:v>
                </c:pt>
                <c:pt idx="19">
                  <c:v>9.7904390531315232E-32</c:v>
                </c:pt>
                <c:pt idx="20">
                  <c:v>1.1765746077603071E-31</c:v>
                </c:pt>
                <c:pt idx="21">
                  <c:v>1.4139485381392094E-31</c:v>
                </c:pt>
                <c:pt idx="22">
                  <c:v>1.6992000900093486E-31</c:v>
                </c:pt>
                <c:pt idx="23">
                  <c:v>2.0419833055167557E-31</c:v>
                </c:pt>
                <c:pt idx="24">
                  <c:v>2.4538982731554971E-31</c:v>
                </c:pt>
                <c:pt idx="25">
                  <c:v>2.9488832793281138E-31</c:v>
                </c:pt>
                <c:pt idx="26">
                  <c:v>3.5436859549671157E-31</c:v>
                </c:pt>
                <c:pt idx="27">
                  <c:v>4.2584293238613272E-31</c:v>
                </c:pt>
                <c:pt idx="28">
                  <c:v>5.1172918609933867E-31</c:v>
                </c:pt>
                <c:pt idx="29">
                  <c:v>6.1493245149990632E-31</c:v>
                </c:pt>
                <c:pt idx="30">
                  <c:v>7.3894322683185401E-31</c:v>
                </c:pt>
                <c:pt idx="31">
                  <c:v>8.8795533572998513E-31</c:v>
                </c:pt>
                <c:pt idx="32">
                  <c:v>1.0670075939253396E-30</c:v>
                </c:pt>
                <c:pt idx="33">
                  <c:v>1.2821539998597885E-30</c:v>
                </c:pt>
                <c:pt idx="34">
                  <c:v>1.5406681899251268E-30</c:v>
                </c:pt>
                <c:pt idx="35">
                  <c:v>1.8512890538844845E-30</c:v>
                </c:pt>
                <c:pt idx="36">
                  <c:v>2.2245157930792766E-30</c:v>
                </c:pt>
                <c:pt idx="37">
                  <c:v>2.6729623699308447E-30</c:v>
                </c:pt>
                <c:pt idx="38">
                  <c:v>3.211783298053563E-30</c:v>
                </c:pt>
                <c:pt idx="39">
                  <c:v>3.8591851252826129E-30</c:v>
                </c:pt>
                <c:pt idx="40">
                  <c:v>4.6370408478951166E-30</c:v>
                </c:pt>
                <c:pt idx="41">
                  <c:v>5.5716279602748814E-30</c:v>
                </c:pt>
                <c:pt idx="42">
                  <c:v>6.694515006748172E-30</c:v>
                </c:pt>
                <c:pt idx="43">
                  <c:v>8.0436265011696529E-30</c:v>
                </c:pt>
                <c:pt idx="44">
                  <c:v>9.6645220830329506E-30</c:v>
                </c:pt>
                <c:pt idx="45">
                  <c:v>1.161193298806653E-29</c:v>
                </c:pt>
                <c:pt idx="46">
                  <c:v>1.3951607568598584E-29</c:v>
                </c:pt>
                <c:pt idx="47">
                  <c:v>1.6762527995116682E-29</c:v>
                </c:pt>
                <c:pt idx="48">
                  <c:v>2.0139572754458672E-29</c:v>
                </c:pt>
                <c:pt idx="49">
                  <c:v>2.4196714550964469E-29</c:v>
                </c:pt>
                <c:pt idx="50">
                  <c:v>2.9070861217776797E-29</c:v>
                </c:pt>
                <c:pt idx="51">
                  <c:v>3.4926468860259237E-29</c:v>
                </c:pt>
                <c:pt idx="52">
                  <c:v>4.1961082407259221E-29</c:v>
                </c:pt>
                <c:pt idx="53">
                  <c:v>5.0411989909089589E-29</c:v>
                </c:pt>
                <c:pt idx="54">
                  <c:v>6.0564214338531259E-29</c:v>
                </c:pt>
                <c:pt idx="55">
                  <c:v>7.2760111577201096E-29</c:v>
                </c:pt>
                <c:pt idx="56">
                  <c:v>8.7410897209932722E-29</c:v>
                </c:pt>
                <c:pt idx="57">
                  <c:v>1.0501048951181613E-28</c:v>
                </c:pt>
                <c:pt idx="58">
                  <c:v>1.2615213376559843E-28</c:v>
                </c:pt>
                <c:pt idx="59">
                  <c:v>1.5154836639548279E-28</c:v>
                </c:pt>
                <c:pt idx="60">
                  <c:v>1.8205498947230938E-28</c:v>
                </c:pt>
                <c:pt idx="61">
                  <c:v>2.1869986068647529E-28</c:v>
                </c:pt>
                <c:pt idx="62">
                  <c:v>2.6271746540109785E-28</c:v>
                </c:pt>
                <c:pt idx="63">
                  <c:v>3.1559043129297761E-28</c:v>
                </c:pt>
                <c:pt idx="64">
                  <c:v>3.7909937884886721E-28</c:v>
                </c:pt>
                <c:pt idx="65">
                  <c:v>4.5538278039241437E-28</c:v>
                </c:pt>
                <c:pt idx="66">
                  <c:v>5.4700883571503853E-28</c:v>
                </c:pt>
                <c:pt idx="67">
                  <c:v>6.5706177498089702E-28</c:v>
                </c:pt>
                <c:pt idx="68">
                  <c:v>7.89245482825565E-28</c:v>
                </c:pt>
                <c:pt idx="69">
                  <c:v>9.4800791761164218E-28</c:v>
                </c:pt>
                <c:pt idx="70">
                  <c:v>1.1386904960141083E-27</c:v>
                </c:pt>
                <c:pt idx="71">
                  <c:v>1.3677074487267463E-27</c:v>
                </c:pt>
                <c:pt idx="72">
                  <c:v>1.6427611559981285E-27</c:v>
                </c:pt>
                <c:pt idx="73">
                  <c:v>1.9731006753858322E-27</c:v>
                </c:pt>
                <c:pt idx="74">
                  <c:v>2.3698321187100313E-27</c:v>
                </c:pt>
                <c:pt idx="75">
                  <c:v>2.8462912688649401E-27</c:v>
                </c:pt>
                <c:pt idx="76">
                  <c:v>3.4184909077029958E-27</c:v>
                </c:pt>
                <c:pt idx="77">
                  <c:v>4.1056578229755432E-27</c:v>
                </c:pt>
                <c:pt idx="78">
                  <c:v>4.9308774584780619E-27</c:v>
                </c:pt>
                <c:pt idx="79">
                  <c:v>5.9218677668887054E-27</c:v>
                </c:pt>
                <c:pt idx="80">
                  <c:v>7.1119081390093081E-27</c:v>
                </c:pt>
                <c:pt idx="81">
                  <c:v>8.5409544598015686E-27</c:v>
                </c:pt>
                <c:pt idx="82">
                  <c:v>1.0256977552992874E-26</c:v>
                </c:pt>
                <c:pt idx="83">
                  <c:v>1.2317569728687378E-26</c:v>
                </c:pt>
                <c:pt idx="84">
                  <c:v>1.4791873090147781E-26</c:v>
                </c:pt>
                <c:pt idx="85">
                  <c:v>1.7762893983891578E-26</c:v>
                </c:pt>
                <c:pt idx="86">
                  <c:v>2.1330280847897736E-26</c:v>
                </c:pt>
                <c:pt idx="87">
                  <c:v>2.5613658153499533E-26</c:v>
                </c:pt>
                <c:pt idx="88">
                  <c:v>3.0756627660066832E-26</c:v>
                </c:pt>
                <c:pt idx="89">
                  <c:v>3.6931570422585808E-26</c:v>
                </c:pt>
                <c:pt idx="90">
                  <c:v>4.4345409647866615E-26</c:v>
                </c:pt>
                <c:pt idx="91">
                  <c:v>5.3246526469303639E-26</c:v>
                </c:pt>
                <c:pt idx="92">
                  <c:v>6.3933059062669624E-26</c:v>
                </c:pt>
                <c:pt idx="93">
                  <c:v>7.6762861527193853E-26</c:v>
                </c:pt>
                <c:pt idx="94">
                  <c:v>9.2165454130679843E-26</c:v>
                </c:pt>
                <c:pt idx="95">
                  <c:v>1.1065636269132874E-25</c:v>
                </c:pt>
                <c:pt idx="96">
                  <c:v>1.3285432423202314E-25</c:v>
                </c:pt>
                <c:pt idx="97">
                  <c:v>1.5950193122040908E-25</c:v>
                </c:pt>
                <c:pt idx="98">
                  <c:v>1.9149040084677226E-25</c:v>
                </c:pt>
                <c:pt idx="99">
                  <c:v>2.2988929266397239E-25</c:v>
                </c:pt>
                <c:pt idx="100">
                  <c:v>2.7598216204040365E-25</c:v>
                </c:pt>
                <c:pt idx="101">
                  <c:v>3.3130933367775874E-25</c:v>
                </c:pt>
                <c:pt idx="102">
                  <c:v>3.9771921541473547E-25</c:v>
                </c:pt>
                <c:pt idx="103">
                  <c:v>4.7742985545981938E-25</c:v>
                </c:pt>
                <c:pt idx="104">
                  <c:v>5.7310278539906117E-25</c:v>
                </c:pt>
                <c:pt idx="105">
                  <c:v>6.8793159798588928E-25</c:v>
                </c:pt>
                <c:pt idx="106">
                  <c:v>8.2574819623498845E-25</c:v>
                </c:pt>
                <c:pt idx="107">
                  <c:v>9.9115023475881608E-25</c:v>
                </c:pt>
                <c:pt idx="108">
                  <c:v>1.1896539748343632E-24</c:v>
                </c:pt>
                <c:pt idx="109">
                  <c:v>1.4278776144058961E-24</c:v>
                </c:pt>
                <c:pt idx="110">
                  <c:v>1.7137611607177458E-24</c:v>
                </c:pt>
                <c:pt idx="111">
                  <c:v>2.0568301195920072E-24</c:v>
                </c:pt>
                <c:pt idx="112">
                  <c:v>2.4685117211254134E-24</c:v>
                </c:pt>
                <c:pt idx="113">
                  <c:v>2.9625141342154872E-24</c:v>
                </c:pt>
                <c:pt idx="114">
                  <c:v>3.5552811986614406E-24</c:v>
                </c:pt>
                <c:pt idx="115">
                  <c:v>4.2665376916662568E-24</c:v>
                </c:pt>
                <c:pt idx="116">
                  <c:v>5.1199431268932826E-24</c:v>
                </c:pt>
                <c:pt idx="117">
                  <c:v>6.1438756563957008E-24</c:v>
                </c:pt>
                <c:pt idx="118">
                  <c:v>7.372371925599517E-24</c:v>
                </c:pt>
                <c:pt idx="119">
                  <c:v>8.8462538590045746E-24</c:v>
                </c:pt>
                <c:pt idx="120">
                  <c:v>1.0614479496910024E-23</c:v>
                </c:pt>
                <c:pt idx="121">
                  <c:v>1.2735762361815158E-23</c:v>
                </c:pt>
                <c:pt idx="122">
                  <c:v>1.5280512647318163E-23</c:v>
                </c:pt>
                <c:pt idx="123">
                  <c:v>1.8333164079711795E-23</c:v>
                </c:pt>
                <c:pt idx="124">
                  <c:v>2.1994962947085253E-23</c:v>
                </c:pt>
                <c:pt idx="125">
                  <c:v>2.6387310934298759E-23</c:v>
                </c:pt>
                <c:pt idx="126">
                  <c:v>3.1655771537453094E-23</c:v>
                </c:pt>
                <c:pt idx="127">
                  <c:v>3.7974871548090535E-23</c:v>
                </c:pt>
                <c:pt idx="128">
                  <c:v>4.5553855100891572E-23</c:v>
                </c:pt>
                <c:pt idx="129">
                  <c:v>5.4643578913334211E-23</c:v>
                </c:pt>
                <c:pt idx="130">
                  <c:v>6.5544774621630343E-23</c:v>
                </c:pt>
                <c:pt idx="131">
                  <c:v>7.8617948742602087E-23</c:v>
                </c:pt>
                <c:pt idx="132">
                  <c:v>9.4295244211306932E-23</c:v>
                </c:pt>
                <c:pt idx="133">
                  <c:v>1.1309465138807907E-22</c:v>
                </c:pt>
                <c:pt idx="134">
                  <c:v>1.3563703296376659E-22</c:v>
                </c:pt>
                <c:pt idx="135">
                  <c:v>1.6266651879116983E-22</c:v>
                </c:pt>
                <c:pt idx="136">
                  <c:v>1.9507493629075236E-22</c:v>
                </c:pt>
                <c:pt idx="137">
                  <c:v>2.339310732552084E-22</c:v>
                </c:pt>
                <c:pt idx="138">
                  <c:v>2.8051572683723175E-22</c:v>
                </c:pt>
                <c:pt idx="139">
                  <c:v>3.3636368030106335E-22</c:v>
                </c:pt>
                <c:pt idx="140">
                  <c:v>4.0331397379139519E-22</c:v>
                </c:pt>
                <c:pt idx="141">
                  <c:v>4.835701041422214E-22</c:v>
                </c:pt>
                <c:pt idx="142">
                  <c:v>5.7977211024184976E-22</c:v>
                </c:pt>
                <c:pt idx="143">
                  <c:v>6.9508288499860565E-22</c:v>
                </c:pt>
                <c:pt idx="144">
                  <c:v>8.3329151483478556E-22</c:v>
                </c:pt>
                <c:pt idx="145">
                  <c:v>9.9893699759328703E-22</c:v>
                </c:pt>
                <c:pt idx="146">
                  <c:v>1.1974563473552081E-21</c:v>
                </c:pt>
                <c:pt idx="147">
                  <c:v>1.4353618809407834E-21</c:v>
                </c:pt>
                <c:pt idx="148">
                  <c:v>1.7204534208871938E-21</c:v>
                </c:pt>
                <c:pt idx="149">
                  <c:v>2.062072273418824E-21</c:v>
                </c:pt>
                <c:pt idx="150">
                  <c:v>2.4714051831249652E-21</c:v>
                </c:pt>
                <c:pt idx="151">
                  <c:v>2.9618480714406812E-21</c:v>
                </c:pt>
                <c:pt idx="152">
                  <c:v>3.5494412845780623E-21</c:v>
                </c:pt>
                <c:pt idx="153">
                  <c:v>4.2533903691349432E-21</c:v>
                </c:pt>
                <c:pt idx="154">
                  <c:v>5.0966891328501878E-21</c:v>
                </c:pt>
                <c:pt idx="155">
                  <c:v>6.106865020562971E-21</c:v>
                </c:pt>
                <c:pt idx="156">
                  <c:v>7.3168707447866489E-21</c:v>
                </c:pt>
                <c:pt idx="157">
                  <c:v>8.7661507798204048E-21</c:v>
                </c:pt>
                <c:pt idx="158">
                  <c:v>1.0501916905181359E-20</c:v>
                </c:pt>
                <c:pt idx="159">
                  <c:v>1.2580673643895944E-20</c:v>
                </c:pt>
                <c:pt idx="160">
                  <c:v>1.5070042393200589E-20</c:v>
                </c:pt>
                <c:pt idx="161">
                  <c:v>1.805094253909457E-20</c:v>
                </c:pt>
                <c:pt idx="162">
                  <c:v>2.1620199179562301E-20</c:v>
                </c:pt>
                <c:pt idx="163">
                  <c:v>2.5893660608894605E-20</c:v>
                </c:pt>
                <c:pt idx="164">
                  <c:v>3.1009924860199696E-20</c:v>
                </c:pt>
                <c:pt idx="165">
                  <c:v>3.7134793868712997E-20</c:v>
                </c:pt>
                <c:pt idx="166">
                  <c:v>4.446659680523464E-20</c:v>
                </c:pt>
                <c:pt idx="167">
                  <c:v>5.3242551552019959E-20</c:v>
                </c:pt>
                <c:pt idx="168">
                  <c:v>6.3746366004523774E-20</c:v>
                </c:pt>
                <c:pt idx="169">
                  <c:v>7.631731989584889E-20</c:v>
                </c:pt>
                <c:pt idx="170">
                  <c:v>9.1361114364364469E-20</c:v>
                </c:pt>
                <c:pt idx="171">
                  <c:v>1.093628319564594E-19</c:v>
                </c:pt>
                <c:pt idx="172">
                  <c:v>1.3090241588707145E-19</c:v>
                </c:pt>
                <c:pt idx="173">
                  <c:v>1.5667315620705538E-19</c:v>
                </c:pt>
                <c:pt idx="174">
                  <c:v>1.8750376447149667E-19</c:v>
                </c:pt>
                <c:pt idx="175">
                  <c:v>2.2438473044923587E-19</c:v>
                </c:pt>
                <c:pt idx="176">
                  <c:v>2.6849978778931887E-19</c:v>
                </c:pt>
                <c:pt idx="177">
                  <c:v>3.212634744410615E-19</c:v>
                </c:pt>
                <c:pt idx="178">
                  <c:v>3.8436596285766096E-19</c:v>
                </c:pt>
                <c:pt idx="179">
                  <c:v>4.5982656035885007E-19</c:v>
                </c:pt>
                <c:pt idx="180">
                  <c:v>5.5005754833207796E-19</c:v>
                </c:pt>
                <c:pt idx="181">
                  <c:v>6.5794034834725629E-19</c:v>
                </c:pt>
                <c:pt idx="182">
                  <c:v>7.8691638340845628E-19</c:v>
                </c:pt>
                <c:pt idx="183">
                  <c:v>9.4109545494111927E-19</c:v>
                </c:pt>
                <c:pt idx="184">
                  <c:v>1.1253849943378817E-18</c:v>
                </c:pt>
                <c:pt idx="185">
                  <c:v>1.3456441881306865E-18</c:v>
                </c:pt>
                <c:pt idx="186">
                  <c:v>1.6088677373124359E-18</c:v>
                </c:pt>
                <c:pt idx="187">
                  <c:v>1.9234049167668352E-18</c:v>
                </c:pt>
                <c:pt idx="188">
                  <c:v>2.2992206771877856E-18</c:v>
                </c:pt>
                <c:pt idx="189">
                  <c:v>2.7482068113067712E-18</c:v>
                </c:pt>
                <c:pt idx="190">
                  <c:v>3.2845527266686712E-18</c:v>
                </c:pt>
                <c:pt idx="191">
                  <c:v>3.9251871736050022E-18</c:v>
                </c:pt>
                <c:pt idx="192">
                  <c:v>4.6903044227743921E-18</c:v>
                </c:pt>
                <c:pt idx="193">
                  <c:v>5.6039909348386126E-18</c:v>
                </c:pt>
                <c:pt idx="194">
                  <c:v>6.6949715903242172E-18</c:v>
                </c:pt>
                <c:pt idx="195">
                  <c:v>7.9974981390431874E-18</c:v>
                </c:pt>
                <c:pt idx="196">
                  <c:v>9.5524067904296078E-18</c:v>
                </c:pt>
                <c:pt idx="197">
                  <c:v>1.1408376922802103E-17</c:v>
                </c:pt>
                <c:pt idx="198">
                  <c:v>1.3623428887573427E-17</c:v>
                </c:pt>
                <c:pt idx="199">
                  <c:v>1.6266705997246521E-17</c:v>
                </c:pt>
                <c:pt idx="200">
                  <c:v>1.9420594218671164E-17</c:v>
                </c:pt>
                <c:pt idx="201">
                  <c:v>2.3183243087771229E-17</c:v>
                </c:pt>
                <c:pt idx="202">
                  <c:v>2.767156320494004E-17</c:v>
                </c:pt>
                <c:pt idx="203">
                  <c:v>3.3024789699482728E-17</c:v>
                </c:pt>
                <c:pt idx="204">
                  <c:v>3.9408717665757646E-17</c:v>
                </c:pt>
                <c:pt idx="205">
                  <c:v>4.7020735243694037E-17</c:v>
                </c:pt>
                <c:pt idx="206">
                  <c:v>5.6095803297396756E-17</c:v>
                </c:pt>
                <c:pt idx="207">
                  <c:v>6.691355819214302E-17</c:v>
                </c:pt>
                <c:pt idx="208">
                  <c:v>7.9806746753912208E-17</c:v>
                </c:pt>
                <c:pt idx="209">
                  <c:v>9.5171241025584196E-17</c:v>
                </c:pt>
                <c:pt idx="210">
                  <c:v>1.134779259808112E-16</c:v>
                </c:pt>
                <c:pt idx="211">
                  <c:v>1.3528680718034669E-16</c:v>
                </c:pt>
                <c:pt idx="212">
                  <c:v>1.6126374893953564E-16</c:v>
                </c:pt>
                <c:pt idx="213">
                  <c:v>1.9220032866347516E-16</c:v>
                </c:pt>
                <c:pt idx="214">
                  <c:v>2.2903738164901132E-16</c:v>
                </c:pt>
                <c:pt idx="215">
                  <c:v>2.7289291525926703E-16</c:v>
                </c:pt>
                <c:pt idx="216">
                  <c:v>3.2509519477741508E-16</c:v>
                </c:pt>
                <c:pt idx="217">
                  <c:v>3.8722194876383603E-16</c:v>
                </c:pt>
                <c:pt idx="218">
                  <c:v>4.6114681327361665E-16</c:v>
                </c:pt>
                <c:pt idx="219">
                  <c:v>5.4909433641144011E-16</c:v>
                </c:pt>
                <c:pt idx="220">
                  <c:v>6.5370510276786415E-16</c:v>
                </c:pt>
                <c:pt idx="221">
                  <c:v>7.7811281757384795E-16</c:v>
                </c:pt>
                <c:pt idx="222">
                  <c:v>9.2603552028096777E-16</c:v>
                </c:pt>
                <c:pt idx="223">
                  <c:v>1.1018834853277173E-15</c:v>
                </c:pt>
                <c:pt idx="224">
                  <c:v>1.3108868241498672E-15</c:v>
                </c:pt>
                <c:pt idx="225">
                  <c:v>1.5592463387994487E-15</c:v>
                </c:pt>
                <c:pt idx="226">
                  <c:v>1.8543118075925149E-15</c:v>
                </c:pt>
                <c:pt idx="227">
                  <c:v>2.2047926230547558E-15</c:v>
                </c:pt>
                <c:pt idx="228">
                  <c:v>2.6210065707935556E-15</c:v>
                </c:pt>
                <c:pt idx="229">
                  <c:v>3.1151735566203462E-15</c:v>
                </c:pt>
                <c:pt idx="230">
                  <c:v>3.7017622837081219E-15</c:v>
                </c:pt>
                <c:pt idx="231">
                  <c:v>4.3978992814066834E-15</c:v>
                </c:pt>
                <c:pt idx="232">
                  <c:v>5.2238513270074487E-15</c:v>
                </c:pt>
                <c:pt idx="233">
                  <c:v>6.2035942213116409E-15</c:v>
                </c:pt>
                <c:pt idx="234">
                  <c:v>7.3654831248566696E-15</c:v>
                </c:pt>
                <c:pt idx="235">
                  <c:v>8.7430422881349314E-15</c:v>
                </c:pt>
                <c:pt idx="236">
                  <c:v>1.0375895078787808E-14</c:v>
                </c:pt>
                <c:pt idx="237">
                  <c:v>1.2310858794238572E-14</c:v>
                </c:pt>
                <c:pt idx="238">
                  <c:v>1.4603232933699072E-14</c:v>
                </c:pt>
                <c:pt idx="239">
                  <c:v>1.7318314486344666E-14</c:v>
                </c:pt>
                <c:pt idx="240">
                  <c:v>2.0533179485272119E-14</c:v>
                </c:pt>
                <c:pt idx="241">
                  <c:v>2.4338776709729952E-14</c:v>
                </c:pt>
                <c:pt idx="242">
                  <c:v>2.8842387141103739E-14</c:v>
                </c:pt>
                <c:pt idx="243">
                  <c:v>3.4170511764329234E-14</c:v>
                </c:pt>
                <c:pt idx="244">
                  <c:v>4.0472260755095355E-14</c:v>
                </c:pt>
                <c:pt idx="245">
                  <c:v>4.7923329233746951E-14</c:v>
                </c:pt>
                <c:pt idx="246">
                  <c:v>5.6730658862800841E-14</c:v>
                </c:pt>
                <c:pt idx="247">
                  <c:v>6.7137900919137628E-14</c:v>
                </c:pt>
                <c:pt idx="248">
                  <c:v>7.943181543133708E-14</c:v>
                </c:pt>
                <c:pt idx="249">
                  <c:v>9.3949762934968356E-14</c:v>
                </c:pt>
                <c:pt idx="250">
                  <c:v>1.1108847081892942E-13</c:v>
                </c:pt>
                <c:pt idx="251">
                  <c:v>1.3131428563410629E-13</c:v>
                </c:pt>
                <c:pt idx="252">
                  <c:v>1.5517515670520988E-13</c:v>
                </c:pt>
                <c:pt idx="253">
                  <c:v>1.8331463560402454E-13</c:v>
                </c:pt>
                <c:pt idx="254">
                  <c:v>2.1648822127753162E-13</c:v>
                </c:pt>
                <c:pt idx="255">
                  <c:v>2.5558243275259685E-13</c:v>
                </c:pt>
                <c:pt idx="256">
                  <c:v>3.0163705135353176E-13</c:v>
                </c:pt>
                <c:pt idx="257">
                  <c:v>3.5587104339558817E-13</c:v>
                </c:pt>
                <c:pt idx="258">
                  <c:v>4.1971275363000963E-13</c:v>
                </c:pt>
                <c:pt idx="259">
                  <c:v>4.9483505075353519E-13</c:v>
                </c:pt>
                <c:pt idx="260">
                  <c:v>5.8319621067973879E-13</c:v>
                </c:pt>
                <c:pt idx="261">
                  <c:v>6.870874428274651E-13</c:v>
                </c:pt>
                <c:pt idx="262">
                  <c:v>8.0918810146549043E-13</c:v>
                </c:pt>
                <c:pt idx="263">
                  <c:v>9.5262978046259012E-13</c:v>
                </c:pt>
                <c:pt idx="264">
                  <c:v>1.1210706682047652E-12</c:v>
                </c:pt>
                <c:pt idx="265">
                  <c:v>1.3187817428309413E-12</c:v>
                </c:pt>
                <c:pt idx="266">
                  <c:v>1.5507466195099216E-12</c:v>
                </c:pt>
                <c:pt idx="267">
                  <c:v>1.8227771247956658E-12</c:v>
                </c:pt>
                <c:pt idx="268">
                  <c:v>2.1416469721048022E-12</c:v>
                </c:pt>
                <c:pt idx="269">
                  <c:v>2.5152462514255913E-12</c:v>
                </c:pt>
                <c:pt idx="270">
                  <c:v>2.952759830309808E-12</c:v>
                </c:pt>
                <c:pt idx="271">
                  <c:v>3.4648731973114354E-12</c:v>
                </c:pt>
                <c:pt idx="272">
                  <c:v>4.0640097691257604E-12</c:v>
                </c:pt>
                <c:pt idx="273">
                  <c:v>4.7646042350906027E-12</c:v>
                </c:pt>
                <c:pt idx="274">
                  <c:v>5.583417134339315E-12</c:v>
                </c:pt>
                <c:pt idx="275">
                  <c:v>6.5398965592308615E-12</c:v>
                </c:pt>
                <c:pt idx="276">
                  <c:v>7.6565936618037856E-12</c:v>
                </c:pt>
                <c:pt idx="277">
                  <c:v>8.9596395165976852E-12</c:v>
                </c:pt>
                <c:pt idx="278">
                  <c:v>1.0479291872545881E-11</c:v>
                </c:pt>
                <c:pt idx="279">
                  <c:v>1.225056141864819E-11</c:v>
                </c:pt>
                <c:pt idx="280">
                  <c:v>1.4313928403220199E-11</c:v>
                </c:pt>
                <c:pt idx="281">
                  <c:v>1.6716161795665518E-11</c:v>
                </c:pt>
                <c:pt idx="282">
                  <c:v>1.9511254674321896E-11</c:v>
                </c:pt>
                <c:pt idx="283">
                  <c:v>2.2761491175813499E-11</c:v>
                </c:pt>
                <c:pt idx="284">
                  <c:v>2.6538662162509479E-11</c:v>
                </c:pt>
                <c:pt idx="285">
                  <c:v>3.0925448767318553E-11</c:v>
                </c:pt>
                <c:pt idx="286">
                  <c:v>3.6016995171194591E-11</c:v>
                </c:pt>
                <c:pt idx="287">
                  <c:v>4.1922694370167628E-11</c:v>
                </c:pt>
                <c:pt idx="288">
                  <c:v>4.8768213306652977E-11</c:v>
                </c:pt>
                <c:pt idx="289">
                  <c:v>5.6697786584505677E-11</c:v>
                </c:pt>
                <c:pt idx="290">
                  <c:v>6.5876811067832517E-11</c:v>
                </c:pt>
                <c:pt idx="291">
                  <c:v>7.6494776987229324E-11</c:v>
                </c:pt>
                <c:pt idx="292">
                  <c:v>8.8768574748949617E-11</c:v>
                </c:pt>
                <c:pt idx="293">
                  <c:v>1.0294622046479075E-10</c:v>
                </c:pt>
                <c:pt idx="294">
                  <c:v>1.1931104729195959E-10</c:v>
                </c:pt>
                <c:pt idx="295">
                  <c:v>1.3818641398740874E-10</c:v>
                </c:pt>
                <c:pt idx="296">
                  <c:v>1.5994098662960783E-10</c:v>
                </c:pt>
                <c:pt idx="297">
                  <c:v>1.8499465422590466E-10</c:v>
                </c:pt>
                <c:pt idx="298">
                  <c:v>2.1382514388223609E-10</c:v>
                </c:pt>
                <c:pt idx="299">
                  <c:v>2.4697540633223969E-10</c:v>
                </c:pt>
                <c:pt idx="300">
                  <c:v>2.8506184786448959E-10</c:v>
                </c:pt>
                <c:pt idx="301">
                  <c:v>3.2878348999805893E-10</c:v>
                </c:pt>
                <c:pt idx="302">
                  <c:v>3.7893214357562316E-10</c:v>
                </c:pt>
                <c:pt idx="303">
                  <c:v>4.3640368919358923E-10</c:v>
                </c:pt>
                <c:pt idx="304">
                  <c:v>5.0221056098044413E-10</c:v>
                </c:pt>
                <c:pt idx="305">
                  <c:v>5.774955355615789E-10</c:v>
                </c:pt>
                <c:pt idx="306">
                  <c:v>6.6354693248868332E-10</c:v>
                </c:pt>
                <c:pt idx="307">
                  <c:v>7.6181533632305023E-10</c:v>
                </c:pt>
                <c:pt idx="308">
                  <c:v>8.7393195378497665E-10</c:v>
                </c:pt>
                <c:pt idx="309">
                  <c:v>1.0017287217348199E-9</c:v>
                </c:pt>
                <c:pt idx="310">
                  <c:v>1.1472602830341901E-9</c:v>
                </c:pt>
                <c:pt idx="311">
                  <c:v>1.3128279473251687E-9</c:v>
                </c:pt>
                <c:pt idx="312">
                  <c:v>1.5010057522174401E-9</c:v>
                </c:pt>
                <c:pt idx="313">
                  <c:v>1.7146687370224056E-9</c:v>
                </c:pt>
                <c:pt idx="314">
                  <c:v>1.9570235357346614E-9</c:v>
                </c:pt>
                <c:pt idx="315">
                  <c:v>2.2316413881308834E-9</c:v>
                </c:pt>
                <c:pt idx="316">
                  <c:v>2.5424936573140918E-9</c:v>
                </c:pt>
                <c:pt idx="317">
                  <c:v>2.8939899284433525E-9</c:v>
                </c:pt>
                <c:pt idx="318">
                  <c:v>3.2910187464128276E-9</c:v>
                </c:pt>
                <c:pt idx="319">
                  <c:v>3.7389910295312752E-9</c:v>
                </c:pt>
                <c:pt idx="320">
                  <c:v>4.2438861714569145E-9</c:v>
                </c:pt>
                <c:pt idx="321">
                  <c:v>4.8123008144235089E-9</c:v>
                </c:pt>
                <c:pt idx="322">
                  <c:v>5.4515002428294071E-9</c:v>
                </c:pt>
                <c:pt idx="323">
                  <c:v>6.1694723072536548E-9</c:v>
                </c:pt>
                <c:pt idx="324">
                  <c:v>6.9749837446483369E-9</c:v>
                </c:pt>
                <c:pt idx="325">
                  <c:v>7.8776387106214359E-9</c:v>
                </c:pt>
                <c:pt idx="326">
                  <c:v>8.8879392842092797E-9</c:v>
                </c:pt>
                <c:pt idx="327">
                  <c:v>1.0017347644262528E-8</c:v>
                </c:pt>
                <c:pt idx="328">
                  <c:v>1.1278349549536509E-8</c:v>
                </c:pt>
                <c:pt idx="329">
                  <c:v>1.2684518681891171E-8</c:v>
                </c:pt>
                <c:pt idx="330">
                  <c:v>1.4250581333894652E-8</c:v>
                </c:pt>
                <c:pt idx="331">
                  <c:v>1.5992480838941982E-8</c:v>
                </c:pt>
                <c:pt idx="332">
                  <c:v>1.7927441054252984E-8</c:v>
                </c:pt>
                <c:pt idx="333">
                  <c:v>2.0074028115470397E-8</c:v>
                </c:pt>
                <c:pt idx="334">
                  <c:v>2.2452209586885523E-8</c:v>
                </c:pt>
                <c:pt idx="335">
                  <c:v>2.5083410034608891E-8</c:v>
                </c:pt>
                <c:pt idx="336">
                  <c:v>2.7990561952506437E-8</c:v>
                </c:pt>
                <c:pt idx="337">
                  <c:v>3.1198150873880312E-8</c:v>
                </c:pt>
                <c:pt idx="338">
                  <c:v>3.4732253407327968E-8</c:v>
                </c:pt>
                <c:pt idx="339">
                  <c:v>3.8620566844822078E-8</c:v>
                </c:pt>
                <c:pt idx="340">
                  <c:v>4.2892428905873046E-8</c:v>
                </c:pt>
                <c:pt idx="341">
                  <c:v>4.757882610590792E-8</c:v>
                </c:pt>
                <c:pt idx="342">
                  <c:v>5.2712389172176358E-8</c:v>
                </c:pt>
                <c:pt idx="343">
                  <c:v>5.8327373879106545E-8</c:v>
                </c:pt>
                <c:pt idx="344">
                  <c:v>6.445962563985512E-8</c:v>
                </c:pt>
                <c:pt idx="345">
                  <c:v>7.1146526174533531E-8</c:v>
                </c:pt>
                <c:pt idx="346">
                  <c:v>7.8426920581174325E-8</c:v>
                </c:pt>
                <c:pt idx="347">
                  <c:v>8.6341023165660344E-8</c:v>
                </c:pt>
                <c:pt idx="348">
                  <c:v>9.4930300444416171E-8</c:v>
                </c:pt>
                <c:pt idx="349">
                  <c:v>1.0423732982123341E-7</c:v>
                </c:pt>
                <c:pt idx="350">
                  <c:v>1.1430563255961251E-7</c:v>
                </c:pt>
                <c:pt idx="351">
                  <c:v>1.2517947982659338E-7</c:v>
                </c:pt>
                <c:pt idx="352">
                  <c:v>1.3690367077504167E-7</c:v>
                </c:pt>
                <c:pt idx="353">
                  <c:v>1.4952328185998146E-7</c:v>
                </c:pt>
                <c:pt idx="354">
                  <c:v>1.6308338685181914E-7</c:v>
                </c:pt>
                <c:pt idx="355">
                  <c:v>1.7762874731519069E-7</c:v>
                </c:pt>
                <c:pt idx="356">
                  <c:v>1.9320347366633703E-7</c:v>
                </c:pt>
                <c:pt idx="357">
                  <c:v>2.098506573030418E-7</c:v>
                </c:pt>
                <c:pt idx="358">
                  <c:v>2.2761197471717861E-7</c:v>
                </c:pt>
                <c:pt idx="359">
                  <c:v>2.4652726494785464E-7</c:v>
                </c:pt>
                <c:pt idx="360">
                  <c:v>2.666340822090096E-7</c:v>
                </c:pt>
                <c:pt idx="361">
                  <c:v>2.8796722602438396E-7</c:v>
                </c:pt>
                <c:pt idx="362">
                  <c:v>3.105582517190684E-7</c:v>
                </c:pt>
                <c:pt idx="363">
                  <c:v>3.3443496464359397E-7</c:v>
                </c:pt>
                <c:pt idx="364">
                  <c:v>3.5962090203617824E-7</c:v>
                </c:pt>
                <c:pt idx="365">
                  <c:v>3.8613480695241422E-7</c:v>
                </c:pt>
                <c:pt idx="366">
                  <c:v>4.1399009920050557E-7</c:v>
                </c:pt>
                <c:pt idx="367">
                  <c:v>4.4319434870368457E-7</c:v>
                </c:pt>
                <c:pt idx="368">
                  <c:v>4.7374875715956783E-7</c:v>
                </c:pt>
                <c:pt idx="369">
                  <c:v>5.0564765426795881E-7</c:v>
                </c:pt>
                <c:pt idx="370">
                  <c:v>5.3887801514292137E-7</c:v>
                </c:pt>
                <c:pt idx="371">
                  <c:v>5.7341900580130841E-7</c:v>
                </c:pt>
                <c:pt idx="372">
                  <c:v>6.0924156381732594E-7</c:v>
                </c:pt>
                <c:pt idx="373">
                  <c:v>6.4630802134145903E-7</c:v>
                </c:pt>
                <c:pt idx="374">
                  <c:v>6.8457177769287907E-7</c:v>
                </c:pt>
                <c:pt idx="375">
                  <c:v>7.2397702863930094E-7</c:v>
                </c:pt>
                <c:pt idx="376">
                  <c:v>7.6445855927015297E-7</c:v>
                </c:pt>
                <c:pt idx="377">
                  <c:v>8.059416070432597E-7</c:v>
                </c:pt>
                <c:pt idx="378">
                  <c:v>8.4834180113812323E-7</c:v>
                </c:pt>
                <c:pt idx="379">
                  <c:v>8.9156518367967891E-7</c:v>
                </c:pt>
                <c:pt idx="380">
                  <c:v>9.3550831770571839E-7</c:v>
                </c:pt>
                <c:pt idx="381">
                  <c:v>9.8005848594284954E-7</c:v>
                </c:pt>
                <c:pt idx="382">
                  <c:v>1.0250939835352387E-6</c:v>
                </c:pt>
                <c:pt idx="383">
                  <c:v>1.0704845068469646E-6</c:v>
                </c:pt>
                <c:pt idx="384">
                  <c:v>1.1160916393421361E-6</c:v>
                </c:pt>
                <c:pt idx="385">
                  <c:v>1.1617694343522976E-6</c:v>
                </c:pt>
                <c:pt idx="386">
                  <c:v>1.2073650932819029E-6</c:v>
                </c:pt>
                <c:pt idx="387">
                  <c:v>1.2527197364997193E-6</c:v>
                </c:pt>
                <c:pt idx="388">
                  <c:v>1.2976692628349504E-6</c:v>
                </c:pt>
                <c:pt idx="389">
                  <c:v>1.3420452922645923E-6</c:v>
                </c:pt>
                <c:pt idx="390">
                  <c:v>1.3856761850643191E-6</c:v>
                </c:pt>
                <c:pt idx="391">
                  <c:v>1.4283881294236247E-6</c:v>
                </c:pt>
                <c:pt idx="392">
                  <c:v>1.4700062883193421E-6</c:v>
                </c:pt>
                <c:pt idx="393">
                  <c:v>1.5103559953248442E-6</c:v>
                </c:pt>
                <c:pt idx="394">
                  <c:v>1.5492639880264162E-6</c:v>
                </c:pt>
                <c:pt idx="395">
                  <c:v>1.5865596668467454E-6</c:v>
                </c:pt>
                <c:pt idx="396">
                  <c:v>1.6220763663556919E-6</c:v>
                </c:pt>
                <c:pt idx="397">
                  <c:v>1.6556526256004495E-6</c:v>
                </c:pt>
                <c:pt idx="398">
                  <c:v>1.6871334436232725E-6</c:v>
                </c:pt>
                <c:pt idx="399">
                  <c:v>1.7163715061686929E-6</c:v>
                </c:pt>
                <c:pt idx="400">
                  <c:v>1.7432283696205831E-6</c:v>
                </c:pt>
                <c:pt idx="401">
                  <c:v>1.767575588457272E-6</c:v>
                </c:pt>
                <c:pt idx="402">
                  <c:v>1.7892957729712267E-6</c:v>
                </c:pt>
                <c:pt idx="403">
                  <c:v>1.8082835646640713E-6</c:v>
                </c:pt>
                <c:pt idx="404">
                  <c:v>1.8244465175912683E-6</c:v>
                </c:pt>
                <c:pt idx="405">
                  <c:v>1.8377058749814445E-6</c:v>
                </c:pt>
                <c:pt idx="406">
                  <c:v>1.8479972316780945E-6</c:v>
                </c:pt>
                <c:pt idx="407">
                  <c:v>1.8552710743272774E-6</c:v>
                </c:pt>
                <c:pt idx="408">
                  <c:v>1.8594931927419037E-6</c:v>
                </c:pt>
                <c:pt idx="409">
                  <c:v>1.8606449574867227E-6</c:v>
                </c:pt>
                <c:pt idx="410">
                  <c:v>1.8587234604210686E-6</c:v>
                </c:pt>
                <c:pt idx="411">
                  <c:v>1.8537415166806532E-6</c:v>
                </c:pt>
                <c:pt idx="412">
                  <c:v>1.8457275283451876E-6</c:v>
                </c:pt>
                <c:pt idx="413">
                  <c:v>1.8347252117960257E-6</c:v>
                </c:pt>
                <c:pt idx="414">
                  <c:v>1.8207931924871827E-6</c:v>
                </c:pt>
                <c:pt idx="415">
                  <c:v>1.8040044725057409E-6</c:v>
                </c:pt>
                <c:pt idx="416">
                  <c:v>1.784445777856122E-6</c:v>
                </c:pt>
                <c:pt idx="417">
                  <c:v>1.7622167938420787E-6</c:v>
                </c:pt>
                <c:pt idx="418">
                  <c:v>1.7374292982179139E-6</c:v>
                </c:pt>
                <c:pt idx="419">
                  <c:v>1.7102062029165375E-6</c:v>
                </c:pt>
                <c:pt idx="420">
                  <c:v>1.6806805161206756E-6</c:v>
                </c:pt>
                <c:pt idx="421">
                  <c:v>1.6489942372120731E-6</c:v>
                </c:pt>
                <c:pt idx="422">
                  <c:v>1.6152971977030737E-6</c:v>
                </c:pt>
                <c:pt idx="423">
                  <c:v>1.5797458616212393E-6</c:v>
                </c:pt>
                <c:pt idx="424">
                  <c:v>1.5425020989791343E-6</c:v>
                </c:pt>
                <c:pt idx="425">
                  <c:v>1.5037319459219232E-6</c:v>
                </c:pt>
                <c:pt idx="426">
                  <c:v>1.4636043649108016E-6</c:v>
                </c:pt>
                <c:pt idx="427">
                  <c:v>1.4222900178812493E-6</c:v>
                </c:pt>
                <c:pt idx="428">
                  <c:v>1.379960064724864E-6</c:v>
                </c:pt>
                <c:pt idx="429">
                  <c:v>1.336784998696928E-6</c:v>
                </c:pt>
                <c:pt idx="430">
                  <c:v>1.2929335294686533E-6</c:v>
                </c:pt>
                <c:pt idx="431">
                  <c:v>1.2485715235415975E-6</c:v>
                </c:pt>
                <c:pt idx="432">
                  <c:v>1.2038610106440507E-6</c:v>
                </c:pt>
                <c:pt idx="433">
                  <c:v>1.1589592635572615E-6</c:v>
                </c:pt>
                <c:pt idx="434">
                  <c:v>1.1140179575950524E-6</c:v>
                </c:pt>
                <c:pt idx="435">
                  <c:v>1.0691824147065E-6</c:v>
                </c:pt>
                <c:pt idx="436">
                  <c:v>1.0245909359089139E-6</c:v>
                </c:pt>
                <c:pt idx="437">
                  <c:v>9.8037422450836658E-7</c:v>
                </c:pt>
                <c:pt idx="438">
                  <c:v>9.3665490134663241E-7</c:v>
                </c:pt>
                <c:pt idx="439">
                  <c:v>8.9354711214406613E-7</c:v>
                </c:pt>
                <c:pt idx="440">
                  <c:v>8.5115622590368624E-7</c:v>
                </c:pt>
                <c:pt idx="441">
                  <c:v>8.0957862231551099E-7</c:v>
                </c:pt>
                <c:pt idx="442">
                  <c:v>7.6890156516439927E-7</c:v>
                </c:pt>
                <c:pt idx="443">
                  <c:v>7.2920315790704932E-7</c:v>
                </c:pt>
                <c:pt idx="444">
                  <c:v>6.9055237685212525E-7</c:v>
                </c:pt>
                <c:pt idx="445">
                  <c:v>6.5300917675561392E-7</c:v>
                </c:pt>
                <c:pt idx="446">
                  <c:v>6.1662466313373544E-7</c:v>
                </c:pt>
                <c:pt idx="447">
                  <c:v>5.8144132519799727E-7</c:v>
                </c:pt>
                <c:pt idx="448">
                  <c:v>5.4749332302971293E-7</c:v>
                </c:pt>
                <c:pt idx="449">
                  <c:v>5.1480682243037172E-7</c:v>
                </c:pt>
                <c:pt idx="450">
                  <c:v>4.8340037080488911E-7</c:v>
                </c:pt>
                <c:pt idx="451">
                  <c:v>4.5328530745011577E-7</c:v>
                </c:pt>
                <c:pt idx="452">
                  <c:v>4.2446620172353896E-7</c:v>
                </c:pt>
                <c:pt idx="453">
                  <c:v>3.9694131274839003E-7</c:v>
                </c:pt>
                <c:pt idx="454">
                  <c:v>3.7070306456208228E-7</c:v>
                </c:pt>
                <c:pt idx="455">
                  <c:v>3.4573853092566824E-7</c:v>
                </c:pt>
                <c:pt idx="456">
                  <c:v>3.2202992437301274E-7</c:v>
                </c:pt>
                <c:pt idx="457">
                  <c:v>2.9955508447992339E-7</c:v>
                </c:pt>
                <c:pt idx="458">
                  <c:v>2.7828796076601922E-7</c:v>
                </c:pt>
                <c:pt idx="459">
                  <c:v>2.5819908609649695E-7</c:v>
                </c:pt>
                <c:pt idx="460">
                  <c:v>2.3925603691847791E-7</c:v>
                </c:pt>
                <c:pt idx="461">
                  <c:v>2.2142387713917356E-7</c:v>
                </c:pt>
                <c:pt idx="462">
                  <c:v>2.0466558292326796E-7</c:v>
                </c:pt>
                <c:pt idx="463">
                  <c:v>1.8894244614814834E-7</c:v>
                </c:pt>
                <c:pt idx="464">
                  <c:v>1.7421445470184881E-7</c:v>
                </c:pt>
                <c:pt idx="465">
                  <c:v>1.6044064823511006E-7</c:v>
                </c:pt>
                <c:pt idx="466">
                  <c:v>1.4757944838122545E-7</c:v>
                </c:pt>
                <c:pt idx="467">
                  <c:v>1.3558896283232616E-7</c:v>
                </c:pt>
                <c:pt idx="468">
                  <c:v>1.2442726300567386E-7</c:v>
                </c:pt>
                <c:pt idx="469">
                  <c:v>1.1405263534656858E-7</c:v>
                </c:pt>
                <c:pt idx="470">
                  <c:v>1.0442380659466919E-7</c:v>
                </c:pt>
                <c:pt idx="471">
                  <c:v>9.550014358716818E-8</c:v>
                </c:pt>
                <c:pt idx="472">
                  <c:v>8.7241828385731094E-8</c:v>
                </c:pt>
                <c:pt idx="473">
                  <c:v>7.9610009694821023E-8</c:v>
                </c:pt>
                <c:pt idx="474">
                  <c:v>7.25669316881553E-8</c:v>
                </c:pt>
                <c:pt idx="475">
                  <c:v>6.6076041479059923E-8</c:v>
                </c:pt>
                <c:pt idx="476">
                  <c:v>6.0102076561076943E-8</c:v>
                </c:pt>
                <c:pt idx="477">
                  <c:v>5.4611133609377232E-8</c:v>
                </c:pt>
                <c:pt idx="478">
                  <c:v>4.9570720073538995E-8</c:v>
                </c:pt>
                <c:pt idx="479">
                  <c:v>4.494979001028277E-8</c:v>
                </c:pt>
                <c:pt idx="480">
                  <c:v>4.0718765603245427E-8</c:v>
                </c:pt>
                <c:pt idx="481">
                  <c:v>3.6849545798118574E-8</c:v>
                </c:pt>
                <c:pt idx="482">
                  <c:v>3.3315503447881974E-8</c:v>
                </c:pt>
                <c:pt idx="483">
                  <c:v>3.0091472316646875E-8</c:v>
                </c:pt>
                <c:pt idx="484">
                  <c:v>2.7153725234018095E-8</c:v>
                </c:pt>
                <c:pt idx="485">
                  <c:v>2.4479944626917496E-8</c:v>
                </c:pt>
                <c:pt idx="486">
                  <c:v>2.2049186584438461E-8</c:v>
                </c:pt>
                <c:pt idx="487">
                  <c:v>1.9841839535274065E-8</c:v>
                </c:pt>
                <c:pt idx="488">
                  <c:v>1.7839578538199567E-8</c:v>
                </c:pt>
                <c:pt idx="489">
                  <c:v>1.6025316105450422E-8</c:v>
                </c:pt>
                <c:pt idx="490">
                  <c:v>1.4383150397869684E-8</c:v>
                </c:pt>
                <c:pt idx="491">
                  <c:v>1.2898311550537482E-8</c:v>
                </c:pt>
                <c:pt idx="492">
                  <c:v>1.155710680917474E-8</c:v>
                </c:pt>
                <c:pt idx="493">
                  <c:v>1.0346865081725929E-8</c:v>
                </c:pt>
                <c:pt idx="494">
                  <c:v>9.2558814368227446E-9</c:v>
                </c:pt>
                <c:pt idx="495">
                  <c:v>8.2733620118171157E-9</c:v>
                </c:pt>
                <c:pt idx="496">
                  <c:v>7.3893697281281109E-9</c:v>
                </c:pt>
                <c:pt idx="497">
                  <c:v>6.5947711510571181E-9</c:v>
                </c:pt>
                <c:pt idx="498">
                  <c:v>5.8811847751386574E-9</c:v>
                </c:pt>
                <c:pt idx="499">
                  <c:v>5.240930964613435E-9</c:v>
                </c:pt>
                <c:pt idx="500">
                  <c:v>4.6669837317137907E-9</c:v>
                </c:pt>
                <c:pt idx="501">
                  <c:v>4.1529244930971521E-9</c:v>
                </c:pt>
                <c:pt idx="502">
                  <c:v>3.6928979068213355E-9</c:v>
                </c:pt>
                <c:pt idx="503">
                  <c:v>3.281569858559554E-9</c:v>
                </c:pt>
                <c:pt idx="504">
                  <c:v>2.9140876361159702E-9</c:v>
                </c:pt>
                <c:pt idx="505">
                  <c:v>2.5860423054856523E-9</c:v>
                </c:pt>
                <c:pt idx="506">
                  <c:v>2.2934332794680941E-9</c:v>
                </c:pt>
                <c:pt idx="507">
                  <c:v>2.0326350509295969E-9</c:v>
                </c:pt>
                <c:pt idx="508">
                  <c:v>1.8003660469537889E-9</c:v>
                </c:pt>
                <c:pt idx="509">
                  <c:v>1.5936595470527899E-9</c:v>
                </c:pt>
                <c:pt idx="510">
                  <c:v>1.4098365980748504E-9</c:v>
                </c:pt>
                <c:pt idx="511">
                  <c:v>1.2464808501751403E-9</c:v>
                </c:pt>
                <c:pt idx="512">
                  <c:v>1.1014152319729992E-9</c:v>
                </c:pt>
                <c:pt idx="513">
                  <c:v>9.7268037856077959E-10</c:v>
                </c:pt>
                <c:pt idx="514">
                  <c:v>8.5851472313595058E-10</c:v>
                </c:pt>
                <c:pt idx="515">
                  <c:v>7.5733616149061591E-10</c:v>
                </c:pt>
                <c:pt idx="516">
                  <c:v>6.6772519821777459E-10</c:v>
                </c:pt>
                <c:pt idx="517">
                  <c:v>5.8840948410276734E-10</c:v>
                </c:pt>
                <c:pt idx="518">
                  <c:v>5.1824965560261437E-10</c:v>
                </c:pt>
                <c:pt idx="519">
                  <c:v>4.5622638942428233E-10</c:v>
                </c:pt>
                <c:pt idx="520">
                  <c:v>4.0142858786814453E-10</c:v>
                </c:pt>
                <c:pt idx="521">
                  <c:v>3.5304261368501425E-10</c:v>
                </c:pt>
                <c:pt idx="522">
                  <c:v>3.1034249660168232E-10</c:v>
                </c:pt>
                <c:pt idx="523">
                  <c:v>2.7268103731041145E-10</c:v>
                </c:pt>
                <c:pt idx="524">
                  <c:v>2.3948173851371968E-10</c:v>
                </c:pt>
                <c:pt idx="525">
                  <c:v>2.1023149649864682E-10</c:v>
                </c:pt>
                <c:pt idx="526">
                  <c:v>1.844739906287397E-10</c:v>
                </c:pt>
                <c:pt idx="527">
                  <c:v>1.6180371203730592E-10</c:v>
                </c:pt>
                <c:pt idx="528">
                  <c:v>1.4186057664355227E-10</c:v>
                </c:pt>
                <c:pt idx="529">
                  <c:v>1.243250713607596E-10</c:v>
                </c:pt>
                <c:pt idx="530">
                  <c:v>1.0891388599705593E-10</c:v>
                </c:pt>
                <c:pt idx="531">
                  <c:v>9.5375986844814934E-11</c:v>
                </c:pt>
                <c:pt idx="532">
                  <c:v>8.3489091298660009E-11</c:v>
                </c:pt>
                <c:pt idx="533">
                  <c:v>7.3056506024426414E-11</c:v>
                </c:pt>
                <c:pt idx="534">
                  <c:v>6.3904294215107767E-11</c:v>
                </c:pt>
                <c:pt idx="535">
                  <c:v>5.5878740311094701E-11</c:v>
                </c:pt>
                <c:pt idx="536">
                  <c:v>4.8844083230087403E-11</c:v>
                </c:pt>
                <c:pt idx="537">
                  <c:v>4.2680491648038502E-11</c:v>
                </c:pt>
                <c:pt idx="538">
                  <c:v>3.7282257199359578E-11</c:v>
                </c:pt>
                <c:pt idx="539">
                  <c:v>3.2556183627163535E-11</c:v>
                </c:pt>
                <c:pt idx="540">
                  <c:v>2.8420151917677035E-11</c:v>
                </c:pt>
                <c:pt idx="541">
                  <c:v>2.4801843304159854E-11</c:v>
                </c:pt>
                <c:pt idx="542">
                  <c:v>2.1637603731348406E-11</c:v>
                </c:pt>
                <c:pt idx="543">
                  <c:v>1.8871434939441949E-11</c:v>
                </c:pt>
                <c:pt idx="544">
                  <c:v>1.6454098764518643E-11</c:v>
                </c:pt>
                <c:pt idx="545">
                  <c:v>1.4342322568047432E-11</c:v>
                </c:pt>
                <c:pt idx="546">
                  <c:v>1.2498094909592293E-11</c:v>
                </c:pt>
                <c:pt idx="547">
                  <c:v>1.0888041671669781E-11</c:v>
                </c:pt>
                <c:pt idx="548">
                  <c:v>9.4828738416403227E-12</c:v>
                </c:pt>
                <c:pt idx="549">
                  <c:v>8.2568990596767586E-12</c:v>
                </c:pt>
                <c:pt idx="550">
                  <c:v>7.1875898614779061E-12</c:v>
                </c:pt>
                <c:pt idx="551">
                  <c:v>6.255202285970154E-12</c:v>
                </c:pt>
                <c:pt idx="552">
                  <c:v>5.4424391883016316E-12</c:v>
                </c:pt>
                <c:pt idx="553">
                  <c:v>4.7341532029086193E-12</c:v>
                </c:pt>
                <c:pt idx="554">
                  <c:v>4.1170848459200924E-12</c:v>
                </c:pt>
                <c:pt idx="555">
                  <c:v>3.5796317360180582E-12</c:v>
                </c:pt>
                <c:pt idx="556">
                  <c:v>3.1116453529267113E-12</c:v>
                </c:pt>
                <c:pt idx="557">
                  <c:v>2.7042521475457874E-12</c:v>
                </c:pt>
                <c:pt idx="558">
                  <c:v>2.3496961715818298E-12</c:v>
                </c:pt>
                <c:pt idx="559">
                  <c:v>2.0412007112442863E-12</c:v>
                </c:pt>
                <c:pt idx="560">
                  <c:v>1.7728466927452881E-12</c:v>
                </c:pt>
                <c:pt idx="561">
                  <c:v>1.5394658802402128E-12</c:v>
                </c:pt>
                <c:pt idx="562">
                  <c:v>1.3365471124652079E-12</c:v>
                </c:pt>
                <c:pt idx="563">
                  <c:v>1.1601540254286229E-12</c:v>
                </c:pt>
                <c:pt idx="564">
                  <c:v>1.006852887548536E-12</c:v>
                </c:pt>
                <c:pt idx="565">
                  <c:v>8.7364933290549278E-13</c:v>
                </c:pt>
                <c:pt idx="566">
                  <c:v>7.5793291982271548E-13</c:v>
                </c:pt>
                <c:pt idx="567">
                  <c:v>6.574285676725675E-13</c:v>
                </c:pt>
                <c:pt idx="568">
                  <c:v>5.7015403631470396E-13</c:v>
                </c:pt>
                <c:pt idx="569">
                  <c:v>4.943827114163827E-13</c:v>
                </c:pt>
                <c:pt idx="570">
                  <c:v>4.286110464591482E-13</c:v>
                </c:pt>
                <c:pt idx="571">
                  <c:v>3.7153008972311336E-13</c:v>
                </c:pt>
                <c:pt idx="572">
                  <c:v>3.2200059307539375E-13</c:v>
                </c:pt>
                <c:pt idx="573">
                  <c:v>2.7903125995298871E-13</c:v>
                </c:pt>
                <c:pt idx="574">
                  <c:v>2.4175974342029837E-13</c:v>
                </c:pt>
                <c:pt idx="575">
                  <c:v>2.0943605238884294E-13</c:v>
                </c:pt>
                <c:pt idx="576">
                  <c:v>1.8140806571966033E-13</c:v>
                </c:pt>
                <c:pt idx="577">
                  <c:v>1.5710889062795656E-13</c:v>
                </c:pt>
                <c:pt idx="578">
                  <c:v>1.3604583413318857E-13</c:v>
                </c:pt>
                <c:pt idx="579">
                  <c:v>1.1779078475553327E-13</c:v>
                </c:pt>
                <c:pt idx="580">
                  <c:v>1.0197182669667989E-13</c:v>
                </c:pt>
                <c:pt idx="581">
                  <c:v>8.8265930758520683E-14</c:v>
                </c:pt>
                <c:pt idx="582">
                  <c:v>7.6392585602361034E-14</c:v>
                </c:pt>
                <c:pt idx="583">
                  <c:v>6.6108249946290217E-14</c:v>
                </c:pt>
                <c:pt idx="584">
                  <c:v>5.7201521219830123E-14</c:v>
                </c:pt>
                <c:pt idx="585">
                  <c:v>4.948892928735437E-14</c:v>
                </c:pt>
                <c:pt idx="586">
                  <c:v>4.281127533549374E-14</c:v>
                </c:pt>
                <c:pt idx="587">
                  <c:v>3.7030446086692194E-14</c:v>
                </c:pt>
                <c:pt idx="588">
                  <c:v>3.2026642322123426E-14</c:v>
                </c:pt>
                <c:pt idx="589">
                  <c:v>2.7695968423392879E-14</c:v>
                </c:pt>
                <c:pt idx="590">
                  <c:v>2.3948336406607737E-14</c:v>
                </c:pt>
                <c:pt idx="591">
                  <c:v>2.0705643841676995E-14</c:v>
                </c:pt>
                <c:pt idx="592">
                  <c:v>1.7900190227824536E-14</c:v>
                </c:pt>
                <c:pt idx="593">
                  <c:v>1.5473300923988599E-14</c:v>
                </c:pt>
                <c:pt idx="594">
                  <c:v>1.3374131690368188E-14</c:v>
                </c:pt>
                <c:pt idx="595">
                  <c:v>1.1558630355293265E-14</c:v>
                </c:pt>
                <c:pt idx="596">
                  <c:v>9.9886351418152666E-15</c:v>
                </c:pt>
                <c:pt idx="597">
                  <c:v>8.6310918254675059E-15</c:v>
                </c:pt>
                <c:pt idx="598">
                  <c:v>7.4573741962666069E-15</c:v>
                </c:pt>
                <c:pt idx="599">
                  <c:v>6.4426943062432233E-15</c:v>
                </c:pt>
                <c:pt idx="600">
                  <c:v>5.565590735467298E-15</c:v>
                </c:pt>
                <c:pt idx="601">
                  <c:v>4.8074846368751205E-15</c:v>
                </c:pt>
                <c:pt idx="602">
                  <c:v>4.1522946516227983E-15</c:v>
                </c:pt>
                <c:pt idx="603">
                  <c:v>3.5861029468793308E-15</c:v>
                </c:pt>
                <c:pt idx="604">
                  <c:v>3.0968656387282444E-15</c:v>
                </c:pt>
                <c:pt idx="605">
                  <c:v>2.6741617431139205E-15</c:v>
                </c:pt>
                <c:pt idx="606">
                  <c:v>2.3089755642052016E-15</c:v>
                </c:pt>
                <c:pt idx="607">
                  <c:v>1.9935080966982419E-15</c:v>
                </c:pt>
                <c:pt idx="608">
                  <c:v>1.7210135991183108E-15</c:v>
                </c:pt>
                <c:pt idx="609">
                  <c:v>1.4856580002721303E-15</c:v>
                </c:pt>
                <c:pt idx="610">
                  <c:v>1.2823962402775589E-15</c:v>
                </c:pt>
                <c:pt idx="611">
                  <c:v>1.106866029622076E-15</c:v>
                </c:pt>
                <c:pt idx="612">
                  <c:v>9.5529584175869826E-16</c:v>
                </c:pt>
                <c:pt idx="613">
                  <c:v>8.2442524340494182E-16</c:v>
                </c:pt>
                <c:pt idx="614">
                  <c:v>7.1143591750212581E-16</c:v>
                </c:pt>
                <c:pt idx="615">
                  <c:v>6.1389195169439754E-16</c:v>
                </c:pt>
                <c:pt idx="616">
                  <c:v>5.2968815443402659E-16</c:v>
                </c:pt>
                <c:pt idx="617">
                  <c:v>4.5700532517237011E-16</c:v>
                </c:pt>
                <c:pt idx="618">
                  <c:v>3.9427154777956842E-16</c:v>
                </c:pt>
                <c:pt idx="619">
                  <c:v>3.401287001945439E-16</c:v>
                </c:pt>
                <c:pt idx="620">
                  <c:v>2.9340348080232539E-16</c:v>
                </c:pt>
                <c:pt idx="621">
                  <c:v>2.5308234530513567E-16</c:v>
                </c:pt>
                <c:pt idx="622">
                  <c:v>2.1828982877077066E-16</c:v>
                </c:pt>
                <c:pt idx="623">
                  <c:v>1.8826979773138808E-16</c:v>
                </c:pt>
                <c:pt idx="624">
                  <c:v>1.6236923806917545E-16</c:v>
                </c:pt>
                <c:pt idx="625">
                  <c:v>1.4002423720734661E-16</c:v>
                </c:pt>
                <c:pt idx="626">
                  <c:v>1.2074786487589663E-16</c:v>
                </c:pt>
                <c:pt idx="627">
                  <c:v>1.0411969638417609E-16</c:v>
                </c:pt>
                <c:pt idx="628">
                  <c:v>8.9776756702206521E-17</c:v>
                </c:pt>
                <c:pt idx="629">
                  <c:v>7.7405693436477866E-17</c:v>
                </c:pt>
                <c:pt idx="630">
                  <c:v>6.6736012590029223E-17</c:v>
                </c:pt>
                <c:pt idx="631">
                  <c:v>5.7534233348898555E-17</c:v>
                </c:pt>
                <c:pt idx="632">
                  <c:v>4.9598837498238499E-17</c:v>
                </c:pt>
                <c:pt idx="633">
                  <c:v>4.2755905836368107E-17</c:v>
                </c:pt>
                <c:pt idx="634">
                  <c:v>3.6855348473778476E-17</c:v>
                </c:pt>
                <c:pt idx="635">
                  <c:v>3.1767648471940337E-17</c:v>
                </c:pt>
                <c:pt idx="636">
                  <c:v>2.7381049157401427E-17</c:v>
                </c:pt>
                <c:pt idx="637">
                  <c:v>2.359912486388771E-17</c:v>
                </c:pt>
                <c:pt idx="638">
                  <c:v>2.0338683004507334E-17</c:v>
                </c:pt>
                <c:pt idx="639">
                  <c:v>1.7527952429012417E-17</c:v>
                </c:pt>
                <c:pt idx="640">
                  <c:v>1.5105019122237556E-17</c:v>
                </c:pt>
                <c:pt idx="641">
                  <c:v>1.3016475578738478E-17</c:v>
                </c:pt>
                <c:pt idx="642">
                  <c:v>1.1216254754624348E-17</c:v>
                </c:pt>
                <c:pt idx="643">
                  <c:v>9.6646234466827421E-18</c:v>
                </c:pt>
                <c:pt idx="644">
                  <c:v>8.327313364538712E-18</c:v>
                </c:pt>
                <c:pt idx="645">
                  <c:v>7.1747711144337438E-18</c:v>
                </c:pt>
                <c:pt idx="646">
                  <c:v>6.1815108672203035E-18</c:v>
                </c:pt>
                <c:pt idx="647">
                  <c:v>5.3255556902963274E-18</c:v>
                </c:pt>
                <c:pt idx="648">
                  <c:v>4.5879554319175452E-18</c:v>
                </c:pt>
                <c:pt idx="649">
                  <c:v>3.9523706956008075E-18</c:v>
                </c:pt>
                <c:pt idx="650">
                  <c:v>3.4047138680161675E-18</c:v>
                </c:pt>
                <c:pt idx="651">
                  <c:v>2.9328393958434448E-18</c:v>
                </c:pt>
                <c:pt idx="652">
                  <c:v>2.5262765715401871E-18</c:v>
                </c:pt>
                <c:pt idx="653">
                  <c:v>2.1759990079199192E-18</c:v>
                </c:pt>
                <c:pt idx="654">
                  <c:v>1.8742257760620424E-18</c:v>
                </c:pt>
                <c:pt idx="655">
                  <c:v>1.6142498676615033E-18</c:v>
                </c:pt>
                <c:pt idx="656">
                  <c:v>1.3902902358971597E-18</c:v>
                </c:pt>
                <c:pt idx="657">
                  <c:v>1.1973641811307711E-18</c:v>
                </c:pt>
                <c:pt idx="658">
                  <c:v>1.0311772901129111E-18</c:v>
                </c:pt>
                <c:pt idx="659">
                  <c:v>8.8802851941068251E-19</c:v>
                </c:pt>
                <c:pt idx="660">
                  <c:v>7.6472834363786412E-19</c:v>
                </c:pt>
                <c:pt idx="661">
                  <c:v>6.5852817393114996E-19</c:v>
                </c:pt>
                <c:pt idx="662">
                  <c:v>5.6705949802102011E-19</c:v>
                </c:pt>
                <c:pt idx="663">
                  <c:v>4.882814055771422E-19</c:v>
                </c:pt>
                <c:pt idx="664">
                  <c:v>4.2043534578181394E-19</c:v>
                </c:pt>
                <c:pt idx="665">
                  <c:v>3.6200612227970121E-19</c:v>
                </c:pt>
                <c:pt idx="666">
                  <c:v>3.1168826722366901E-19</c:v>
                </c:pt>
                <c:pt idx="667">
                  <c:v>2.683570539817335E-19</c:v>
                </c:pt>
                <c:pt idx="668">
                  <c:v>2.3104350976885537E-19</c:v>
                </c:pt>
                <c:pt idx="669">
                  <c:v>1.9891287726608719E-19</c:v>
                </c:pt>
                <c:pt idx="670">
                  <c:v>1.7124604999059149E-19</c:v>
                </c:pt>
                <c:pt idx="671">
                  <c:v>1.4742357156683084E-19</c:v>
                </c:pt>
                <c:pt idx="672">
                  <c:v>1.2691184539755569E-19</c:v>
                </c:pt>
                <c:pt idx="673">
                  <c:v>1.0925124990347363E-19</c:v>
                </c:pt>
                <c:pt idx="674">
                  <c:v>9.4045896444042206E-20</c:v>
                </c:pt>
                <c:pt idx="675">
                  <c:v>8.0954803244697604E-20</c:v>
                </c:pt>
                <c:pt idx="676">
                  <c:v>6.9684289871469545E-20</c:v>
                </c:pt>
                <c:pt idx="677">
                  <c:v>5.9981423729688989E-20</c:v>
                </c:pt>
                <c:pt idx="678">
                  <c:v>5.1628373290226315E-20</c:v>
                </c:pt>
                <c:pt idx="679">
                  <c:v>4.4437542781595751E-20</c:v>
                </c:pt>
                <c:pt idx="680">
                  <c:v>3.8247380359065116E-20</c:v>
                </c:pt>
                <c:pt idx="681">
                  <c:v>3.2918766662747245E-20</c:v>
                </c:pt>
                <c:pt idx="682">
                  <c:v>2.833190351994547E-20</c:v>
                </c:pt>
                <c:pt idx="683">
                  <c:v>2.4383633627096497E-20</c:v>
                </c:pt>
                <c:pt idx="684">
                  <c:v>2.098513159308765E-20</c:v>
                </c:pt>
                <c:pt idx="685">
                  <c:v>1.8059914962747237E-20</c:v>
                </c:pt>
                <c:pt idx="686">
                  <c:v>1.5542130936701515E-20</c:v>
                </c:pt>
                <c:pt idx="687">
                  <c:v>1.3375080622934878E-20</c:v>
                </c:pt>
                <c:pt idx="688">
                  <c:v>1.1509947931731849E-20</c:v>
                </c:pt>
                <c:pt idx="689">
                  <c:v>9.9047047718130087E-21</c:v>
                </c:pt>
                <c:pt idx="690">
                  <c:v>8.5231681263428732E-21</c:v>
                </c:pt>
                <c:pt idx="691">
                  <c:v>7.3341879645174306E-21</c:v>
                </c:pt>
                <c:pt idx="692">
                  <c:v>6.3109478570231978E-21</c:v>
                </c:pt>
                <c:pt idx="693">
                  <c:v>5.4303626729336491E-21</c:v>
                </c:pt>
                <c:pt idx="694">
                  <c:v>4.6725598980266599E-21</c:v>
                </c:pt>
                <c:pt idx="695">
                  <c:v>4.0204329784202644E-21</c:v>
                </c:pt>
                <c:pt idx="696">
                  <c:v>3.4592566995403452E-21</c:v>
                </c:pt>
                <c:pt idx="697">
                  <c:v>2.9763559940147814E-21</c:v>
                </c:pt>
                <c:pt idx="698">
                  <c:v>2.5608207649639813E-21</c:v>
                </c:pt>
                <c:pt idx="699">
                  <c:v>2.2032603382523176E-21</c:v>
                </c:pt>
                <c:pt idx="700">
                  <c:v>1.8955920427172482E-21</c:v>
                </c:pt>
                <c:pt idx="701">
                  <c:v>1.630859180155916E-21</c:v>
                </c:pt>
                <c:pt idx="702">
                  <c:v>1.403074303774417E-21</c:v>
                </c:pt>
                <c:pt idx="703">
                  <c:v>1.2070842899689134E-21</c:v>
                </c:pt>
                <c:pt idx="704">
                  <c:v>1.0384541760667254E-21</c:v>
                </c:pt>
                <c:pt idx="705">
                  <c:v>8.9336715655572161E-22</c:v>
                </c:pt>
                <c:pt idx="706">
                  <c:v>7.6853849243675466E-22</c:v>
                </c:pt>
                <c:pt idx="707">
                  <c:v>6.6114139981971725E-22</c:v>
                </c:pt>
                <c:pt idx="708">
                  <c:v>5.6874325252761088E-22</c:v>
                </c:pt>
                <c:pt idx="709">
                  <c:v>4.8925066466896214E-22</c:v>
                </c:pt>
                <c:pt idx="710">
                  <c:v>4.2086221832921734E-22</c:v>
                </c:pt>
                <c:pt idx="711">
                  <c:v>3.6202777306211229E-22</c:v>
                </c:pt>
                <c:pt idx="712">
                  <c:v>3.1141344161886245E-22</c:v>
                </c:pt>
                <c:pt idx="713">
                  <c:v>2.6787144358553544E-22</c:v>
                </c:pt>
                <c:pt idx="714">
                  <c:v>2.3041415817413641E-22</c:v>
                </c:pt>
                <c:pt idx="715">
                  <c:v>1.9819179174101792E-22</c:v>
                </c:pt>
                <c:pt idx="716">
                  <c:v>1.7047315692992383E-22</c:v>
                </c:pt>
                <c:pt idx="717">
                  <c:v>1.4662913021360011E-22</c:v>
                </c:pt>
                <c:pt idx="718">
                  <c:v>1.2611841495253672E-22</c:v>
                </c:pt>
                <c:pt idx="719">
                  <c:v>1.0847528888265167E-22</c:v>
                </c:pt>
                <c:pt idx="720">
                  <c:v>9.3299059675481107E-23</c:v>
                </c:pt>
                <c:pt idx="721">
                  <c:v>8.024499063317094E-23</c:v>
                </c:pt>
                <c:pt idx="722">
                  <c:v>6.9016491711640815E-23</c:v>
                </c:pt>
                <c:pt idx="723">
                  <c:v>5.9358399574483923E-23</c:v>
                </c:pt>
                <c:pt idx="724">
                  <c:v>5.1051194911004877E-23</c:v>
                </c:pt>
                <c:pt idx="725">
                  <c:v>4.3906026397306769E-23</c:v>
                </c:pt>
                <c:pt idx="726">
                  <c:v>3.7760428862073166E-23</c:v>
                </c:pt>
                <c:pt idx="727">
                  <c:v>3.247463887872232E-23</c:v>
                </c:pt>
                <c:pt idx="728">
                  <c:v>2.7928424487024801E-23</c:v>
                </c:pt>
                <c:pt idx="729">
                  <c:v>2.4018357355263743E-23</c:v>
                </c:pt>
                <c:pt idx="730">
                  <c:v>2.0655465678483228E-23</c:v>
                </c:pt>
                <c:pt idx="731">
                  <c:v>1.7763214707216069E-23</c:v>
                </c:pt>
                <c:pt idx="732">
                  <c:v>1.5275769206482882E-23</c:v>
                </c:pt>
                <c:pt idx="733">
                  <c:v>1.3136498511887611E-23</c:v>
                </c:pt>
                <c:pt idx="734">
                  <c:v>1.1296690332703233E-23</c:v>
                </c:pt>
                <c:pt idx="735">
                  <c:v>9.7144441739065777E-24</c:v>
                </c:pt>
                <c:pt idx="736">
                  <c:v>8.3537193083736348E-24</c:v>
                </c:pt>
                <c:pt idx="737">
                  <c:v>7.1835157290388538E-24</c:v>
                </c:pt>
                <c:pt idx="738">
                  <c:v>6.1771695165787E-24</c:v>
                </c:pt>
                <c:pt idx="739">
                  <c:v>5.3117466504446889E-24</c:v>
                </c:pt>
                <c:pt idx="740">
                  <c:v>4.5675215182267166E-24</c:v>
                </c:pt>
                <c:pt idx="741">
                  <c:v>3.9275282957527452E-24</c:v>
                </c:pt>
                <c:pt idx="742">
                  <c:v>3.3771750219990848E-24</c:v>
                </c:pt>
                <c:pt idx="743">
                  <c:v>2.903911611734145E-24</c:v>
                </c:pt>
                <c:pt idx="744">
                  <c:v>2.4969442725649108E-24</c:v>
                </c:pt>
                <c:pt idx="745">
                  <c:v>2.1469898430877494E-24</c:v>
                </c:pt>
                <c:pt idx="746">
                  <c:v>1.8460644754707811E-24</c:v>
                </c:pt>
                <c:pt idx="747">
                  <c:v>1.58730186310198E-24</c:v>
                </c:pt>
                <c:pt idx="748">
                  <c:v>1.3647968852249144E-24</c:v>
                </c:pt>
                <c:pt idx="749">
                  <c:v>1.1734711163934884E-24</c:v>
                </c:pt>
                <c:pt idx="750">
                  <c:v>1.0089571445211476E-24</c:v>
                </c:pt>
                <c:pt idx="751">
                  <c:v>8.6749906894481105E-25</c:v>
                </c:pt>
                <c:pt idx="752">
                  <c:v>7.4586691632549501E-25</c:v>
                </c:pt>
                <c:pt idx="753">
                  <c:v>6.4128302889783703E-25</c:v>
                </c:pt>
                <c:pt idx="754">
                  <c:v>5.5135875082473736E-25</c:v>
                </c:pt>
                <c:pt idx="755">
                  <c:v>4.7403997304413151E-25</c:v>
                </c:pt>
                <c:pt idx="756">
                  <c:v>4.0756029751519755E-25</c:v>
                </c:pt>
                <c:pt idx="757">
                  <c:v>3.5040075541811539E-25</c:v>
                </c:pt>
                <c:pt idx="758">
                  <c:v>3.0125516260688682E-25</c:v>
                </c:pt>
                <c:pt idx="759">
                  <c:v>2.5900032378388107E-25</c:v>
                </c:pt>
                <c:pt idx="760">
                  <c:v>2.2267040708443722E-25</c:v>
                </c:pt>
                <c:pt idx="761">
                  <c:v>1.9143490566294808E-25</c:v>
                </c:pt>
                <c:pt idx="762">
                  <c:v>1.6457968440768262E-25</c:v>
                </c:pt>
                <c:pt idx="763">
                  <c:v>1.4149068006591218E-25</c:v>
                </c:pt>
                <c:pt idx="764">
                  <c:v>1.2163988352308789E-25</c:v>
                </c:pt>
                <c:pt idx="765">
                  <c:v>1.0457328481676976E-25</c:v>
                </c:pt>
                <c:pt idx="766">
                  <c:v>8.9900506204331699E-26</c:v>
                </c:pt>
                <c:pt idx="767">
                  <c:v>7.7285887015909534E-26</c:v>
                </c:pt>
                <c:pt idx="768">
                  <c:v>6.6440817046579962E-26</c:v>
                </c:pt>
                <c:pt idx="769">
                  <c:v>5.7117143740171298E-26</c:v>
                </c:pt>
                <c:pt idx="770">
                  <c:v>4.9101502818461169E-26</c:v>
                </c:pt>
                <c:pt idx="771">
                  <c:v>4.2210443042996745E-26</c:v>
                </c:pt>
                <c:pt idx="772">
                  <c:v>3.6286233959967354E-26</c:v>
                </c:pt>
                <c:pt idx="773">
                  <c:v>3.1193260945710912E-26</c:v>
                </c:pt>
                <c:pt idx="774">
                  <c:v>2.681492533520356E-26</c:v>
                </c:pt>
                <c:pt idx="775">
                  <c:v>2.3050978887632178E-26</c:v>
                </c:pt>
                <c:pt idx="776">
                  <c:v>1.9815231748532268E-26</c:v>
                </c:pt>
                <c:pt idx="777">
                  <c:v>1.7033581610203688E-26</c:v>
                </c:pt>
                <c:pt idx="778">
                  <c:v>1.4642319056764481E-26</c:v>
                </c:pt>
                <c:pt idx="779">
                  <c:v>1.2586670423026405E-26</c:v>
                </c:pt>
                <c:pt idx="780">
                  <c:v>1.0819544878649225E-26</c:v>
                </c:pt>
                <c:pt idx="781">
                  <c:v>9.3004571291095469E-27</c:v>
                </c:pt>
                <c:pt idx="782">
                  <c:v>7.9946011277775744E-27</c:v>
                </c:pt>
                <c:pt idx="783">
                  <c:v>6.8720536385834671E-27</c:v>
                </c:pt>
                <c:pt idx="784">
                  <c:v>5.9070894487244983E-27</c:v>
                </c:pt>
                <c:pt idx="785">
                  <c:v>5.0775925909647389E-27</c:v>
                </c:pt>
                <c:pt idx="786">
                  <c:v>4.3645501149569119E-27</c:v>
                </c:pt>
                <c:pt idx="787">
                  <c:v>3.7516168397347523E-27</c:v>
                </c:pt>
                <c:pt idx="788">
                  <c:v>3.2247411376718439E-27</c:v>
                </c:pt>
                <c:pt idx="789">
                  <c:v>2.7718431944898273E-27</c:v>
                </c:pt>
                <c:pt idx="790">
                  <c:v>2.3825383889454427E-27</c:v>
                </c:pt>
                <c:pt idx="791">
                  <c:v>2.0478994683307864E-27</c:v>
                </c:pt>
                <c:pt idx="792">
                  <c:v>1.7602520781475935E-27</c:v>
                </c:pt>
                <c:pt idx="793">
                  <c:v>1.5129989713722161E-27</c:v>
                </c:pt>
                <c:pt idx="794">
                  <c:v>1.3004688750764818E-27</c:v>
                </c:pt>
                <c:pt idx="795">
                  <c:v>1.1177865572467601E-27</c:v>
                </c:pt>
                <c:pt idx="796">
                  <c:v>9.607611205336819E-28</c:v>
                </c:pt>
                <c:pt idx="797">
                  <c:v>8.2578996752103229E-28</c:v>
                </c:pt>
                <c:pt idx="798">
                  <c:v>7.097762383814187E-28</c:v>
                </c:pt>
                <c:pt idx="799">
                  <c:v>6.1005783293017584E-28</c:v>
                </c:pt>
                <c:pt idx="800">
                  <c:v>5.2434639101003012E-28</c:v>
                </c:pt>
              </c:numCache>
            </c:numRef>
          </c:yVal>
          <c:smooth val="0"/>
          <c:extLst>
            <c:ext xmlns:c16="http://schemas.microsoft.com/office/drawing/2014/chart" uri="{C3380CC4-5D6E-409C-BE32-E72D297353CC}">
              <c16:uniqueId val="{00000012-1D62-4DE3-8E9D-34C68BC76380}"/>
            </c:ext>
          </c:extLst>
        </c:ser>
        <c:ser>
          <c:idx val="17"/>
          <c:order val="17"/>
          <c:tx>
            <c:strRef>
              <c:f>Calc!$U$6</c:f>
              <c:strCache>
                <c:ptCount val="1"/>
                <c:pt idx="0">
                  <c:v>18</c:v>
                </c:pt>
              </c:strCache>
            </c:strRef>
          </c:tx>
          <c:spPr>
            <a:ln w="28575">
              <a:noFill/>
            </a:ln>
          </c:spPr>
          <c:marker>
            <c:symbol val="dash"/>
            <c:size val="3"/>
            <c:spPr>
              <a:noFill/>
              <a:ln>
                <a:solidFill>
                  <a:srgbClr val="33CCCC"/>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U$7:$U$807</c:f>
              <c:numCache>
                <c:formatCode>000,000,000</c:formatCode>
                <c:ptCount val="801"/>
                <c:pt idx="0">
                  <c:v>1.3665655677424767E-30</c:v>
                </c:pt>
                <c:pt idx="1">
                  <c:v>1.634953384048531E-30</c:v>
                </c:pt>
                <c:pt idx="2">
                  <c:v>1.9560402404367577E-30</c:v>
                </c:pt>
                <c:pt idx="3">
                  <c:v>2.3401714352861986E-30</c:v>
                </c:pt>
                <c:pt idx="4">
                  <c:v>2.7997226405222893E-30</c:v>
                </c:pt>
                <c:pt idx="5">
                  <c:v>3.3494982774576052E-30</c:v>
                </c:pt>
                <c:pt idx="6">
                  <c:v>4.0072080347047315E-30</c:v>
                </c:pt>
                <c:pt idx="7">
                  <c:v>4.7940368510827855E-30</c:v>
                </c:pt>
                <c:pt idx="8">
                  <c:v>5.7353266901138057E-30</c:v>
                </c:pt>
                <c:pt idx="9">
                  <c:v>6.8613920249469386E-30</c:v>
                </c:pt>
                <c:pt idx="10">
                  <c:v>8.2084952486698389E-30</c:v>
                </c:pt>
                <c:pt idx="11">
                  <c:v>9.8200133628041842E-30</c:v>
                </c:pt>
                <c:pt idx="12">
                  <c:v>1.1747833441207313E-29</c:v>
                </c:pt>
                <c:pt idx="13">
                  <c:v>1.4054021714718544E-29</c:v>
                </c:pt>
                <c:pt idx="14">
                  <c:v>1.6812819909430924E-29</c:v>
                </c:pt>
                <c:pt idx="15">
                  <c:v>2.0113032980238523E-29</c:v>
                </c:pt>
                <c:pt idx="16">
                  <c:v>2.4060884948368892E-29</c:v>
                </c:pt>
                <c:pt idx="17">
                  <c:v>2.8783434579858214E-29</c:v>
                </c:pt>
                <c:pt idx="18">
                  <c:v>3.4432660613211232E-29</c:v>
                </c:pt>
                <c:pt idx="19">
                  <c:v>4.119034773489084E-29</c:v>
                </c:pt>
                <c:pt idx="20">
                  <c:v>4.9273930199557842E-29</c:v>
                </c:pt>
                <c:pt idx="21">
                  <c:v>5.8943480721720902E-29</c:v>
                </c:pt>
                <c:pt idx="22">
                  <c:v>7.0510069011311789E-29</c:v>
                </c:pt>
                <c:pt idx="23">
                  <c:v>8.4345758264830617E-29</c:v>
                </c:pt>
                <c:pt idx="24">
                  <c:v>1.0089556046366886E-28</c:v>
                </c:pt>
                <c:pt idx="25">
                  <c:v>1.2069173415479859E-28</c:v>
                </c:pt>
                <c:pt idx="26">
                  <c:v>1.4437088350782541E-28</c:v>
                </c:pt>
                <c:pt idx="27">
                  <c:v>1.7269440726178969E-28</c:v>
                </c:pt>
                <c:pt idx="28">
                  <c:v>2.0657295357031336E-28</c:v>
                </c:pt>
                <c:pt idx="29">
                  <c:v>2.4709566516230541E-28</c:v>
                </c:pt>
                <c:pt idx="30">
                  <c:v>2.9556515276669381E-28</c:v>
                </c:pt>
                <c:pt idx="31">
                  <c:v>3.5353931831641915E-28</c:v>
                </c:pt>
                <c:pt idx="32">
                  <c:v>4.2288136892156618E-28</c:v>
                </c:pt>
                <c:pt idx="33">
                  <c:v>5.0581962500452737E-28</c:v>
                </c:pt>
                <c:pt idx="34">
                  <c:v>6.0501903971323851E-28</c:v>
                </c:pt>
                <c:pt idx="35">
                  <c:v>7.2366672180344526E-28</c:v>
                </c:pt>
                <c:pt idx="36">
                  <c:v>8.6557420259880368E-28</c:v>
                </c:pt>
                <c:pt idx="37">
                  <c:v>1.0352997237312054E-27</c:v>
                </c:pt>
                <c:pt idx="38">
                  <c:v>1.2382944632668798E-27</c:v>
                </c:pt>
                <c:pt idx="39">
                  <c:v>1.481077384013651E-27</c:v>
                </c:pt>
                <c:pt idx="40">
                  <c:v>1.7714443037594352E-27</c:v>
                </c:pt>
                <c:pt idx="41">
                  <c:v>2.1187178821678516E-27</c:v>
                </c:pt>
                <c:pt idx="42">
                  <c:v>2.534046528018863E-27</c:v>
                </c:pt>
                <c:pt idx="43">
                  <c:v>3.0307617952283931E-27</c:v>
                </c:pt>
                <c:pt idx="44">
                  <c:v>3.6248057065530892E-27</c:v>
                </c:pt>
                <c:pt idx="45">
                  <c:v>4.3352416797903134E-27</c:v>
                </c:pt>
                <c:pt idx="46">
                  <c:v>5.1848654039558926E-27</c:v>
                </c:pt>
                <c:pt idx="47">
                  <c:v>6.2009352076360773E-27</c:v>
                </c:pt>
                <c:pt idx="48">
                  <c:v>7.4160452803531565E-27</c:v>
                </c:pt>
                <c:pt idx="49">
                  <c:v>8.8691696721411111E-27</c:v>
                </c:pt>
                <c:pt idx="50">
                  <c:v>1.0606910452103812E-26</c:v>
                </c:pt>
                <c:pt idx="51">
                  <c:v>1.2684989927436626E-26</c:v>
                </c:pt>
                <c:pt idx="52">
                  <c:v>1.5170034618014145E-26</c:v>
                </c:pt>
                <c:pt idx="53">
                  <c:v>1.8141707996520579E-26</c:v>
                </c:pt>
                <c:pt idx="54">
                  <c:v>2.1695260136891026E-26</c:v>
                </c:pt>
                <c:pt idx="55">
                  <c:v>2.5944575719135105E-26</c:v>
                </c:pt>
                <c:pt idx="56">
                  <c:v>3.1025817739980634E-26</c:v>
                </c:pt>
                <c:pt idx="57">
                  <c:v>3.7101783282420852E-26</c:v>
                </c:pt>
                <c:pt idx="58">
                  <c:v>4.4367110407872785E-26</c:v>
                </c:pt>
                <c:pt idx="59">
                  <c:v>5.305450237484816E-26</c:v>
                </c:pt>
                <c:pt idx="60">
                  <c:v>6.3442167820986662E-26</c:v>
                </c:pt>
                <c:pt idx="61">
                  <c:v>7.5862714302430738E-26</c:v>
                </c:pt>
                <c:pt idx="62">
                  <c:v>9.0713778897853592E-26</c:v>
                </c:pt>
                <c:pt idx="63">
                  <c:v>1.0847073492600121E-25</c:v>
                </c:pt>
                <c:pt idx="64">
                  <c:v>1.2970187995376845E-25</c:v>
                </c:pt>
                <c:pt idx="65">
                  <c:v>1.5508658928719777E-25</c:v>
                </c:pt>
                <c:pt idx="66">
                  <c:v>1.8543701354953507E-25</c:v>
                </c:pt>
                <c:pt idx="67">
                  <c:v>2.2172401175616665E-25</c:v>
                </c:pt>
                <c:pt idx="68">
                  <c:v>2.6510814607584848E-25</c:v>
                </c:pt>
                <c:pt idx="69">
                  <c:v>3.1697672549796429E-25</c:v>
                </c:pt>
                <c:pt idx="70">
                  <c:v>3.7898807801432515E-25</c:v>
                </c:pt>
                <c:pt idx="71">
                  <c:v>4.5312446077199689E-25</c:v>
                </c:pt>
                <c:pt idx="72">
                  <c:v>5.4175529224739325E-25</c:v>
                </c:pt>
                <c:pt idx="73">
                  <c:v>6.4771271853366287E-25</c:v>
                </c:pt>
                <c:pt idx="74">
                  <c:v>7.7438191771586257E-25</c:v>
                </c:pt>
                <c:pt idx="75">
                  <c:v>9.258090144431687E-25</c:v>
                </c:pt>
                <c:pt idx="76">
                  <c:v>1.1068300360165905E-24</c:v>
                </c:pt>
                <c:pt idx="77">
                  <c:v>1.3232250092926928E-24</c:v>
                </c:pt>
                <c:pt idx="78">
                  <c:v>1.5819020955950567E-24</c:v>
                </c:pt>
                <c:pt idx="79">
                  <c:v>1.8911176138623829E-24</c:v>
                </c:pt>
                <c:pt idx="80">
                  <c:v>2.2607389405780314E-24</c:v>
                </c:pt>
                <c:pt idx="81">
                  <c:v>2.7025586346022532E-24</c:v>
                </c:pt>
                <c:pt idx="82">
                  <c:v>3.230669758821048E-24</c:v>
                </c:pt>
                <c:pt idx="83">
                  <c:v>3.8619143098235403E-24</c:v>
                </c:pt>
                <c:pt idx="84">
                  <c:v>4.6164189828547542E-24</c:v>
                </c:pt>
                <c:pt idx="85">
                  <c:v>5.5182352651566152E-24</c:v>
                </c:pt>
                <c:pt idx="86">
                  <c:v>6.5961041537781544E-24</c:v>
                </c:pt>
                <c:pt idx="87">
                  <c:v>7.8843697381632807E-24</c:v>
                </c:pt>
                <c:pt idx="88">
                  <c:v>9.4240705976679435E-24</c:v>
                </c:pt>
                <c:pt idx="89">
                  <c:v>1.126424358802511E-23</c:v>
                </c:pt>
                <c:pt idx="90">
                  <c:v>1.3463481305833839E-23</c:v>
                </c:pt>
                <c:pt idx="91">
                  <c:v>1.6091792537823092E-23</c:v>
                </c:pt>
                <c:pt idx="92">
                  <c:v>1.9232824574290767E-23</c:v>
                </c:pt>
                <c:pt idx="93">
                  <c:v>2.2986517694905441E-23</c:v>
                </c:pt>
                <c:pt idx="94">
                  <c:v>2.7472275779383233E-23</c:v>
                </c:pt>
                <c:pt idx="95">
                  <c:v>3.2832753284305254E-23</c:v>
                </c:pt>
                <c:pt idx="96">
                  <c:v>3.923837827231149E-23</c:v>
                </c:pt>
                <c:pt idx="97">
                  <c:v>4.6892754391755983E-23</c:v>
                </c:pt>
                <c:pt idx="98">
                  <c:v>5.6039112412287265E-23</c:v>
                </c:pt>
                <c:pt idx="99">
                  <c:v>6.6968014994055117E-23</c:v>
                </c:pt>
                <c:pt idx="100">
                  <c:v>8.0026557842542428E-23</c:v>
                </c:pt>
                <c:pt idx="101">
                  <c:v>9.562935751471764E-23</c:v>
                </c:pt>
                <c:pt idx="102">
                  <c:v>1.1427167237138819E-22</c:v>
                </c:pt>
                <c:pt idx="103">
                  <c:v>1.3654507027611097E-22</c:v>
                </c:pt>
                <c:pt idx="104">
                  <c:v>1.6315613672309394E-22</c:v>
                </c:pt>
                <c:pt idx="105">
                  <c:v>1.9494881264035343E-22</c:v>
                </c:pt>
                <c:pt idx="106">
                  <c:v>2.3293106514787548E-22</c:v>
                </c:pt>
                <c:pt idx="107">
                  <c:v>2.7830673061711189E-22</c:v>
                </c:pt>
                <c:pt idx="108">
                  <c:v>3.3251353172738067E-22</c:v>
                </c:pt>
                <c:pt idx="109">
                  <c:v>3.972684639144352E-22</c:v>
                </c:pt>
                <c:pt idx="110">
                  <c:v>4.746219776994111E-22</c:v>
                </c:pt>
                <c:pt idx="111">
                  <c:v>5.6702265907755457E-22</c:v>
                </c:pt>
                <c:pt idx="112">
                  <c:v>6.7739443902692064E-22</c:v>
                </c:pt>
                <c:pt idx="113">
                  <c:v>8.0922875550872812E-22</c:v>
                </c:pt>
                <c:pt idx="114">
                  <c:v>9.6669455928439075E-22</c:v>
                </c:pt>
                <c:pt idx="115">
                  <c:v>1.1547696130235423E-21</c:v>
                </c:pt>
                <c:pt idx="116">
                  <c:v>1.3793971988730048E-21</c:v>
                </c:pt>
                <c:pt idx="117">
                  <c:v>1.6476731435782057E-21</c:v>
                </c:pt>
                <c:pt idx="118">
                  <c:v>1.9680690170425732E-21</c:v>
                </c:pt>
                <c:pt idx="119">
                  <c:v>2.3506984892493571E-21</c:v>
                </c:pt>
                <c:pt idx="120">
                  <c:v>2.8076351767596413E-21</c:v>
                </c:pt>
                <c:pt idx="121">
                  <c:v>3.3532919152463592E-21</c:v>
                </c:pt>
                <c:pt idx="122">
                  <c:v>4.0048733084299149E-21</c:v>
                </c:pt>
                <c:pt idx="123">
                  <c:v>4.7829156855530082E-21</c:v>
                </c:pt>
                <c:pt idx="124">
                  <c:v>5.7119313197170764E-21</c:v>
                </c:pt>
                <c:pt idx="125">
                  <c:v>6.8211770020303657E-21</c:v>
                </c:pt>
                <c:pt idx="126">
                  <c:v>8.1455709316869406E-21</c:v>
                </c:pt>
                <c:pt idx="127">
                  <c:v>9.7267864890299853E-21</c:v>
                </c:pt>
                <c:pt idx="128">
                  <c:v>1.1614556949344336E-20</c:v>
                </c:pt>
                <c:pt idx="129">
                  <c:v>1.3868231738670617E-20</c:v>
                </c:pt>
                <c:pt idx="130">
                  <c:v>1.6558632630691597E-20</c:v>
                </c:pt>
                <c:pt idx="131">
                  <c:v>1.9770267575477156E-20</c:v>
                </c:pt>
                <c:pt idx="132">
                  <c:v>2.3603970922012744E-20</c:v>
                </c:pt>
                <c:pt idx="133">
                  <c:v>2.8180051986854458E-20</c:v>
                </c:pt>
                <c:pt idx="134">
                  <c:v>3.3642049635395304E-20</c:v>
                </c:pt>
                <c:pt idx="135">
                  <c:v>4.0161209261679378E-20</c:v>
                </c:pt>
                <c:pt idx="136">
                  <c:v>4.794182085043638E-20</c:v>
                </c:pt>
                <c:pt idx="137">
                  <c:v>5.7227583363053627E-20</c:v>
                </c:pt>
                <c:pt idx="138">
                  <c:v>6.8309192319069042E-20</c:v>
                </c:pt>
                <c:pt idx="139">
                  <c:v>8.1533385111958482E-20</c:v>
                </c:pt>
                <c:pt idx="140">
                  <c:v>9.7313723451315774E-20</c:v>
                </c:pt>
                <c:pt idx="141">
                  <c:v>1.1614344572951955E-19</c:v>
                </c:pt>
                <c:pt idx="142">
                  <c:v>1.3861078569499753E-19</c:v>
                </c:pt>
                <c:pt idx="143">
                  <c:v>1.6541722950964388E-19</c:v>
                </c:pt>
                <c:pt idx="144">
                  <c:v>1.9739927337381974E-19</c:v>
                </c:pt>
                <c:pt idx="145">
                  <c:v>2.3555435115230232E-19</c:v>
                </c:pt>
                <c:pt idx="146">
                  <c:v>2.8107172907939036E-19</c:v>
                </c:pt>
                <c:pt idx="147">
                  <c:v>3.3536931652471265E-19</c:v>
                </c:pt>
                <c:pt idx="148">
                  <c:v>4.0013752255706672E-19</c:v>
                </c:pt>
                <c:pt idx="149">
                  <c:v>4.773915031108717E-19</c:v>
                </c:pt>
                <c:pt idx="150">
                  <c:v>5.6953339942690615E-19</c:v>
                </c:pt>
                <c:pt idx="151">
                  <c:v>6.7942647281555246E-19</c:v>
                </c:pt>
                <c:pt idx="152">
                  <c:v>8.1048340283669834E-19</c:v>
                </c:pt>
                <c:pt idx="153">
                  <c:v>9.6677144658805868E-19</c:v>
                </c:pt>
                <c:pt idx="154">
                  <c:v>1.1531376688684421E-18</c:v>
                </c:pt>
                <c:pt idx="155">
                  <c:v>1.3753580618862335E-18</c:v>
                </c:pt>
                <c:pt idx="156">
                  <c:v>1.6403150971463325E-18</c:v>
                </c:pt>
                <c:pt idx="157">
                  <c:v>1.9562091128166901E-18</c:v>
                </c:pt>
                <c:pt idx="158">
                  <c:v>2.3328099629454285E-18</c:v>
                </c:pt>
                <c:pt idx="159">
                  <c:v>2.781756570875011E-18</c:v>
                </c:pt>
                <c:pt idx="160">
                  <c:v>3.3169134742828302E-18</c:v>
                </c:pt>
                <c:pt idx="161">
                  <c:v>3.9547951664294303E-18</c:v>
                </c:pt>
                <c:pt idx="162">
                  <c:v>4.7150710783864002E-18</c:v>
                </c:pt>
                <c:pt idx="163">
                  <c:v>5.6211664707165918E-18</c:v>
                </c:pt>
                <c:pt idx="164">
                  <c:v>6.7009773820112818E-18</c:v>
                </c:pt>
                <c:pt idx="165">
                  <c:v>7.9877212009091969E-18</c:v>
                </c:pt>
                <c:pt idx="166">
                  <c:v>9.5209484885953363E-18</c:v>
                </c:pt>
                <c:pt idx="167">
                  <c:v>1.134774649985967E-17</c:v>
                </c:pt>
                <c:pt idx="168">
                  <c:v>1.352417057433678E-17</c:v>
                </c:pt>
                <c:pt idx="169">
                  <c:v>1.6116946363500767E-17</c:v>
                </c:pt>
                <c:pt idx="170">
                  <c:v>1.9205493922399397E-17</c:v>
                </c:pt>
                <c:pt idx="171">
                  <c:v>2.288433426376767E-17</c:v>
                </c:pt>
                <c:pt idx="172">
                  <c:v>2.7265950325364234E-17</c:v>
                </c:pt>
                <c:pt idx="173">
                  <c:v>3.2484187769883174E-17</c:v>
                </c:pt>
                <c:pt idx="174">
                  <c:v>3.8698297012255546E-17</c:v>
                </c:pt>
                <c:pt idx="175">
                  <c:v>4.6097736815172611E-17</c:v>
                </c:pt>
                <c:pt idx="176">
                  <c:v>5.4907882258998242E-17</c:v>
                </c:pt>
                <c:pt idx="177">
                  <c:v>6.5396806526177573E-17</c:v>
                </c:pt>
                <c:pt idx="178">
                  <c:v>7.7883337511030887E-17</c:v>
                </c:pt>
                <c:pt idx="179">
                  <c:v>9.2746627682091734E-17</c:v>
                </c:pt>
                <c:pt idx="180">
                  <c:v>1.1043751996042131E-16</c:v>
                </c:pt>
                <c:pt idx="181">
                  <c:v>1.314920449041456E-16</c:v>
                </c:pt>
                <c:pt idx="182">
                  <c:v>1.5654744670833261E-16</c:v>
                </c:pt>
                <c:pt idx="183">
                  <c:v>1.8636120921519671E-16</c:v>
                </c:pt>
                <c:pt idx="184">
                  <c:v>2.2183364037890755E-16</c:v>
                </c:pt>
                <c:pt idx="185">
                  <c:v>2.6403467691885324E-16</c:v>
                </c:pt>
                <c:pt idx="186">
                  <c:v>3.1423569314972003E-16</c:v>
                </c:pt>
                <c:pt idx="187">
                  <c:v>3.7394724264874687E-16</c:v>
                </c:pt>
                <c:pt idx="188">
                  <c:v>4.4496383258602887E-16</c:v>
                </c:pt>
                <c:pt idx="189">
                  <c:v>5.2941703301097861E-16</c:v>
                </c:pt>
                <c:pt idx="190">
                  <c:v>6.298384628303061E-16</c:v>
                </c:pt>
                <c:pt idx="191">
                  <c:v>7.4923447732053723E-16</c:v>
                </c:pt>
                <c:pt idx="192">
                  <c:v>8.9117471667831576E-16</c:v>
                </c:pt>
                <c:pt idx="193">
                  <c:v>1.0598970706226961E-15</c:v>
                </c:pt>
                <c:pt idx="194">
                  <c:v>1.2604320813789418E-15</c:v>
                </c:pt>
                <c:pt idx="195">
                  <c:v>1.4987503593988845E-15</c:v>
                </c:pt>
                <c:pt idx="196">
                  <c:v>1.7819372381035543E-15</c:v>
                </c:pt>
                <c:pt idx="197">
                  <c:v>2.1183996636598057E-15</c:v>
                </c:pt>
                <c:pt idx="198">
                  <c:v>2.5181112243766894E-15</c:v>
                </c:pt>
                <c:pt idx="199">
                  <c:v>2.9929022964970684E-15</c:v>
                </c:pt>
                <c:pt idx="200">
                  <c:v>3.5568035480940386E-15</c:v>
                </c:pt>
                <c:pt idx="201">
                  <c:v>4.2264525347043194E-15</c:v>
                </c:pt>
                <c:pt idx="202">
                  <c:v>5.0215748794886367E-15</c:v>
                </c:pt>
                <c:pt idx="203">
                  <c:v>5.9655536043816066E-15</c:v>
                </c:pt>
                <c:pt idx="204">
                  <c:v>7.0861026224068573E-15</c:v>
                </c:pt>
                <c:pt idx="205">
                  <c:v>8.4160632802703607E-15</c:v>
                </c:pt>
                <c:pt idx="206">
                  <c:v>9.9943462309945835E-15</c:v>
                </c:pt>
                <c:pt idx="207">
                  <c:v>1.1867044908444003E-14</c:v>
                </c:pt>
                <c:pt idx="208">
                  <c:v>1.4088751574319675E-14</c:v>
                </c:pt>
                <c:pt idx="209">
                  <c:v>1.6724112436872354E-14</c:v>
                </c:pt>
                <c:pt idx="210">
                  <c:v>1.9849664843647597E-14</c:v>
                </c:pt>
                <c:pt idx="211">
                  <c:v>2.3556007197208656E-14</c:v>
                </c:pt>
                <c:pt idx="212">
                  <c:v>2.795036123096117E-14</c:v>
                </c:pt>
                <c:pt idx="213">
                  <c:v>3.3159596843617348E-14</c:v>
                </c:pt>
                <c:pt idx="214">
                  <c:v>3.9333802096361548E-14</c:v>
                </c:pt>
                <c:pt idx="215">
                  <c:v>4.66504955430902E-14</c:v>
                </c:pt>
                <c:pt idx="216">
                  <c:v>5.531959516112806E-14</c:v>
                </c:pt>
                <c:pt idx="217">
                  <c:v>6.558927820952935E-14</c:v>
                </c:pt>
                <c:pt idx="218">
                  <c:v>7.7752889868651586E-14</c:v>
                </c:pt>
                <c:pt idx="219">
                  <c:v>9.2157086096171525E-14</c:v>
                </c:pt>
                <c:pt idx="220">
                  <c:v>1.0921142845677148E-13</c:v>
                </c:pt>
                <c:pt idx="221">
                  <c:v>1.2939968654414159E-13</c:v>
                </c:pt>
                <c:pt idx="222">
                  <c:v>1.5329314794513391E-13</c:v>
                </c:pt>
                <c:pt idx="223">
                  <c:v>1.8156628757940066E-13</c:v>
                </c:pt>
                <c:pt idx="224">
                  <c:v>2.1501520894324707E-13</c:v>
                </c:pt>
                <c:pt idx="225">
                  <c:v>2.5457934075733066E-13</c:v>
                </c:pt>
                <c:pt idx="226">
                  <c:v>3.0136695546505959E-13</c:v>
                </c:pt>
                <c:pt idx="227">
                  <c:v>3.566851729261734E-13</c:v>
                </c:pt>
                <c:pt idx="228">
                  <c:v>4.2207522578852549E-13</c:v>
                </c:pt>
                <c:pt idx="229">
                  <c:v>4.9935389505587849E-13</c:v>
                </c:pt>
                <c:pt idx="230">
                  <c:v>5.90662178377014E-13</c:v>
                </c:pt>
                <c:pt idx="231">
                  <c:v>6.9852243312314447E-13</c:v>
                </c:pt>
                <c:pt idx="232">
                  <c:v>8.259054455166352E-13</c:v>
                </c:pt>
                <c:pt idx="233">
                  <c:v>9.76309120686967E-13</c:v>
                </c:pt>
                <c:pt idx="234">
                  <c:v>1.153850772061062E-12</c:v>
                </c:pt>
                <c:pt idx="235">
                  <c:v>1.3633753182926343E-12</c:v>
                </c:pt>
                <c:pt idx="236">
                  <c:v>1.6105820793216507E-12</c:v>
                </c:pt>
                <c:pt idx="237">
                  <c:v>1.9021733085632343E-12</c:v>
                </c:pt>
                <c:pt idx="238">
                  <c:v>2.2460281153678437E-12</c:v>
                </c:pt>
                <c:pt idx="239">
                  <c:v>2.6514060319370477E-12</c:v>
                </c:pt>
                <c:pt idx="240">
                  <c:v>3.1291851746531447E-12</c:v>
                </c:pt>
                <c:pt idx="241">
                  <c:v>3.6921407560176781E-12</c:v>
                </c:pt>
                <c:pt idx="242">
                  <c:v>4.3552706369822615E-12</c:v>
                </c:pt>
                <c:pt idx="243">
                  <c:v>5.1361756897478827E-12</c:v>
                </c:pt>
                <c:pt idx="244">
                  <c:v>6.0555039902481615E-12</c:v>
                </c:pt>
                <c:pt idx="245">
                  <c:v>7.1374693028353153E-12</c:v>
                </c:pt>
                <c:pt idx="246">
                  <c:v>8.4104559860538623E-12</c:v>
                </c:pt>
                <c:pt idx="247">
                  <c:v>9.9077243707862549E-12</c:v>
                </c:pt>
                <c:pt idx="248">
                  <c:v>1.1668232878037921E-11</c:v>
                </c:pt>
                <c:pt idx="249">
                  <c:v>1.3737595695916131E-11</c:v>
                </c:pt>
                <c:pt idx="250">
                  <c:v>1.6169197772494406E-11</c:v>
                </c:pt>
                <c:pt idx="251">
                  <c:v>1.9025492258323232E-11</c:v>
                </c:pt>
                <c:pt idx="252">
                  <c:v>2.2379509411762113E-11</c:v>
                </c:pt>
                <c:pt idx="253">
                  <c:v>2.6316610432693025E-11</c:v>
                </c:pt>
                <c:pt idx="254">
                  <c:v>3.0936524795323349E-11</c:v>
                </c:pt>
                <c:pt idx="255">
                  <c:v>3.6355715498691035E-11</c:v>
                </c:pt>
                <c:pt idx="256">
                  <c:v>4.271012334554155E-11</c:v>
                </c:pt>
                <c:pt idx="257">
                  <c:v>5.0158349010382055E-11</c:v>
                </c:pt>
                <c:pt idx="258">
                  <c:v>5.8885340393694494E-11</c:v>
                </c:pt>
                <c:pt idx="259">
                  <c:v>6.910666272473872E-11</c:v>
                </c:pt>
                <c:pt idx="260">
                  <c:v>8.1073440230399986E-11</c:v>
                </c:pt>
                <c:pt idx="261">
                  <c:v>9.5078071110820774E-11</c:v>
                </c:pt>
                <c:pt idx="262">
                  <c:v>1.114608322532717E-10</c:v>
                </c:pt>
                <c:pt idx="263">
                  <c:v>1.3061750679497517E-10</c:v>
                </c:pt>
                <c:pt idx="264">
                  <c:v>1.5300818655861479E-10</c:v>
                </c:pt>
                <c:pt idx="265">
                  <c:v>1.7916742280208939E-10</c:v>
                </c:pt>
                <c:pt idx="266">
                  <c:v>2.0971592294566246E-10</c:v>
                </c:pt>
                <c:pt idx="267">
                  <c:v>2.4537401829386256E-10</c:v>
                </c:pt>
                <c:pt idx="268">
                  <c:v>2.869771586167332E-10</c:v>
                </c:pt>
                <c:pt idx="269">
                  <c:v>3.354937241894485E-10</c:v>
                </c:pt>
                <c:pt idx="270">
                  <c:v>3.9204548494038872E-10</c:v>
                </c:pt>
                <c:pt idx="271">
                  <c:v>4.5793108019123593E-10</c:v>
                </c:pt>
                <c:pt idx="272">
                  <c:v>5.3465294159284181E-10</c:v>
                </c:pt>
                <c:pt idx="273">
                  <c:v>6.2394813680989317E-10</c:v>
                </c:pt>
                <c:pt idx="274">
                  <c:v>7.2782367286737453E-10</c:v>
                </c:pt>
                <c:pt idx="275">
                  <c:v>8.4859686646278882E-10</c:v>
                </c:pt>
                <c:pt idx="276">
                  <c:v>9.8894146462755625E-10</c:v>
                </c:pt>
                <c:pt idx="277">
                  <c:v>1.1519402835820488E-9</c:v>
                </c:pt>
                <c:pt idx="278">
                  <c:v>1.3411452271966015E-9</c:v>
                </c:pt>
                <c:pt idx="279">
                  <c:v>1.5606456498986274E-9</c:v>
                </c:pt>
                <c:pt idx="280">
                  <c:v>1.8151461429276141E-9</c:v>
                </c:pt>
                <c:pt idx="281">
                  <c:v>2.1100549483238385E-9</c:v>
                </c:pt>
                <c:pt idx="282">
                  <c:v>2.4515843427344265E-9</c:v>
                </c:pt>
                <c:pt idx="283">
                  <c:v>2.8468644838138654E-9</c:v>
                </c:pt>
                <c:pt idx="284">
                  <c:v>3.3040723764455028E-9</c:v>
                </c:pt>
                <c:pt idx="285">
                  <c:v>3.8325777949283139E-9</c:v>
                </c:pt>
                <c:pt idx="286">
                  <c:v>4.4431081913162888E-9</c:v>
                </c:pt>
                <c:pt idx="287">
                  <c:v>5.1479348298232392E-9</c:v>
                </c:pt>
                <c:pt idx="288">
                  <c:v>5.9610826130619158E-9</c:v>
                </c:pt>
                <c:pt idx="289">
                  <c:v>6.8985663081587778E-9</c:v>
                </c:pt>
                <c:pt idx="290">
                  <c:v>7.9786561395785866E-9</c:v>
                </c:pt>
                <c:pt idx="291">
                  <c:v>9.2221759906652383E-9</c:v>
                </c:pt>
                <c:pt idx="292">
                  <c:v>1.0652837747037635E-8</c:v>
                </c:pt>
                <c:pt idx="293">
                  <c:v>1.2297615621311736E-8</c:v>
                </c:pt>
                <c:pt idx="294">
                  <c:v>1.4187164618994743E-8</c:v>
                </c:pt>
                <c:pt idx="295">
                  <c:v>1.6356287638187144E-8</c:v>
                </c:pt>
                <c:pt idx="296">
                  <c:v>1.8844456038779934E-8</c:v>
                </c:pt>
                <c:pt idx="297">
                  <c:v>2.1696388867373787E-8</c:v>
                </c:pt>
                <c:pt idx="298">
                  <c:v>2.4962696278716624E-8</c:v>
                </c:pt>
                <c:pt idx="299">
                  <c:v>2.8700593048821427E-8</c:v>
                </c:pt>
                <c:pt idx="300">
                  <c:v>3.2974688423983985E-8</c:v>
                </c:pt>
                <c:pt idx="301">
                  <c:v>3.7857858887638365E-8</c:v>
                </c:pt>
                <c:pt idx="302">
                  <c:v>4.3432210746272643E-8</c:v>
                </c:pt>
                <c:pt idx="303">
                  <c:v>4.9790139728273845E-8</c:v>
                </c:pt>
                <c:pt idx="304">
                  <c:v>5.7035495046201931E-8</c:v>
                </c:pt>
                <c:pt idx="305">
                  <c:v>6.5284855582879061E-8</c:v>
                </c:pt>
                <c:pt idx="306">
                  <c:v>7.4668926012868046E-8</c:v>
                </c:pt>
                <c:pt idx="307">
                  <c:v>8.5334060749953728E-8</c:v>
                </c:pt>
                <c:pt idx="308">
                  <c:v>9.7443923603360025E-8</c:v>
                </c:pt>
                <c:pt idx="309">
                  <c:v>1.1118129091438946E-7</c:v>
                </c:pt>
                <c:pt idx="310">
                  <c:v>1.2675000571332441E-7</c:v>
                </c:pt>
                <c:pt idx="311">
                  <c:v>1.443770900648921E-7</c:v>
                </c:pt>
                <c:pt idx="312">
                  <c:v>1.6431502223903606E-7</c:v>
                </c:pt>
                <c:pt idx="313">
                  <c:v>1.8684418463099318E-7</c:v>
                </c:pt>
                <c:pt idx="314">
                  <c:v>2.1227548743841198E-7</c:v>
                </c:pt>
                <c:pt idx="315">
                  <c:v>2.4095317196063114E-7</c:v>
                </c:pt>
                <c:pt idx="316">
                  <c:v>2.7325779599298101E-7</c:v>
                </c:pt>
                <c:pt idx="317">
                  <c:v>3.0960940212391984E-7</c:v>
                </c:pt>
                <c:pt idx="318">
                  <c:v>3.5047086778198628E-7</c:v>
                </c:pt>
                <c:pt idx="319">
                  <c:v>3.9635143360146585E-7</c:v>
                </c:pt>
                <c:pt idx="320">
                  <c:v>4.4781040405975449E-7</c:v>
                </c:pt>
                <c:pt idx="321">
                  <c:v>5.0546101136792008E-7</c:v>
                </c:pt>
                <c:pt idx="322">
                  <c:v>5.6997443025384195E-7</c:v>
                </c:pt>
                <c:pt idx="323">
                  <c:v>6.4208392755339584E-7</c:v>
                </c:pt>
                <c:pt idx="324">
                  <c:v>7.2258912641293949E-7</c:v>
                </c:pt>
                <c:pt idx="325">
                  <c:v>8.1236036040524262E-7</c:v>
                </c:pt>
                <c:pt idx="326">
                  <c:v>9.1234308797648484E-7</c:v>
                </c:pt>
                <c:pt idx="327">
                  <c:v>1.0235623323879309E-6</c:v>
                </c:pt>
                <c:pt idx="328">
                  <c:v>1.1471271067144973E-6</c:v>
                </c:pt>
                <c:pt idx="329">
                  <c:v>1.2842347775452088E-6</c:v>
                </c:pt>
                <c:pt idx="330">
                  <c:v>1.4361753148412474E-6</c:v>
                </c:pt>
                <c:pt idx="331">
                  <c:v>1.6043353689989909E-6</c:v>
                </c:pt>
                <c:pt idx="332">
                  <c:v>1.7902021096061973E-6</c:v>
                </c:pt>
                <c:pt idx="333">
                  <c:v>1.995366753748534E-6</c:v>
                </c:pt>
                <c:pt idx="334">
                  <c:v>2.2215277051154644E-6</c:v>
                </c:pt>
                <c:pt idx="335">
                  <c:v>2.470493218676203E-6</c:v>
                </c:pt>
                <c:pt idx="336">
                  <c:v>2.7441834994708646E-6</c:v>
                </c:pt>
                <c:pt idx="337">
                  <c:v>3.0446321382235806E-6</c:v>
                </c:pt>
                <c:pt idx="338">
                  <c:v>3.3739867811838697E-6</c:v>
                </c:pt>
                <c:pt idx="339">
                  <c:v>3.7345089269997292E-6</c:v>
                </c:pt>
                <c:pt idx="340">
                  <c:v>4.1285727396933736E-6</c:v>
                </c:pt>
                <c:pt idx="341">
                  <c:v>4.5586627641308548E-6</c:v>
                </c:pt>
                <c:pt idx="342">
                  <c:v>5.0273704289354304E-6</c:v>
                </c:pt>
                <c:pt idx="343">
                  <c:v>5.5373892217861604E-6</c:v>
                </c:pt>
                <c:pt idx="344">
                  <c:v>6.0915084236580783E-6</c:v>
                </c:pt>
                <c:pt idx="345">
                  <c:v>6.6926052919907574E-6</c:v>
                </c:pt>
                <c:pt idx="346">
                  <c:v>7.3436355881965508E-6</c:v>
                </c:pt>
                <c:pt idx="347">
                  <c:v>8.0476223525125926E-6</c:v>
                </c:pt>
                <c:pt idx="348">
                  <c:v>8.807642839111524E-6</c:v>
                </c:pt>
                <c:pt idx="349">
                  <c:v>9.6268135367467924E-6</c:v>
                </c:pt>
                <c:pt idx="350">
                  <c:v>1.0508273215124097E-5</c:v>
                </c:pt>
                <c:pt idx="351">
                  <c:v>1.1455163954722663E-5</c:v>
                </c:pt>
                <c:pt idx="352">
                  <c:v>1.2470610137979505E-5</c:v>
                </c:pt>
                <c:pt idx="353">
                  <c:v>1.3557695402568883E-5</c:v>
                </c:pt>
                <c:pt idx="354">
                  <c:v>1.4719437582900899E-5</c:v>
                </c:pt>
                <c:pt idx="355">
                  <c:v>1.595876169380195E-5</c:v>
                </c:pt>
                <c:pt idx="356">
                  <c:v>1.7278471040448274E-5</c:v>
                </c:pt>
                <c:pt idx="357">
                  <c:v>1.8681216570756703E-5</c:v>
                </c:pt>
                <c:pt idx="358">
                  <c:v>2.0169464620290808E-5</c:v>
                </c:pt>
                <c:pt idx="359">
                  <c:v>2.1745463234938678E-5</c:v>
                </c:pt>
                <c:pt idx="360">
                  <c:v>2.3411207292725103E-5</c:v>
                </c:pt>
                <c:pt idx="361">
                  <c:v>2.5168402682633691E-5</c:v>
                </c:pt>
                <c:pt idx="362">
                  <c:v>2.7018429834666542E-5</c:v>
                </c:pt>
                <c:pt idx="363">
                  <c:v>2.8962306930949577E-5</c:v>
                </c:pt>
                <c:pt idx="364">
                  <c:v>3.1000653161828302E-5</c:v>
                </c:pt>
                <c:pt idx="365">
                  <c:v>3.3133652422891492E-5</c:v>
                </c:pt>
                <c:pt idx="366">
                  <c:v>3.5361017877968578E-5</c:v>
                </c:pt>
                <c:pt idx="367">
                  <c:v>3.768195783862981E-5</c:v>
                </c:pt>
                <c:pt idx="368">
                  <c:v>4.0095143431814997E-5</c:v>
                </c:pt>
                <c:pt idx="369">
                  <c:v>4.2598678543193233E-5</c:v>
                </c:pt>
                <c:pt idx="370">
                  <c:v>4.5190072533999992E-5</c:v>
                </c:pt>
                <c:pt idx="371">
                  <c:v>4.7866216232758572E-5</c:v>
                </c:pt>
                <c:pt idx="372">
                  <c:v>5.0623361699849813E-5</c:v>
                </c:pt>
                <c:pt idx="373">
                  <c:v>5.3457106251872833E-5</c:v>
                </c:pt>
                <c:pt idx="374">
                  <c:v>5.6362381213687916E-5</c:v>
                </c:pt>
                <c:pt idx="375">
                  <c:v>5.9333445838697594E-5</c:v>
                </c:pt>
                <c:pt idx="376">
                  <c:v>6.2363886802121251E-5</c:v>
                </c:pt>
                <c:pt idx="377">
                  <c:v>6.5446623627752801E-5</c:v>
                </c:pt>
                <c:pt idx="378">
                  <c:v>6.8573920356117675E-5</c:v>
                </c:pt>
                <c:pt idx="379">
                  <c:v>7.1737403701374123E-5</c:v>
                </c:pt>
                <c:pt idx="380">
                  <c:v>7.4928087876241885E-5</c:v>
                </c:pt>
                <c:pt idx="381">
                  <c:v>7.8136406189346019E-5</c:v>
                </c:pt>
                <c:pt idx="382">
                  <c:v>8.1352249438500714E-5</c:v>
                </c:pt>
                <c:pt idx="383">
                  <c:v>8.4565011037611025E-5</c:v>
                </c:pt>
                <c:pt idx="384">
                  <c:v>8.7763638725238044E-5</c:v>
                </c:pt>
                <c:pt idx="385">
                  <c:v>9.0936692610748795E-5</c:v>
                </c:pt>
                <c:pt idx="386">
                  <c:v>9.4072409220783036E-5</c:v>
                </c:pt>
                <c:pt idx="387">
                  <c:v>9.715877111606329E-5</c:v>
                </c:pt>
                <c:pt idx="388">
                  <c:v>1.0018358155793557E-4</c:v>
                </c:pt>
                <c:pt idx="389">
                  <c:v>1.0313454361710364E-4</c:v>
                </c:pt>
                <c:pt idx="390">
                  <c:v>1.0599934303544674E-4</c:v>
                </c:pt>
                <c:pt idx="391">
                  <c:v>1.0876573407725256E-4</c:v>
                </c:pt>
                <c:pt idx="392">
                  <c:v>1.114216275401007E-4</c:v>
                </c:pt>
                <c:pt idx="393">
                  <c:v>1.1395518003962653E-4</c:v>
                </c:pt>
                <c:pt idx="394">
                  <c:v>1.1635488363759535E-4</c:v>
                </c:pt>
                <c:pt idx="395">
                  <c:v>1.1860965485044519E-4</c:v>
                </c:pt>
                <c:pt idx="396">
                  <c:v>1.207089220565694E-4</c:v>
                </c:pt>
                <c:pt idx="397">
                  <c:v>1.2264271031582768E-4</c:v>
                </c:pt>
                <c:pt idx="398">
                  <c:v>1.2440172262463171E-4</c:v>
                </c:pt>
                <c:pt idx="399">
                  <c:v>1.2597741665457113E-4</c:v>
                </c:pt>
                <c:pt idx="400">
                  <c:v>1.2736207606190309E-4</c:v>
                </c:pt>
                <c:pt idx="401">
                  <c:v>1.2854887550894274E-4</c:v>
                </c:pt>
                <c:pt idx="402">
                  <c:v>1.295319386058056E-4</c:v>
                </c:pt>
                <c:pt idx="403">
                  <c:v>1.3030638806117809E-4</c:v>
                </c:pt>
                <c:pt idx="404">
                  <c:v>1.3086838742258392E-4</c:v>
                </c:pt>
                <c:pt idx="405">
                  <c:v>1.3121517388861456E-4</c:v>
                </c:pt>
                <c:pt idx="406">
                  <c:v>1.3134508178613206E-4</c:v>
                </c:pt>
                <c:pt idx="407">
                  <c:v>1.3125755642270378E-4</c:v>
                </c:pt>
                <c:pt idx="408">
                  <c:v>1.3095315814658741E-4</c:v>
                </c:pt>
                <c:pt idx="409">
                  <c:v>1.3043355657132915E-4</c:v>
                </c:pt>
                <c:pt idx="410">
                  <c:v>1.2970151504741202E-4</c:v>
                </c:pt>
                <c:pt idx="411">
                  <c:v>1.2876086558725929E-4</c:v>
                </c:pt>
                <c:pt idx="412">
                  <c:v>1.276164745701122E-4</c:v>
                </c:pt>
                <c:pt idx="413">
                  <c:v>1.2627419966797695E-4</c:v>
                </c:pt>
                <c:pt idx="414">
                  <c:v>1.2474083854094366E-4</c:v>
                </c:pt>
                <c:pt idx="415">
                  <c:v>1.2302406994808807E-4</c:v>
                </c:pt>
                <c:pt idx="416">
                  <c:v>1.2113238800731499E-4</c:v>
                </c:pt>
                <c:pt idx="417">
                  <c:v>1.1907503041257104E-4</c:v>
                </c:pt>
                <c:pt idx="418">
                  <c:v>1.1686190147879274E-4</c:v>
                </c:pt>
                <c:pt idx="419">
                  <c:v>1.1450349093301861E-4</c:v>
                </c:pt>
                <c:pt idx="420">
                  <c:v>1.1201078940366186E-4</c:v>
                </c:pt>
                <c:pt idx="421">
                  <c:v>1.0939520157894201E-4</c:v>
                </c:pt>
                <c:pt idx="422">
                  <c:v>1.0666845800982464E-4</c:v>
                </c:pt>
                <c:pt idx="423">
                  <c:v>1.0384252652290859E-4</c:v>
                </c:pt>
                <c:pt idx="424">
                  <c:v>1.0092952418515251E-4</c:v>
                </c:pt>
                <c:pt idx="425">
                  <c:v>9.7941630725851026E-5</c:v>
                </c:pt>
                <c:pt idx="426">
                  <c:v>9.4891004273052733E-5</c:v>
                </c:pt>
                <c:pt idx="427">
                  <c:v>9.1789700202699368E-5</c:v>
                </c:pt>
                <c:pt idx="428">
                  <c:v>8.8649593830685767E-5</c:v>
                </c:pt>
                <c:pt idx="429">
                  <c:v>8.5482307602138699E-5</c:v>
                </c:pt>
                <c:pt idx="430">
                  <c:v>8.2299143350171596E-5</c:v>
                </c:pt>
                <c:pt idx="431">
                  <c:v>7.9111020109697838E-5</c:v>
                </c:pt>
                <c:pt idx="432">
                  <c:v>7.5928417882268972E-5</c:v>
                </c:pt>
                <c:pt idx="433">
                  <c:v>7.2761327656896519E-5</c:v>
                </c:pt>
                <c:pt idx="434">
                  <c:v>6.9619207900974551E-5</c:v>
                </c:pt>
                <c:pt idx="435">
                  <c:v>6.6510947646189139E-5</c:v>
                </c:pt>
                <c:pt idx="436">
                  <c:v>6.3444836208024954E-5</c:v>
                </c:pt>
                <c:pt idx="437">
                  <c:v>6.0428539495391874E-5</c:v>
                </c:pt>
                <c:pt idx="438">
                  <c:v>5.7469082790031295E-5</c:v>
                </c:pt>
                <c:pt idx="439">
                  <c:v>5.4572839804674395E-5</c:v>
                </c:pt>
                <c:pt idx="440">
                  <c:v>5.1745527765120838E-5</c:v>
                </c:pt>
                <c:pt idx="441">
                  <c:v>4.8992208205086609E-5</c:v>
                </c:pt>
                <c:pt idx="442">
                  <c:v>4.6317293114220318E-5</c:v>
                </c:pt>
                <c:pt idx="443">
                  <c:v>4.3724556039354727E-5</c:v>
                </c:pt>
                <c:pt idx="444">
                  <c:v>4.1217147706911713E-5</c:v>
                </c:pt>
                <c:pt idx="445">
                  <c:v>3.8797615710349494E-5</c:v>
                </c:pt>
                <c:pt idx="446">
                  <c:v>3.6467927790422162E-5</c:v>
                </c:pt>
                <c:pt idx="447">
                  <c:v>3.422949822747022E-5</c:v>
                </c:pt>
                <c:pt idx="448">
                  <c:v>3.2083216863550762E-5</c:v>
                </c:pt>
                <c:pt idx="449">
                  <c:v>3.0029480277415389E-5</c:v>
                </c:pt>
                <c:pt idx="450">
                  <c:v>2.8068224646553692E-5</c:v>
                </c:pt>
                <c:pt idx="451">
                  <c:v>2.6198959847083151E-5</c:v>
                </c:pt>
                <c:pt idx="452">
                  <c:v>2.4420804363498541E-5</c:v>
                </c:pt>
                <c:pt idx="453">
                  <c:v>2.2732520605481215E-5</c:v>
                </c:pt>
                <c:pt idx="454">
                  <c:v>2.1132550257383831E-5</c:v>
                </c:pt>
                <c:pt idx="455">
                  <c:v>1.9619049316963507E-5</c:v>
                </c:pt>
                <c:pt idx="456">
                  <c:v>1.818992251271771E-5</c:v>
                </c:pt>
                <c:pt idx="457">
                  <c:v>1.6842856823157081E-5</c:v>
                </c:pt>
                <c:pt idx="458">
                  <c:v>1.5575353855885781E-5</c:v>
                </c:pt>
                <c:pt idx="459">
                  <c:v>1.4384760878913211E-5</c:v>
                </c:pt>
                <c:pt idx="460">
                  <c:v>1.3268300330650437E-5</c:v>
                </c:pt>
                <c:pt idx="461">
                  <c:v>1.2223097668128903E-5</c:v>
                </c:pt>
                <c:pt idx="462">
                  <c:v>1.1246207444694781E-5</c:v>
                </c:pt>
                <c:pt idx="463">
                  <c:v>1.0334637538472709E-5</c:v>
                </c:pt>
                <c:pt idx="464">
                  <c:v>9.485371480974069E-6</c:v>
                </c:pt>
                <c:pt idx="465">
                  <c:v>8.6953888611443911E-6</c:v>
                </c:pt>
                <c:pt idx="466">
                  <c:v>7.9616838037466944E-6</c:v>
                </c:pt>
                <c:pt idx="467">
                  <c:v>7.2812815421674798E-6</c:v>
                </c:pt>
                <c:pt idx="468">
                  <c:v>6.6512531244538893E-6</c:v>
                </c:pt>
                <c:pt idx="469">
                  <c:v>6.0687283076523021E-6</c:v>
                </c:pt>
                <c:pt idx="470">
                  <c:v>5.5309067093417104E-6</c:v>
                </c:pt>
                <c:pt idx="471">
                  <c:v>5.0350672967241262E-6</c:v>
                </c:pt>
                <c:pt idx="472">
                  <c:v>4.5785763028414911E-6</c:v>
                </c:pt>
                <c:pt idx="473">
                  <c:v>4.1588936665618596E-6</c:v>
                </c:pt>
                <c:pt idx="474">
                  <c:v>3.7735780980611093E-6</c:v>
                </c:pt>
                <c:pt idx="475">
                  <c:v>3.4202908747792502E-6</c:v>
                </c:pt>
                <c:pt idx="476">
                  <c:v>3.0967984744197687E-6</c:v>
                </c:pt>
                <c:pt idx="477">
                  <c:v>2.8009741516629057E-6</c:v>
                </c:pt>
                <c:pt idx="478">
                  <c:v>2.5307985640534277E-6</c:v>
                </c:pt>
                <c:pt idx="479">
                  <c:v>2.2843595501784886E-6</c:v>
                </c:pt>
                <c:pt idx="480">
                  <c:v>2.0598511599391015E-6</c:v>
                </c:pt>
                <c:pt idx="481">
                  <c:v>1.8555720326083247E-6</c:v>
                </c:pt>
                <c:pt idx="482">
                  <c:v>1.6699232136120611E-6</c:v>
                </c:pt>
                <c:pt idx="483">
                  <c:v>1.5014054957150579E-6</c:v>
                </c:pt>
                <c:pt idx="484">
                  <c:v>1.3486163646754393E-6</c:v>
                </c:pt>
                <c:pt idx="485">
                  <c:v>1.2102466235725925E-6</c:v>
                </c:pt>
                <c:pt idx="486">
                  <c:v>1.0850767640227583E-6</c:v>
                </c:pt>
                <c:pt idx="487">
                  <c:v>9.7197314647373406E-7</c:v>
                </c:pt>
                <c:pt idx="488">
                  <c:v>8.6988404579835075E-7</c:v>
                </c:pt>
                <c:pt idx="489">
                  <c:v>7.7783561255932105E-7</c:v>
                </c:pt>
                <c:pt idx="490">
                  <c:v>6.9492779465632161E-7</c:v>
                </c:pt>
                <c:pt idx="491">
                  <c:v>6.2033025863925373E-7</c:v>
                </c:pt>
                <c:pt idx="492">
                  <c:v>5.5327834481950805E-7</c:v>
                </c:pt>
                <c:pt idx="493">
                  <c:v>4.9306908546277737E-7</c:v>
                </c:pt>
                <c:pt idx="494">
                  <c:v>4.3905731082417364E-7</c:v>
                </c:pt>
                <c:pt idx="495">
                  <c:v>3.9065186360236828E-7</c:v>
                </c:pt>
                <c:pt idx="496">
                  <c:v>3.4731193855015859E-7</c:v>
                </c:pt>
                <c:pt idx="497">
                  <c:v>3.0854356048554806E-7</c:v>
                </c:pt>
                <c:pt idx="498">
                  <c:v>2.7389621079494243E-7</c:v>
                </c:pt>
                <c:pt idx="499">
                  <c:v>2.4295960969973541E-7</c:v>
                </c:pt>
                <c:pt idx="500">
                  <c:v>2.1536065905731488E-7</c:v>
                </c:pt>
                <c:pt idx="501">
                  <c:v>1.9076054827199792E-7</c:v>
                </c:pt>
                <c:pt idx="502">
                  <c:v>1.6885202398363709E-7</c:v>
                </c:pt>
                <c:pt idx="503">
                  <c:v>1.4935682256307415E-7</c:v>
                </c:pt>
                <c:pt idx="504">
                  <c:v>1.3202326305444171E-7</c:v>
                </c:pt>
                <c:pt idx="505">
                  <c:v>1.1662399704454969E-7</c:v>
                </c:pt>
                <c:pt idx="506">
                  <c:v>1.0295391098910645E-7</c:v>
                </c:pt>
                <c:pt idx="507">
                  <c:v>9.0828175763990615E-8</c:v>
                </c:pt>
                <c:pt idx="508">
                  <c:v>8.0080437618088528E-8</c:v>
                </c:pt>
                <c:pt idx="509">
                  <c:v>7.0561144263194933E-8</c:v>
                </c:pt>
                <c:pt idx="510">
                  <c:v>6.2135999528435657E-8</c:v>
                </c:pt>
                <c:pt idx="511">
                  <c:v>5.4684539814664395E-8</c:v>
                </c:pt>
                <c:pt idx="512">
                  <c:v>4.809882549247279E-8</c:v>
                </c:pt>
                <c:pt idx="513">
                  <c:v>4.2282240381328057E-8</c:v>
                </c:pt>
                <c:pt idx="514">
                  <c:v>3.7148392513391039E-8</c:v>
                </c:pt>
                <c:pt idx="515">
                  <c:v>3.2620109511676644E-8</c:v>
                </c:pt>
                <c:pt idx="516">
                  <c:v>2.86285220872419E-8</c:v>
                </c:pt>
                <c:pt idx="517">
                  <c:v>2.5112229374273836E-8</c:v>
                </c:pt>
                <c:pt idx="518">
                  <c:v>2.2016540066442644E-8</c:v>
                </c:pt>
                <c:pt idx="519">
                  <c:v>1.9292783584990579E-8</c:v>
                </c:pt>
                <c:pt idx="520">
                  <c:v>1.6897685792024473E-8</c:v>
                </c:pt>
                <c:pt idx="521">
                  <c:v>1.4792804055500682E-8</c:v>
                </c:pt>
                <c:pt idx="522">
                  <c:v>1.2944016770491801E-8</c:v>
                </c:pt>
                <c:pt idx="523">
                  <c:v>1.1321062740264339E-8</c:v>
                </c:pt>
                <c:pt idx="524">
                  <c:v>9.8971261169845853E-9</c:v>
                </c:pt>
                <c:pt idx="525">
                  <c:v>8.6484628925926864E-9</c:v>
                </c:pt>
                <c:pt idx="526">
                  <c:v>7.5540652132430676E-9</c:v>
                </c:pt>
                <c:pt idx="527">
                  <c:v>6.5953600638413673E-9</c:v>
                </c:pt>
                <c:pt idx="528">
                  <c:v>5.7559391312467137E-9</c:v>
                </c:pt>
                <c:pt idx="529">
                  <c:v>5.0213169046022361E-9</c:v>
                </c:pt>
                <c:pt idx="530">
                  <c:v>4.3787143083353094E-9</c:v>
                </c:pt>
                <c:pt idx="531">
                  <c:v>3.8168653872034999E-9</c:v>
                </c:pt>
                <c:pt idx="532">
                  <c:v>3.3258447731658395E-9</c:v>
                </c:pt>
                <c:pt idx="533">
                  <c:v>2.8969138608563701E-9</c:v>
                </c:pt>
                <c:pt idx="534">
                  <c:v>2.5223838021855527E-9</c:v>
                </c:pt>
                <c:pt idx="535">
                  <c:v>2.1954936014057324E-9</c:v>
                </c:pt>
                <c:pt idx="536">
                  <c:v>1.9103017502490654E-9</c:v>
                </c:pt>
                <c:pt idx="537">
                  <c:v>1.6615899889618689E-9</c:v>
                </c:pt>
                <c:pt idx="538">
                  <c:v>1.4447779137566981E-9</c:v>
                </c:pt>
                <c:pt idx="539">
                  <c:v>1.2558472749659341E-9</c:v>
                </c:pt>
                <c:pt idx="540">
                  <c:v>1.0912749236074601E-9</c:v>
                </c:pt>
                <c:pt idx="541">
                  <c:v>9.4797346778925304E-10</c:v>
                </c:pt>
                <c:pt idx="542">
                  <c:v>8.232387949988755E-10</c:v>
                </c:pt>
                <c:pt idx="543">
                  <c:v>7.147037024667455E-10</c:v>
                </c:pt>
                <c:pt idx="544">
                  <c:v>6.2029695605691359E-10</c:v>
                </c:pt>
                <c:pt idx="545">
                  <c:v>5.3820716911164044E-10</c:v>
                </c:pt>
                <c:pt idx="546">
                  <c:v>4.6685095691820269E-10</c:v>
                </c:pt>
                <c:pt idx="547">
                  <c:v>4.0484488051451259E-10</c:v>
                </c:pt>
                <c:pt idx="548">
                  <c:v>3.5098074591452088E-10</c:v>
                </c:pt>
                <c:pt idx="549">
                  <c:v>3.0420387199574478E-10</c:v>
                </c:pt>
                <c:pt idx="550">
                  <c:v>2.6359398270215532E-10</c:v>
                </c:pt>
                <c:pt idx="551">
                  <c:v>2.283484172980903E-10</c:v>
                </c:pt>
                <c:pt idx="552">
                  <c:v>1.9776738655686808E-10</c:v>
                </c:pt>
                <c:pt idx="553">
                  <c:v>1.7124103334643525E-10</c:v>
                </c:pt>
                <c:pt idx="554">
                  <c:v>1.4823808342065599E-10</c:v>
                </c:pt>
                <c:pt idx="555">
                  <c:v>1.2829589665072887E-10</c:v>
                </c:pt>
                <c:pt idx="556">
                  <c:v>1.1101175072136886E-10</c:v>
                </c:pt>
                <c:pt idx="557">
                  <c:v>9.6035208733300898E-11</c:v>
                </c:pt>
                <c:pt idx="558">
                  <c:v>8.3061439436178934E-11</c:v>
                </c:pt>
                <c:pt idx="559">
                  <c:v>7.1825374182286158E-11</c:v>
                </c:pt>
                <c:pt idx="560">
                  <c:v>6.2096598339510077E-11</c:v>
                </c:pt>
                <c:pt idx="561">
                  <c:v>5.3674887012260404E-11</c:v>
                </c:pt>
                <c:pt idx="562">
                  <c:v>4.6386305653719288E-11</c:v>
                </c:pt>
                <c:pt idx="563">
                  <c:v>4.0079805659788637E-11</c:v>
                </c:pt>
                <c:pt idx="564">
                  <c:v>3.4624253446785244E-11</c:v>
                </c:pt>
                <c:pt idx="565">
                  <c:v>2.990583895115868E-11</c:v>
                </c:pt>
                <c:pt idx="566">
                  <c:v>2.5825816057811089E-11</c:v>
                </c:pt>
                <c:pt idx="567">
                  <c:v>2.2298533260457671E-11</c:v>
                </c:pt>
                <c:pt idx="568">
                  <c:v>1.9249717969470606E-11</c:v>
                </c:pt>
                <c:pt idx="569">
                  <c:v>1.6614982387221473E-11</c:v>
                </c:pt>
                <c:pt idx="570">
                  <c:v>1.4338522837348143E-11</c:v>
                </c:pt>
                <c:pt idx="571">
                  <c:v>1.2371987924285136E-11</c:v>
                </c:pt>
                <c:pt idx="572">
                  <c:v>1.0673493968049743E-11</c:v>
                </c:pt>
                <c:pt idx="573">
                  <c:v>9.2067688555834503E-12</c:v>
                </c:pt>
                <c:pt idx="574">
                  <c:v>7.9404078175741921E-12</c:v>
                </c:pt>
                <c:pt idx="575">
                  <c:v>6.8472267173912254E-12</c:v>
                </c:pt>
                <c:pt idx="576">
                  <c:v>5.9037002608553017E-12</c:v>
                </c:pt>
                <c:pt idx="577">
                  <c:v>5.0894741326450662E-12</c:v>
                </c:pt>
                <c:pt idx="578">
                  <c:v>4.3869414640505116E-12</c:v>
                </c:pt>
                <c:pt idx="579">
                  <c:v>3.7808752615312685E-12</c:v>
                </c:pt>
                <c:pt idx="580">
                  <c:v>3.2581094971452954E-12</c:v>
                </c:pt>
                <c:pt idx="581">
                  <c:v>2.8072624990829727E-12</c:v>
                </c:pt>
                <c:pt idx="582">
                  <c:v>2.4184970996615234E-12</c:v>
                </c:pt>
                <c:pt idx="583">
                  <c:v>2.0833127137767794E-12</c:v>
                </c:pt>
                <c:pt idx="584">
                  <c:v>1.7943651456856719E-12</c:v>
                </c:pt>
                <c:pt idx="585">
                  <c:v>1.545310467394202E-12</c:v>
                </c:pt>
                <c:pt idx="586">
                  <c:v>1.3306697877214256E-12</c:v>
                </c:pt>
                <c:pt idx="587">
                  <c:v>1.1457121460113121E-12</c:v>
                </c:pt>
                <c:pt idx="588">
                  <c:v>9.8635312609129591E-13</c:v>
                </c:pt>
                <c:pt idx="589">
                  <c:v>8.4906710115388997E-13</c:v>
                </c:pt>
                <c:pt idx="590">
                  <c:v>7.3081129463282308E-13</c:v>
                </c:pt>
                <c:pt idx="591">
                  <c:v>6.2896008101948522E-13</c:v>
                </c:pt>
                <c:pt idx="592">
                  <c:v>5.4124815843657015E-13</c:v>
                </c:pt>
                <c:pt idx="593">
                  <c:v>4.6572140560917884E-13</c:v>
                </c:pt>
                <c:pt idx="594">
                  <c:v>4.0069439310978744E-13</c:v>
                </c:pt>
                <c:pt idx="595">
                  <c:v>3.4471365543062665E-13</c:v>
                </c:pt>
                <c:pt idx="596">
                  <c:v>2.9652594920316752E-13</c:v>
                </c:pt>
                <c:pt idx="597">
                  <c:v>2.5505082605074675E-13</c:v>
                </c:pt>
                <c:pt idx="598">
                  <c:v>2.1935693814546544E-13</c:v>
                </c:pt>
                <c:pt idx="599">
                  <c:v>1.8864157230931992E-13</c:v>
                </c:pt>
                <c:pt idx="600">
                  <c:v>1.6221297598789717E-13</c:v>
                </c:pt>
                <c:pt idx="601">
                  <c:v>1.3947509697585679E-13</c:v>
                </c:pt>
                <c:pt idx="602">
                  <c:v>1.1991440955169314E-13</c:v>
                </c:pt>
                <c:pt idx="603">
                  <c:v>1.0308854370962366E-13</c:v>
                </c:pt>
                <c:pt idx="604">
                  <c:v>8.8616472339156531E-14</c:v>
                </c:pt>
                <c:pt idx="605">
                  <c:v>7.6170044275489234E-14</c:v>
                </c:pt>
                <c:pt idx="606">
                  <c:v>6.5466679793605628E-14</c:v>
                </c:pt>
                <c:pt idx="607">
                  <c:v>5.6263069935031449E-14</c:v>
                </c:pt>
                <c:pt idx="608">
                  <c:v>4.8349742541882351E-14</c:v>
                </c:pt>
                <c:pt idx="609">
                  <c:v>4.1546376474162725E-14</c:v>
                </c:pt>
                <c:pt idx="610">
                  <c:v>3.5697761584043238E-14</c:v>
                </c:pt>
                <c:pt idx="611">
                  <c:v>3.06703159500597E-14</c:v>
                </c:pt>
                <c:pt idx="612">
                  <c:v>2.6349083923688256E-14</c:v>
                </c:pt>
                <c:pt idx="613">
                  <c:v>2.2635148962283252E-14</c:v>
                </c:pt>
                <c:pt idx="614">
                  <c:v>1.94434042331809E-14</c:v>
                </c:pt>
                <c:pt idx="615">
                  <c:v>1.6700631764250225E-14</c:v>
                </c:pt>
                <c:pt idx="616">
                  <c:v>1.4343847649055587E-14</c:v>
                </c:pt>
                <c:pt idx="617">
                  <c:v>1.2318876633445147E-14</c:v>
                </c:pt>
                <c:pt idx="618">
                  <c:v>1.0579124437225069E-14</c:v>
                </c:pt>
                <c:pt idx="619">
                  <c:v>9.0845205070221332E-15</c:v>
                </c:pt>
                <c:pt idx="620">
                  <c:v>7.8006076466994312E-15</c:v>
                </c:pt>
                <c:pt idx="621">
                  <c:v>6.6977582099317554E-15</c:v>
                </c:pt>
                <c:pt idx="622">
                  <c:v>5.7504993354181184E-15</c:v>
                </c:pt>
                <c:pt idx="623">
                  <c:v>4.9369321183471817E-15</c:v>
                </c:pt>
                <c:pt idx="624">
                  <c:v>4.2382316945133327E-15</c:v>
                </c:pt>
                <c:pt idx="625">
                  <c:v>3.6382170106278283E-15</c:v>
                </c:pt>
                <c:pt idx="626">
                  <c:v>3.122980604881338E-15</c:v>
                </c:pt>
                <c:pt idx="627">
                  <c:v>2.6805700593118692E-15</c:v>
                </c:pt>
                <c:pt idx="628">
                  <c:v>2.3007139390942058E-15</c:v>
                </c:pt>
                <c:pt idx="629">
                  <c:v>1.9745860286500081E-15</c:v>
                </c:pt>
                <c:pt idx="630">
                  <c:v>1.6946025322075339E-15</c:v>
                </c:pt>
                <c:pt idx="631">
                  <c:v>1.4542476458579359E-15</c:v>
                </c:pt>
                <c:pt idx="632">
                  <c:v>1.2479235455721619E-15</c:v>
                </c:pt>
                <c:pt idx="633">
                  <c:v>1.070821384950179E-15</c:v>
                </c:pt>
                <c:pt idx="634">
                  <c:v>9.1881036986890568E-16</c:v>
                </c:pt>
                <c:pt idx="635">
                  <c:v>7.8834238507569423E-16</c:v>
                </c:pt>
                <c:pt idx="636">
                  <c:v>6.7636999916792577E-16</c:v>
                </c:pt>
                <c:pt idx="637">
                  <c:v>5.8027597710532783E-16</c:v>
                </c:pt>
                <c:pt idx="638">
                  <c:v>4.9781269009466134E-16</c:v>
                </c:pt>
                <c:pt idx="639">
                  <c:v>4.2705003723733486E-16</c:v>
                </c:pt>
                <c:pt idx="640">
                  <c:v>3.6633068664836362E-16</c:v>
                </c:pt>
                <c:pt idx="641">
                  <c:v>3.1423161022743692E-16</c:v>
                </c:pt>
                <c:pt idx="642">
                  <c:v>2.6953102957460654E-16</c:v>
                </c:pt>
                <c:pt idx="643">
                  <c:v>2.3118001389366374E-16</c:v>
                </c:pt>
                <c:pt idx="644">
                  <c:v>1.9827807691720817E-16</c:v>
                </c:pt>
                <c:pt idx="645">
                  <c:v>1.7005221125358966E-16</c:v>
                </c:pt>
                <c:pt idx="646">
                  <c:v>1.4583887720303523E-16</c:v>
                </c:pt>
                <c:pt idx="647">
                  <c:v>1.250685307388785E-16</c:v>
                </c:pt>
                <c:pt idx="648">
                  <c:v>1.072523335731219E-16</c:v>
                </c:pt>
                <c:pt idx="649">
                  <c:v>9.1970738296564289E-17</c:v>
                </c:pt>
                <c:pt idx="650">
                  <c:v>7.8863684664465635E-17</c:v>
                </c:pt>
                <c:pt idx="651">
                  <c:v>6.7622180150935818E-17</c:v>
                </c:pt>
                <c:pt idx="652">
                  <c:v>5.7981069758192956E-17</c:v>
                </c:pt>
                <c:pt idx="653">
                  <c:v>4.9712827472019622E-17</c:v>
                </c:pt>
                <c:pt idx="654">
                  <c:v>4.2622225317182188E-17</c:v>
                </c:pt>
                <c:pt idx="655">
                  <c:v>3.654175622713037E-17</c:v>
                </c:pt>
                <c:pt idx="656">
                  <c:v>3.1327704359438587E-17</c:v>
                </c:pt>
                <c:pt idx="657">
                  <c:v>2.6856771464203188E-17</c:v>
                </c:pt>
                <c:pt idx="658">
                  <c:v>2.3023180782094004E-17</c:v>
                </c:pt>
                <c:pt idx="659">
                  <c:v>1.9736191013530121E-17</c:v>
                </c:pt>
                <c:pt idx="660">
                  <c:v>1.6917962408666251E-17</c:v>
                </c:pt>
                <c:pt idx="661">
                  <c:v>1.4501725199143436E-17</c:v>
                </c:pt>
                <c:pt idx="662">
                  <c:v>1.2430207615277745E-17</c:v>
                </c:pt>
                <c:pt idx="663">
                  <c:v>1.0654286765726435E-17</c:v>
                </c:pt>
                <c:pt idx="664">
                  <c:v>9.1318308415421044E-18</c:v>
                </c:pt>
                <c:pt idx="665">
                  <c:v>7.8267055602658113E-18</c:v>
                </c:pt>
                <c:pt idx="666">
                  <c:v>6.7079215924477518E-18</c:v>
                </c:pt>
                <c:pt idx="667">
                  <c:v>5.7489030000234512E-18</c:v>
                </c:pt>
                <c:pt idx="668">
                  <c:v>4.9268595393854331E-18</c:v>
                </c:pt>
                <c:pt idx="669">
                  <c:v>4.2222481072789257E-18</c:v>
                </c:pt>
                <c:pt idx="670">
                  <c:v>3.6183106904156356E-18</c:v>
                </c:pt>
                <c:pt idx="671">
                  <c:v>3.1006779685794513E-18</c:v>
                </c:pt>
                <c:pt idx="672">
                  <c:v>2.6570292570602163E-18</c:v>
                </c:pt>
                <c:pt idx="673">
                  <c:v>2.2768007933729767E-18</c:v>
                </c:pt>
                <c:pt idx="674">
                  <c:v>1.9509355058213842E-18</c:v>
                </c:pt>
                <c:pt idx="675">
                  <c:v>1.6716683740017279E-18</c:v>
                </c:pt>
                <c:pt idx="676">
                  <c:v>1.4323423261765281E-18</c:v>
                </c:pt>
                <c:pt idx="677">
                  <c:v>1.2272503353273817E-18</c:v>
                </c:pt>
                <c:pt idx="678">
                  <c:v>1.0514999909561686E-18</c:v>
                </c:pt>
                <c:pt idx="679">
                  <c:v>9.0089735196253877E-19</c:v>
                </c:pt>
                <c:pt idx="680">
                  <c:v>7.7184733928580278E-19</c:v>
                </c:pt>
                <c:pt idx="681">
                  <c:v>6.6126831616457462E-19</c:v>
                </c:pt>
                <c:pt idx="682">
                  <c:v>5.6651883789038561E-19</c:v>
                </c:pt>
                <c:pt idx="683">
                  <c:v>4.8533483955358693E-19</c:v>
                </c:pt>
                <c:pt idx="684">
                  <c:v>4.1577577631432165E-19</c:v>
                </c:pt>
                <c:pt idx="685">
                  <c:v>3.5617844181314834E-19</c:v>
                </c:pt>
                <c:pt idx="686">
                  <c:v>3.0511737151142997E-19</c:v>
                </c:pt>
                <c:pt idx="687">
                  <c:v>2.6137089317102733E-19</c:v>
                </c:pt>
                <c:pt idx="688">
                  <c:v>2.2389202007100108E-19</c:v>
                </c:pt>
                <c:pt idx="689">
                  <c:v>1.9178349699002105E-19</c:v>
                </c:pt>
                <c:pt idx="690">
                  <c:v>1.6427640715075633E-19</c:v>
                </c:pt>
                <c:pt idx="691">
                  <c:v>1.4071183255768902E-19</c:v>
                </c:pt>
                <c:pt idx="692">
                  <c:v>1.2052513242159843E-19</c:v>
                </c:pt>
                <c:pt idx="693">
                  <c:v>1.0323246633040439E-19</c:v>
                </c:pt>
                <c:pt idx="694">
                  <c:v>8.8419242017270451E-20</c:v>
                </c:pt>
                <c:pt idx="695">
                  <c:v>7.5730213172989726E-20</c:v>
                </c:pt>
                <c:pt idx="696">
                  <c:v>6.4860991868092789E-20</c:v>
                </c:pt>
                <c:pt idx="697">
                  <c:v>5.5550773713165501E-20</c:v>
                </c:pt>
                <c:pt idx="698">
                  <c:v>4.7576102649813873E-20</c:v>
                </c:pt>
                <c:pt idx="699">
                  <c:v>4.0745526953769051E-20</c:v>
                </c:pt>
                <c:pt idx="700">
                  <c:v>3.4895019195141379E-20</c:v>
                </c:pt>
                <c:pt idx="701">
                  <c:v>2.9884051049555806E-20</c:v>
                </c:pt>
                <c:pt idx="702">
                  <c:v>2.5592229422022371E-20</c:v>
                </c:pt>
                <c:pt idx="703">
                  <c:v>2.1916413689088776E-20</c:v>
                </c:pt>
                <c:pt idx="704">
                  <c:v>1.8768245314698836E-20</c:v>
                </c:pt>
                <c:pt idx="705">
                  <c:v>1.6072030902405362E-20</c:v>
                </c:pt>
                <c:pt idx="706">
                  <c:v>1.3762928165858929E-20</c:v>
                </c:pt>
                <c:pt idx="707">
                  <c:v>1.1785391511038349E-20</c:v>
                </c:pt>
                <c:pt idx="708">
                  <c:v>1.0091840108722446E-20</c:v>
                </c:pt>
                <c:pt idx="709">
                  <c:v>8.6415166397546769E-21</c:v>
                </c:pt>
                <c:pt idx="710">
                  <c:v>7.3995094402426753E-21</c:v>
                </c:pt>
                <c:pt idx="711">
                  <c:v>6.335914672202751E-21</c:v>
                </c:pt>
                <c:pt idx="712">
                  <c:v>5.425118484444767E-21</c:v>
                </c:pt>
                <c:pt idx="713">
                  <c:v>4.6451819942745661E-21</c:v>
                </c:pt>
                <c:pt idx="714">
                  <c:v>3.9773143736108257E-21</c:v>
                </c:pt>
                <c:pt idx="715">
                  <c:v>3.4054214286139833E-21</c:v>
                </c:pt>
                <c:pt idx="716">
                  <c:v>2.9157188649060401E-21</c:v>
                </c:pt>
                <c:pt idx="717">
                  <c:v>2.4964009765670913E-21</c:v>
                </c:pt>
                <c:pt idx="718">
                  <c:v>2.1373568221190223E-21</c:v>
                </c:pt>
                <c:pt idx="719">
                  <c:v>1.8299270864439668E-21</c:v>
                </c:pt>
                <c:pt idx="720">
                  <c:v>1.5666958004357701E-21</c:v>
                </c:pt>
                <c:pt idx="721">
                  <c:v>1.341311924922485E-21</c:v>
                </c:pt>
                <c:pt idx="722">
                  <c:v>1.1483365197244444E-21</c:v>
                </c:pt>
                <c:pt idx="723">
                  <c:v>9.8311183149346262E-22</c:v>
                </c:pt>
                <c:pt idx="724">
                  <c:v>8.416491591963007E-22</c:v>
                </c:pt>
                <c:pt idx="725">
                  <c:v>7.2053280543782191E-22</c:v>
                </c:pt>
                <c:pt idx="726">
                  <c:v>6.1683780793101193E-22</c:v>
                </c:pt>
                <c:pt idx="727">
                  <c:v>5.2805947521936539E-22</c:v>
                </c:pt>
                <c:pt idx="728">
                  <c:v>4.5205303415011849E-22</c:v>
                </c:pt>
                <c:pt idx="729">
                  <c:v>3.8698193900863198E-22</c:v>
                </c:pt>
                <c:pt idx="730">
                  <c:v>3.3127359995671917E-22</c:v>
                </c:pt>
                <c:pt idx="731">
                  <c:v>2.8358146660726028E-22</c:v>
                </c:pt>
                <c:pt idx="732">
                  <c:v>2.427525550132356E-22</c:v>
                </c:pt>
                <c:pt idx="733">
                  <c:v>2.0779963709596356E-22</c:v>
                </c:pt>
                <c:pt idx="734">
                  <c:v>1.778774234810495E-22</c:v>
                </c:pt>
                <c:pt idx="735">
                  <c:v>1.5226216667128648E-22</c:v>
                </c:pt>
                <c:pt idx="736">
                  <c:v>1.3033419369150173E-22</c:v>
                </c:pt>
                <c:pt idx="737">
                  <c:v>1.1156294765579938E-22</c:v>
                </c:pt>
                <c:pt idx="738">
                  <c:v>9.5494178147986423E-23</c:v>
                </c:pt>
                <c:pt idx="739">
                  <c:v>8.1738971897931781E-23</c:v>
                </c:pt>
                <c:pt idx="740">
                  <c:v>6.9964359497826221E-23</c:v>
                </c:pt>
                <c:pt idx="741">
                  <c:v>5.9885271878929153E-23</c:v>
                </c:pt>
                <c:pt idx="742">
                  <c:v>5.1257652671433224E-23</c:v>
                </c:pt>
                <c:pt idx="743">
                  <c:v>4.3872560458873633E-23</c:v>
                </c:pt>
                <c:pt idx="744">
                  <c:v>3.7551118717456256E-23</c:v>
                </c:pt>
                <c:pt idx="745">
                  <c:v>3.214019167946702E-23</c:v>
                </c:pt>
                <c:pt idx="746">
                  <c:v>2.7508681821581113E-23</c:v>
                </c:pt>
                <c:pt idx="747">
                  <c:v>2.3544359662963415E-23</c:v>
                </c:pt>
                <c:pt idx="748">
                  <c:v>2.0151149381235695E-23</c:v>
                </c:pt>
                <c:pt idx="749">
                  <c:v>1.7246804744071352E-23</c:v>
                </c:pt>
                <c:pt idx="750">
                  <c:v>1.4760919254860252E-23</c:v>
                </c:pt>
                <c:pt idx="751">
                  <c:v>1.263322247752425E-23</c:v>
                </c:pt>
                <c:pt idx="752">
                  <c:v>1.0812121401239711E-23</c:v>
                </c:pt>
                <c:pt idx="753">
                  <c:v>9.253451617977236E-24</c:v>
                </c:pt>
                <c:pt idx="754">
                  <c:v>7.9194081470957179E-24</c:v>
                </c:pt>
                <c:pt idx="755">
                  <c:v>6.7776300771310694E-24</c:v>
                </c:pt>
                <c:pt idx="756">
                  <c:v>5.800416905087539E-24</c:v>
                </c:pt>
                <c:pt idx="757">
                  <c:v>4.9640576347037232E-24</c:v>
                </c:pt>
                <c:pt idx="758">
                  <c:v>4.2482564157037248E-24</c:v>
                </c:pt>
                <c:pt idx="759">
                  <c:v>3.6356408391932268E-24</c:v>
                </c:pt>
                <c:pt idx="760">
                  <c:v>3.1113409980458278E-24</c:v>
                </c:pt>
                <c:pt idx="761">
                  <c:v>2.6626291336870636E-24</c:v>
                </c:pt>
                <c:pt idx="762">
                  <c:v>2.2786111521894128E-24</c:v>
                </c:pt>
                <c:pt idx="763">
                  <c:v>1.9499625464419051E-24</c:v>
                </c:pt>
                <c:pt idx="764">
                  <c:v>1.6687023356596716E-24</c:v>
                </c:pt>
                <c:pt idx="765">
                  <c:v>1.4279995505078754E-24</c:v>
                </c:pt>
                <c:pt idx="766">
                  <c:v>1.2220075809553698E-24</c:v>
                </c:pt>
                <c:pt idx="767">
                  <c:v>1.0457223763047911E-24</c:v>
                </c:pt>
                <c:pt idx="768">
                  <c:v>8.9486106449911796E-25</c:v>
                </c:pt>
                <c:pt idx="769">
                  <c:v>7.6575805127987256E-25</c:v>
                </c:pt>
                <c:pt idx="770">
                  <c:v>6.5527608334076236E-25</c:v>
                </c:pt>
                <c:pt idx="771">
                  <c:v>5.6073012053820391E-25</c:v>
                </c:pt>
                <c:pt idx="772">
                  <c:v>4.7982217366203076E-25</c:v>
                </c:pt>
                <c:pt idx="773">
                  <c:v>4.1058552845604069E-25</c:v>
                </c:pt>
                <c:pt idx="774">
                  <c:v>3.5133700454248539E-25</c:v>
                </c:pt>
                <c:pt idx="775">
                  <c:v>3.0063609213960195E-25</c:v>
                </c:pt>
                <c:pt idx="776">
                  <c:v>2.5724997604953784E-25</c:v>
                </c:pt>
                <c:pt idx="777">
                  <c:v>2.2012359907930553E-25</c:v>
                </c:pt>
                <c:pt idx="778">
                  <c:v>1.8835403909474339E-25</c:v>
                </c:pt>
                <c:pt idx="779">
                  <c:v>1.6116857822595424E-25</c:v>
                </c:pt>
                <c:pt idx="780">
                  <c:v>1.3790593250862985E-25</c:v>
                </c:pt>
                <c:pt idx="781">
                  <c:v>1.1800018663347976E-25</c:v>
                </c:pt>
                <c:pt idx="782">
                  <c:v>1.0096704405786555E-25</c:v>
                </c:pt>
                <c:pt idx="783">
                  <c:v>8.6392058939925555E-26</c:v>
                </c:pt>
                <c:pt idx="784">
                  <c:v>7.3920564282581714E-26</c:v>
                </c:pt>
                <c:pt idx="785">
                  <c:v>6.3249051951963673E-26</c:v>
                </c:pt>
                <c:pt idx="786">
                  <c:v>5.4117795294185254E-26</c:v>
                </c:pt>
                <c:pt idx="787">
                  <c:v>4.6304535290077229E-26</c:v>
                </c:pt>
                <c:pt idx="788">
                  <c:v>3.9619077008179375E-26</c:v>
                </c:pt>
                <c:pt idx="789">
                  <c:v>3.3898665103680135E-26</c:v>
                </c:pt>
                <c:pt idx="790">
                  <c:v>2.9004026122419599E-26</c:v>
                </c:pt>
                <c:pt idx="791">
                  <c:v>2.481598147382884E-26</c:v>
                </c:pt>
                <c:pt idx="792">
                  <c:v>2.1232548809962112E-26</c:v>
                </c:pt>
                <c:pt idx="793">
                  <c:v>1.8166461407688106E-26</c:v>
                </c:pt>
                <c:pt idx="794">
                  <c:v>1.5543045295691326E-26</c:v>
                </c:pt>
                <c:pt idx="795">
                  <c:v>1.3298402545164734E-26</c:v>
                </c:pt>
                <c:pt idx="796">
                  <c:v>1.1377856578090764E-26</c:v>
                </c:pt>
                <c:pt idx="797">
                  <c:v>9.7346217186207099E-27</c:v>
                </c:pt>
                <c:pt idx="798">
                  <c:v>8.3286646528513988E-27</c:v>
                </c:pt>
                <c:pt idx="799">
                  <c:v>7.1257301206442891E-27</c:v>
                </c:pt>
                <c:pt idx="800">
                  <c:v>6.0965071544276984E-27</c:v>
                </c:pt>
              </c:numCache>
            </c:numRef>
          </c:yVal>
          <c:smooth val="0"/>
          <c:extLst>
            <c:ext xmlns:c16="http://schemas.microsoft.com/office/drawing/2014/chart" uri="{C3380CC4-5D6E-409C-BE32-E72D297353CC}">
              <c16:uniqueId val="{00000013-1D62-4DE3-8E9D-34C68BC76380}"/>
            </c:ext>
          </c:extLst>
        </c:ser>
        <c:ser>
          <c:idx val="18"/>
          <c:order val="18"/>
          <c:tx>
            <c:strRef>
              <c:f>Calc!$V$6</c:f>
              <c:strCache>
                <c:ptCount val="1"/>
                <c:pt idx="0">
                  <c:v>19</c:v>
                </c:pt>
              </c:strCache>
            </c:strRef>
          </c:tx>
          <c:spPr>
            <a:ln w="28575">
              <a:noFill/>
            </a:ln>
          </c:spPr>
          <c:marker>
            <c:symbol val="diamond"/>
            <c:size val="3"/>
            <c:spPr>
              <a:solidFill>
                <a:srgbClr val="99CC00"/>
              </a:solidFill>
              <a:ln>
                <a:solidFill>
                  <a:srgbClr val="99CC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V$7:$V$807</c:f>
              <c:numCache>
                <c:formatCode>000,000,000</c:formatCode>
                <c:ptCount val="801"/>
                <c:pt idx="0">
                  <c:v>8.4074129706773627E-10</c:v>
                </c:pt>
                <c:pt idx="1">
                  <c:v>8.8742244047392055E-10</c:v>
                </c:pt>
                <c:pt idx="2">
                  <c:v>9.3669012726227077E-10</c:v>
                </c:pt>
                <c:pt idx="3">
                  <c:v>9.8868730410113045E-10</c:v>
                </c:pt>
                <c:pt idx="4">
                  <c:v>1.0435647920462501E-9</c:v>
                </c:pt>
                <c:pt idx="5">
                  <c:v>1.1014817185301797E-9</c:v>
                </c:pt>
                <c:pt idx="6">
                  <c:v>1.1626059729264304E-9</c:v>
                </c:pt>
                <c:pt idx="7">
                  <c:v>1.2271146869662346E-9</c:v>
                </c:pt>
                <c:pt idx="8">
                  <c:v>1.2951947413543591E-9</c:v>
                </c:pt>
                <c:pt idx="9">
                  <c:v>1.3670433000026866E-9</c:v>
                </c:pt>
                <c:pt idx="10">
                  <c:v>1.4428683733765341E-9</c:v>
                </c:pt>
                <c:pt idx="11">
                  <c:v>1.522889412528761E-9</c:v>
                </c:pt>
                <c:pt idx="12">
                  <c:v>1.607337935481053E-9</c:v>
                </c:pt>
                <c:pt idx="13">
                  <c:v>1.6964581877007329E-9</c:v>
                </c:pt>
                <c:pt idx="14">
                  <c:v>1.790507838515133E-9</c:v>
                </c:pt>
                <c:pt idx="15">
                  <c:v>1.8897587154037291E-9</c:v>
                </c:pt>
                <c:pt idx="16">
                  <c:v>1.9944975782123159E-9</c:v>
                </c:pt>
                <c:pt idx="17">
                  <c:v>2.1050269354424579E-9</c:v>
                </c:pt>
                <c:pt idx="18">
                  <c:v>2.2216659048845563E-9</c:v>
                </c:pt>
                <c:pt idx="19">
                  <c:v>2.3447511209835523E-9</c:v>
                </c:pt>
                <c:pt idx="20">
                  <c:v>2.4746376914539704E-9</c:v>
                </c:pt>
                <c:pt idx="21">
                  <c:v>2.6117002057948606E-9</c:v>
                </c:pt>
                <c:pt idx="22">
                  <c:v>2.7563337984961808E-9</c:v>
                </c:pt>
                <c:pt idx="23">
                  <c:v>2.9089552698766654E-9</c:v>
                </c:pt>
                <c:pt idx="24">
                  <c:v>3.0700042676496847E-9</c:v>
                </c:pt>
                <c:pt idx="25">
                  <c:v>3.2399445324775523E-9</c:v>
                </c:pt>
                <c:pt idx="26">
                  <c:v>3.4192652109478078E-9</c:v>
                </c:pt>
                <c:pt idx="27">
                  <c:v>3.6084822395876691E-9</c:v>
                </c:pt>
                <c:pt idx="28">
                  <c:v>3.8081398037230531E-9</c:v>
                </c:pt>
                <c:pt idx="29">
                  <c:v>4.0188118751912792E-9</c:v>
                </c:pt>
                <c:pt idx="30">
                  <c:v>4.2411038331278975E-9</c:v>
                </c:pt>
                <c:pt idx="31">
                  <c:v>4.4756541722707168E-9</c:v>
                </c:pt>
                <c:pt idx="32">
                  <c:v>4.7231363034595034E-9</c:v>
                </c:pt>
                <c:pt idx="33">
                  <c:v>4.9842604512555605E-9</c:v>
                </c:pt>
                <c:pt idx="34">
                  <c:v>5.2597756538653274E-9</c:v>
                </c:pt>
                <c:pt idx="35">
                  <c:v>5.5504718708247169E-9</c:v>
                </c:pt>
                <c:pt idx="36">
                  <c:v>5.8571822041880842E-9</c:v>
                </c:pt>
                <c:pt idx="37">
                  <c:v>6.1807852392667354E-9</c:v>
                </c:pt>
                <c:pt idx="38">
                  <c:v>6.5222075112802674E-9</c:v>
                </c:pt>
                <c:pt idx="39">
                  <c:v>6.8824261046156912E-9</c:v>
                </c:pt>
                <c:pt idx="40">
                  <c:v>7.2624713917420984E-9</c:v>
                </c:pt>
                <c:pt idx="41">
                  <c:v>7.6634299191950936E-9</c:v>
                </c:pt>
                <c:pt idx="42">
                  <c:v>8.0864474484343671E-9</c:v>
                </c:pt>
                <c:pt idx="43">
                  <c:v>8.5327321597834613E-9</c:v>
                </c:pt>
                <c:pt idx="44">
                  <c:v>9.0035580280897587E-9</c:v>
                </c:pt>
                <c:pt idx="45">
                  <c:v>9.5002683791925995E-9</c:v>
                </c:pt>
                <c:pt idx="46">
                  <c:v>1.0024279636758713E-8</c:v>
                </c:pt>
                <c:pt idx="47">
                  <c:v>1.0577085269541982E-8</c:v>
                </c:pt>
                <c:pt idx="48">
                  <c:v>1.1160259949646405E-8</c:v>
                </c:pt>
                <c:pt idx="49">
                  <c:v>1.1775463932917764E-8</c:v>
                </c:pt>
                <c:pt idx="50">
                  <c:v>1.2424447673166502E-8</c:v>
                </c:pt>
                <c:pt idx="51">
                  <c:v>1.3109056682529423E-8</c:v>
                </c:pt>
                <c:pt idx="52">
                  <c:v>1.3831236650911007E-8</c:v>
                </c:pt>
                <c:pt idx="53">
                  <c:v>1.4593038838114729E-8</c:v>
                </c:pt>
                <c:pt idx="54">
                  <c:v>1.5396625752972667E-8</c:v>
                </c:pt>
                <c:pt idx="55">
                  <c:v>1.6244277134519584E-8</c:v>
                </c:pt>
                <c:pt idx="56">
                  <c:v>1.7138396251027261E-8</c:v>
                </c:pt>
                <c:pt idx="57">
                  <c:v>1.8081516533527476E-8</c:v>
                </c:pt>
                <c:pt idx="58">
                  <c:v>1.9076308561301279E-8</c:v>
                </c:pt>
                <c:pt idx="59">
                  <c:v>2.0125587417705852E-8</c:v>
                </c:pt>
                <c:pt idx="60">
                  <c:v>2.1232320435647617E-8</c:v>
                </c:pt>
                <c:pt idx="61">
                  <c:v>2.2399635352991672E-8</c:v>
                </c:pt>
                <c:pt idx="62">
                  <c:v>2.3630828899231336E-8</c:v>
                </c:pt>
                <c:pt idx="63">
                  <c:v>2.4929375835823043E-8</c:v>
                </c:pt>
                <c:pt idx="64">
                  <c:v>2.6298938473725125E-8</c:v>
                </c:pt>
                <c:pt idx="65">
                  <c:v>2.7743376692873454E-8</c:v>
                </c:pt>
                <c:pt idx="66">
                  <c:v>2.9266758489571172E-8</c:v>
                </c:pt>
                <c:pt idx="67">
                  <c:v>3.087337107908119E-8</c:v>
                </c:pt>
                <c:pt idx="68">
                  <c:v>3.2567732582081748E-8</c:v>
                </c:pt>
                <c:pt idx="69">
                  <c:v>3.4354604325085817E-8</c:v>
                </c:pt>
                <c:pt idx="70">
                  <c:v>3.6239003786428033E-8</c:v>
                </c:pt>
                <c:pt idx="71">
                  <c:v>3.8226218221010415E-8</c:v>
                </c:pt>
                <c:pt idx="72">
                  <c:v>4.0321818998646568E-8</c:v>
                </c:pt>
                <c:pt idx="73">
                  <c:v>4.253167669258348E-8</c:v>
                </c:pt>
                <c:pt idx="74">
                  <c:v>4.4861976956596507E-8</c:v>
                </c:pt>
                <c:pt idx="75">
                  <c:v>4.731923723095121E-8</c:v>
                </c:pt>
                <c:pt idx="76">
                  <c:v>4.9910324319528924E-8</c:v>
                </c:pt>
                <c:pt idx="77">
                  <c:v>5.2642472882486213E-8</c:v>
                </c:pt>
                <c:pt idx="78">
                  <c:v>5.5523304891016713E-8</c:v>
                </c:pt>
                <c:pt idx="79">
                  <c:v>5.8560850093052719E-8</c:v>
                </c:pt>
                <c:pt idx="80">
                  <c:v>6.1763567541157188E-8</c:v>
                </c:pt>
                <c:pt idx="81">
                  <c:v>6.5140368236338628E-8</c:v>
                </c:pt>
                <c:pt idx="82">
                  <c:v>6.8700638944156324E-8</c:v>
                </c:pt>
                <c:pt idx="83">
                  <c:v>7.2454267242209135E-8</c:v>
                </c:pt>
                <c:pt idx="84">
                  <c:v>7.6411667860973488E-8</c:v>
                </c:pt>
                <c:pt idx="85">
                  <c:v>8.058381038294357E-8</c:v>
                </c:pt>
                <c:pt idx="86">
                  <c:v>8.4982248368159892E-8</c:v>
                </c:pt>
                <c:pt idx="87">
                  <c:v>8.9619149977475136E-8</c:v>
                </c:pt>
                <c:pt idx="88">
                  <c:v>9.450733016833457E-8</c:v>
                </c:pt>
                <c:pt idx="89">
                  <c:v>9.9660284541401442E-8</c:v>
                </c:pt>
                <c:pt idx="90">
                  <c:v>1.0509222492009087E-7</c:v>
                </c:pt>
                <c:pt idx="91">
                  <c:v>1.1081811674897551E-7</c:v>
                </c:pt>
                <c:pt idx="92">
                  <c:v>1.1685371840105954E-7</c:v>
                </c:pt>
                <c:pt idx="93">
                  <c:v>1.2321562248819539E-7</c:v>
                </c:pt>
                <c:pt idx="94">
                  <c:v>1.2992129927329144E-7</c:v>
                </c:pt>
                <c:pt idx="95">
                  <c:v>1.369891422876085E-7</c:v>
                </c:pt>
                <c:pt idx="96">
                  <c:v>1.4443851626122714E-7</c:v>
                </c:pt>
                <c:pt idx="97">
                  <c:v>1.5228980747978364E-7</c:v>
                </c:pt>
                <c:pt idx="98">
                  <c:v>1.6056447668579942E-7</c:v>
                </c:pt>
                <c:pt idx="99">
                  <c:v>1.692851146483585E-7</c:v>
                </c:pt>
                <c:pt idx="100">
                  <c:v>1.7847550053055579E-7</c:v>
                </c:pt>
                <c:pt idx="101">
                  <c:v>1.8816066319003577E-7</c:v>
                </c:pt>
                <c:pt idx="102">
                  <c:v>1.9836694555408287E-7</c:v>
                </c:pt>
                <c:pt idx="103">
                  <c:v>2.0912207221708976E-7</c:v>
                </c:pt>
                <c:pt idx="104">
                  <c:v>2.2045522041489577E-7</c:v>
                </c:pt>
                <c:pt idx="105">
                  <c:v>2.3239709453736248E-7</c:v>
                </c:pt>
                <c:pt idx="106">
                  <c:v>2.4498000434775147E-7</c:v>
                </c:pt>
                <c:pt idx="107">
                  <c:v>2.5823794708488374E-7</c:v>
                </c:pt>
                <c:pt idx="108">
                  <c:v>2.7220669363183321E-7</c:v>
                </c:pt>
                <c:pt idx="109">
                  <c:v>2.8692387894290852E-7</c:v>
                </c:pt>
                <c:pt idx="110">
                  <c:v>3.0242909692900339E-7</c:v>
                </c:pt>
                <c:pt idx="111">
                  <c:v>3.1876400001003896E-7</c:v>
                </c:pt>
                <c:pt idx="112">
                  <c:v>3.3597240355217442E-7</c:v>
                </c:pt>
                <c:pt idx="113">
                  <c:v>3.5410039541670424E-7</c:v>
                </c:pt>
                <c:pt idx="114">
                  <c:v>3.7319645085717428E-7</c:v>
                </c:pt>
                <c:pt idx="115">
                  <c:v>3.9331155301118426E-7</c:v>
                </c:pt>
                <c:pt idx="116">
                  <c:v>4.1449931924357394E-7</c:v>
                </c:pt>
                <c:pt idx="117">
                  <c:v>4.3681613360832532E-7</c:v>
                </c:pt>
                <c:pt idx="118">
                  <c:v>4.6032128570749294E-7</c:v>
                </c:pt>
                <c:pt idx="119">
                  <c:v>4.8507711623669311E-7</c:v>
                </c:pt>
                <c:pt idx="120">
                  <c:v>5.1114916951845587E-7</c:v>
                </c:pt>
                <c:pt idx="121">
                  <c:v>5.3860635333667747E-7</c:v>
                </c:pt>
                <c:pt idx="122">
                  <c:v>5.6752110639784161E-7</c:v>
                </c:pt>
                <c:pt idx="123">
                  <c:v>5.9796957375736454E-7</c:v>
                </c:pt>
                <c:pt idx="124">
                  <c:v>6.3003179056254128E-7</c:v>
                </c:pt>
                <c:pt idx="125">
                  <c:v>6.6379187447704913E-7</c:v>
                </c:pt>
                <c:pt idx="126">
                  <c:v>6.9933822716566132E-7</c:v>
                </c:pt>
                <c:pt idx="127">
                  <c:v>7.3676374523209504E-7</c:v>
                </c:pt>
                <c:pt idx="128">
                  <c:v>7.7616604101733742E-7</c:v>
                </c:pt>
                <c:pt idx="129">
                  <c:v>8.1764767368056487E-7</c:v>
                </c:pt>
                <c:pt idx="130">
                  <c:v>8.6131639100004232E-7</c:v>
                </c:pt>
                <c:pt idx="131">
                  <c:v>9.0728538234670604E-7</c:v>
                </c:pt>
                <c:pt idx="132">
                  <c:v>9.5567354329888243E-7</c:v>
                </c:pt>
                <c:pt idx="133">
                  <c:v>1.0066057523827409E-6</c:v>
                </c:pt>
                <c:pt idx="134">
                  <c:v>1.060213160439124E-6</c:v>
                </c:pt>
                <c:pt idx="135">
                  <c:v>1.1166334931340344E-6</c:v>
                </c:pt>
                <c:pt idx="136">
                  <c:v>1.1760113671467646E-6</c:v>
                </c:pt>
                <c:pt idx="137">
                  <c:v>1.238498620586325E-6</c:v>
                </c:pt>
                <c:pt idx="138">
                  <c:v>1.3042546582040721E-6</c:v>
                </c:pt>
                <c:pt idx="139">
                  <c:v>1.3734468119872975E-6</c:v>
                </c:pt>
                <c:pt idx="140">
                  <c:v>1.446250717735688E-6</c:v>
                </c:pt>
                <c:pt idx="141">
                  <c:v>1.5228507082399013E-6</c:v>
                </c:pt>
                <c:pt idx="142">
                  <c:v>1.6034402236982564E-6</c:v>
                </c:pt>
                <c:pt idx="143">
                  <c:v>1.6882222400246002E-6</c:v>
                </c:pt>
                <c:pt idx="144">
                  <c:v>1.7774097157173271E-6</c:v>
                </c:pt>
                <c:pt idx="145">
                  <c:v>1.8712260579756512E-6</c:v>
                </c:pt>
                <c:pt idx="146">
                  <c:v>1.969905608765711E-6</c:v>
                </c:pt>
                <c:pt idx="147">
                  <c:v>2.0736941515545603E-6</c:v>
                </c:pt>
                <c:pt idx="148">
                  <c:v>2.1828494394454601E-6</c:v>
                </c:pt>
                <c:pt idx="149">
                  <c:v>2.2976417454621305E-6</c:v>
                </c:pt>
                <c:pt idx="150">
                  <c:v>2.4183544357436242E-6</c:v>
                </c:pt>
                <c:pt idx="151">
                  <c:v>2.5452845664244064E-6</c:v>
                </c:pt>
                <c:pt idx="152">
                  <c:v>2.6787435049856428E-6</c:v>
                </c:pt>
                <c:pt idx="153">
                  <c:v>2.8190575768751007E-6</c:v>
                </c:pt>
                <c:pt idx="154">
                  <c:v>2.9665687382016061E-6</c:v>
                </c:pt>
                <c:pt idx="155">
                  <c:v>3.1216352753185827E-6</c:v>
                </c:pt>
                <c:pt idx="156">
                  <c:v>3.2846325321166954E-6</c:v>
                </c:pt>
                <c:pt idx="157">
                  <c:v>3.455953665850435E-6</c:v>
                </c:pt>
                <c:pt idx="158">
                  <c:v>3.6360104323252316E-6</c:v>
                </c:pt>
                <c:pt idx="159">
                  <c:v>3.8252340012715395E-6</c:v>
                </c:pt>
                <c:pt idx="160">
                  <c:v>4.0240758027296234E-6</c:v>
                </c:pt>
                <c:pt idx="161">
                  <c:v>4.2330084052632823E-6</c:v>
                </c:pt>
                <c:pt idx="162">
                  <c:v>4.4525264268110841E-6</c:v>
                </c:pt>
                <c:pt idx="163">
                  <c:v>4.6831474789728789E-6</c:v>
                </c:pt>
                <c:pt idx="164">
                  <c:v>4.9254131455115452E-6</c:v>
                </c:pt>
                <c:pt idx="165">
                  <c:v>5.179889995831248E-6</c:v>
                </c:pt>
                <c:pt idx="166">
                  <c:v>5.4471706341678482E-6</c:v>
                </c:pt>
                <c:pt idx="167">
                  <c:v>5.7278747851979789E-6</c:v>
                </c:pt>
                <c:pt idx="168">
                  <c:v>6.0226504167380525E-6</c:v>
                </c:pt>
                <c:pt idx="169">
                  <c:v>6.332174900164372E-6</c:v>
                </c:pt>
                <c:pt idx="170">
                  <c:v>6.6571562091379853E-6</c:v>
                </c:pt>
                <c:pt idx="171">
                  <c:v>6.9983341571652075E-6</c:v>
                </c:pt>
                <c:pt idx="172">
                  <c:v>7.3564816744626791E-6</c:v>
                </c:pt>
                <c:pt idx="173">
                  <c:v>7.7324061245291377E-6</c:v>
                </c:pt>
                <c:pt idx="174">
                  <c:v>8.1269506607471868E-6</c:v>
                </c:pt>
                <c:pt idx="175">
                  <c:v>8.5409956232540455E-6</c:v>
                </c:pt>
                <c:pt idx="176">
                  <c:v>8.9754599762235696E-6</c:v>
                </c:pt>
                <c:pt idx="177">
                  <c:v>9.4313027855976707E-6</c:v>
                </c:pt>
                <c:pt idx="178">
                  <c:v>9.9095247371868326E-6</c:v>
                </c:pt>
                <c:pt idx="179">
                  <c:v>1.0411169694932372E-5</c:v>
                </c:pt>
                <c:pt idx="180">
                  <c:v>1.0937326298982035E-5</c:v>
                </c:pt>
                <c:pt idx="181">
                  <c:v>1.1489129603076383E-5</c:v>
                </c:pt>
                <c:pt idx="182">
                  <c:v>1.2067762750575433E-5</c:v>
                </c:pt>
                <c:pt idx="183">
                  <c:v>1.2674458688272693E-5</c:v>
                </c:pt>
                <c:pt idx="184">
                  <c:v>1.3310501916943965E-5</c:v>
                </c:pt>
                <c:pt idx="185">
                  <c:v>1.3977230277365024E-5</c:v>
                </c:pt>
                <c:pt idx="186">
                  <c:v>1.46760367702974E-5</c:v>
                </c:pt>
                <c:pt idx="187">
                  <c:v>1.5408371408691653E-5</c:v>
                </c:pt>
                <c:pt idx="188">
                  <c:v>1.6175743100086242E-5</c:v>
                </c:pt>
                <c:pt idx="189">
                  <c:v>1.6979721556889733E-5</c:v>
                </c:pt>
                <c:pt idx="190">
                  <c:v>1.7821939231919694E-5</c:v>
                </c:pt>
                <c:pt idx="191">
                  <c:v>1.8704093276239847E-5</c:v>
                </c:pt>
                <c:pt idx="192">
                  <c:v>1.9627947515975094E-5</c:v>
                </c:pt>
                <c:pt idx="193">
                  <c:v>2.0595334444403902E-5</c:v>
                </c:pt>
                <c:pt idx="194">
                  <c:v>2.1608157225218495E-5</c:v>
                </c:pt>
                <c:pt idx="195">
                  <c:v>2.2668391702408282E-5</c:v>
                </c:pt>
                <c:pt idx="196">
                  <c:v>2.3778088411760692E-5</c:v>
                </c:pt>
                <c:pt idx="197">
                  <c:v>2.4939374588483407E-5</c:v>
                </c:pt>
                <c:pt idx="198">
                  <c:v>2.615445616493134E-5</c:v>
                </c:pt>
                <c:pt idx="199">
                  <c:v>2.7425619751875601E-5</c:v>
                </c:pt>
                <c:pt idx="200">
                  <c:v>2.8755234596165792E-5</c:v>
                </c:pt>
                <c:pt idx="201">
                  <c:v>3.0145754507032756E-5</c:v>
                </c:pt>
                <c:pt idx="202">
                  <c:v>3.1599719742628717E-5</c:v>
                </c:pt>
                <c:pt idx="203">
                  <c:v>3.3119758847728408E-5</c:v>
                </c:pt>
                <c:pt idx="204">
                  <c:v>3.470859043280621E-5</c:v>
                </c:pt>
                <c:pt idx="205">
                  <c:v>3.6369024883958782E-5</c:v>
                </c:pt>
                <c:pt idx="206">
                  <c:v>3.8103965992370883E-5</c:v>
                </c:pt>
                <c:pt idx="207">
                  <c:v>3.991641249120809E-5</c:v>
                </c:pt>
                <c:pt idx="208">
                  <c:v>4.1809459486982085E-5</c:v>
                </c:pt>
                <c:pt idx="209">
                  <c:v>4.3786299771558133E-5</c:v>
                </c:pt>
                <c:pt idx="210">
                  <c:v>4.5850225000067307E-5</c:v>
                </c:pt>
                <c:pt idx="211">
                  <c:v>4.8004626719049537E-5</c:v>
                </c:pt>
                <c:pt idx="212">
                  <c:v>5.0252997228189504E-5</c:v>
                </c:pt>
                <c:pt idx="213">
                  <c:v>5.2598930258009994E-5</c:v>
                </c:pt>
                <c:pt idx="214">
                  <c:v>5.5046121444870566E-5</c:v>
                </c:pt>
                <c:pt idx="215">
                  <c:v>5.7598368583576122E-5</c:v>
                </c:pt>
                <c:pt idx="216">
                  <c:v>6.0259571636839833E-5</c:v>
                </c:pt>
                <c:pt idx="217">
                  <c:v>6.3033732479759333E-5</c:v>
                </c:pt>
                <c:pt idx="218">
                  <c:v>6.5924954356382605E-5</c:v>
                </c:pt>
                <c:pt idx="219">
                  <c:v>6.8937441024329802E-5</c:v>
                </c:pt>
                <c:pt idx="220">
                  <c:v>7.2075495562343484E-5</c:v>
                </c:pt>
                <c:pt idx="221">
                  <c:v>7.5343518814527635E-5</c:v>
                </c:pt>
                <c:pt idx="222">
                  <c:v>7.8746007443954139E-5</c:v>
                </c:pt>
                <c:pt idx="223">
                  <c:v>8.2287551567233896E-5</c:v>
                </c:pt>
                <c:pt idx="224">
                  <c:v>8.597283194059398E-5</c:v>
                </c:pt>
                <c:pt idx="225">
                  <c:v>8.9806616666992874E-5</c:v>
                </c:pt>
                <c:pt idx="226">
                  <c:v>9.379375739281703E-5</c:v>
                </c:pt>
                <c:pt idx="227">
                  <c:v>9.7939184961784697E-5</c:v>
                </c:pt>
                <c:pt idx="228">
                  <c:v>1.0224790449281941E-4</c:v>
                </c:pt>
                <c:pt idx="229">
                  <c:v>1.0672498984786997E-4</c:v>
                </c:pt>
                <c:pt idx="230">
                  <c:v>1.113755774549645E-4</c:v>
                </c:pt>
                <c:pt idx="231">
                  <c:v>1.1620485945118859E-4</c:v>
                </c:pt>
                <c:pt idx="232">
                  <c:v>1.2121807610981272E-4</c:v>
                </c:pt>
                <c:pt idx="233">
                  <c:v>1.2642050751546105E-4</c:v>
                </c:pt>
                <c:pt idx="234">
                  <c:v>1.3181746445102552E-4</c:v>
                </c:pt>
                <c:pt idx="235">
                  <c:v>1.3741427846002566E-4</c:v>
                </c:pt>
                <c:pt idx="236">
                  <c:v>1.4321629104830735E-4</c:v>
                </c:pt>
                <c:pt idx="237">
                  <c:v>1.4922884198935771E-4</c:v>
                </c:pt>
                <c:pt idx="238">
                  <c:v>1.5545725669814504E-4</c:v>
                </c:pt>
                <c:pt idx="239">
                  <c:v>1.6190683263930363E-4</c:v>
                </c:pt>
                <c:pt idx="240">
                  <c:v>1.6858282473662583E-4</c:v>
                </c:pt>
                <c:pt idx="241">
                  <c:v>1.7549042975232212E-4</c:v>
                </c:pt>
                <c:pt idx="242">
                  <c:v>1.8263476960630256E-4</c:v>
                </c:pt>
                <c:pt idx="243">
                  <c:v>1.9002087360791461E-4</c:v>
                </c:pt>
                <c:pt idx="244">
                  <c:v>1.976536595751026E-4</c:v>
                </c:pt>
                <c:pt idx="245">
                  <c:v>2.0553791381891756E-4</c:v>
                </c:pt>
                <c:pt idx="246">
                  <c:v>2.1367826997470654E-4</c:v>
                </c:pt>
                <c:pt idx="247">
                  <c:v>2.220791866651526E-4</c:v>
                </c:pt>
                <c:pt idx="248">
                  <c:v>2.3074492398468595E-4</c:v>
                </c:pt>
                <c:pt idx="249">
                  <c:v>2.3967951879966351E-4</c:v>
                </c:pt>
                <c:pt idx="250">
                  <c:v>2.4888675886406038E-4</c:v>
                </c:pt>
                <c:pt idx="251">
                  <c:v>2.5837015575643987E-4</c:v>
                </c:pt>
                <c:pt idx="252">
                  <c:v>2.6813291665045181E-4</c:v>
                </c:pt>
                <c:pt idx="253">
                  <c:v>2.7817791493828882E-4</c:v>
                </c:pt>
                <c:pt idx="254">
                  <c:v>2.8850765973425786E-4</c:v>
                </c:pt>
                <c:pt idx="255">
                  <c:v>2.9912426429404802E-4</c:v>
                </c:pt>
                <c:pt idx="256">
                  <c:v>3.1002941339427039E-4</c:v>
                </c:pt>
                <c:pt idx="257">
                  <c:v>3.2122432972655406E-4</c:v>
                </c:pt>
                <c:pt idx="258">
                  <c:v>3.3270973937078252E-4</c:v>
                </c:pt>
                <c:pt idx="259">
                  <c:v>3.4448583642302996E-4</c:v>
                </c:pt>
                <c:pt idx="260">
                  <c:v>3.5655224686534083E-4</c:v>
                </c:pt>
                <c:pt idx="261">
                  <c:v>3.6890799177670804E-4</c:v>
                </c:pt>
                <c:pt idx="262">
                  <c:v>3.8155144999739849E-4</c:v>
                </c:pt>
                <c:pt idx="263">
                  <c:v>3.9448032037210255E-4</c:v>
                </c:pt>
                <c:pt idx="264">
                  <c:v>4.07691583711233E-4</c:v>
                </c:pt>
                <c:pt idx="265">
                  <c:v>4.2118146462404005E-4</c:v>
                </c:pt>
                <c:pt idx="266">
                  <c:v>4.3494539339185404E-4</c:v>
                </c:pt>
                <c:pt idx="267">
                  <c:v>4.4897796806481617E-4</c:v>
                </c:pt>
                <c:pt idx="268">
                  <c:v>4.6327291698070923E-4</c:v>
                </c:pt>
                <c:pt idx="269">
                  <c:v>4.7782306191987943E-4</c:v>
                </c:pt>
                <c:pt idx="270">
                  <c:v>4.9262028212559712E-4</c:v>
                </c:pt>
                <c:pt idx="271">
                  <c:v>5.0765547943461395E-4</c:v>
                </c:pt>
                <c:pt idx="272">
                  <c:v>5.229185447776306E-4</c:v>
                </c:pt>
                <c:pt idx="273">
                  <c:v>5.3839832632413172E-4</c:v>
                </c:pt>
                <c:pt idx="274">
                  <c:v>5.540825995601317E-4</c:v>
                </c:pt>
                <c:pt idx="275">
                  <c:v>5.6995803960077304E-4</c:v>
                </c:pt>
                <c:pt idx="276">
                  <c:v>5.8601019605220364E-4</c:v>
                </c:pt>
                <c:pt idx="277">
                  <c:v>6.0222347074841381E-4</c:v>
                </c:pt>
                <c:pt idx="278">
                  <c:v>6.1858109869879067E-4</c:v>
                </c:pt>
                <c:pt idx="279">
                  <c:v>6.3506513259051006E-4</c:v>
                </c:pt>
                <c:pt idx="280">
                  <c:v>6.5165643119646007E-4</c:v>
                </c:pt>
                <c:pt idx="281">
                  <c:v>6.6833465204402113E-4</c:v>
                </c:pt>
                <c:pt idx="282">
                  <c:v>6.8507824870217527E-4</c:v>
                </c:pt>
                <c:pt idx="283">
                  <c:v>7.0186447304416923E-4</c:v>
                </c:pt>
                <c:pt idx="284">
                  <c:v>7.1866938283981932E-4</c:v>
                </c:pt>
                <c:pt idx="285">
                  <c:v>7.3546785502531938E-4</c:v>
                </c:pt>
                <c:pt idx="286">
                  <c:v>7.5223360498896511E-4</c:v>
                </c:pt>
                <c:pt idx="287">
                  <c:v>7.6893921219810734E-4</c:v>
                </c:pt>
                <c:pt idx="288">
                  <c:v>7.8555615247585711E-4</c:v>
                </c:pt>
                <c:pt idx="289">
                  <c:v>8.0205483721525943E-4</c:v>
                </c:pt>
                <c:pt idx="290">
                  <c:v>8.1840465979364496E-4</c:v>
                </c:pt>
                <c:pt idx="291">
                  <c:v>8.345740494205932E-4</c:v>
                </c:pt>
                <c:pt idx="292">
                  <c:v>8.5053053261923708E-4</c:v>
                </c:pt>
                <c:pt idx="293">
                  <c:v>8.6624080250227351E-4</c:v>
                </c:pt>
                <c:pt idx="294">
                  <c:v>8.8167079596120036E-4</c:v>
                </c:pt>
                <c:pt idx="295">
                  <c:v>8.9678577883991898E-4</c:v>
                </c:pt>
                <c:pt idx="296">
                  <c:v>9.1155043911174849E-4</c:v>
                </c:pt>
                <c:pt idx="297">
                  <c:v>9.2592898802254867E-4</c:v>
                </c:pt>
                <c:pt idx="298">
                  <c:v>9.3988526910207147E-4</c:v>
                </c:pt>
                <c:pt idx="299">
                  <c:v>9.5338287488093627E-4</c:v>
                </c:pt>
                <c:pt idx="300">
                  <c:v>9.6638527108239855E-4</c:v>
                </c:pt>
                <c:pt idx="301">
                  <c:v>9.7885592798641584E-4</c:v>
                </c:pt>
                <c:pt idx="302">
                  <c:v>9.9075845858921023E-4</c:v>
                </c:pt>
                <c:pt idx="303">
                  <c:v>1.002056763104688E-3</c:v>
                </c:pt>
                <c:pt idx="304">
                  <c:v>1.0127151792758281E-3</c:v>
                </c:pt>
                <c:pt idx="305">
                  <c:v>1.0226986378847791E-3</c:v>
                </c:pt>
                <c:pt idx="306">
                  <c:v>1.0319728227709821E-3</c:v>
                </c:pt>
                <c:pt idx="307">
                  <c:v>1.0405043345876241E-3</c:v>
                </c:pt>
                <c:pt idx="308">
                  <c:v>1.0482608574496938E-3</c:v>
                </c:pt>
                <c:pt idx="309">
                  <c:v>1.0552113275519306E-3</c:v>
                </c:pt>
                <c:pt idx="310">
                  <c:v>1.0613261027639211E-3</c:v>
                </c:pt>
                <c:pt idx="311">
                  <c:v>1.0665771321429895E-3</c:v>
                </c:pt>
                <c:pt idx="312">
                  <c:v>1.0709381242445712E-3</c:v>
                </c:pt>
                <c:pt idx="313">
                  <c:v>1.0743847130557675E-3</c:v>
                </c:pt>
                <c:pt idx="314">
                  <c:v>1.076894620331523E-3</c:v>
                </c:pt>
                <c:pt idx="315">
                  <c:v>1.0784478130755862E-3</c:v>
                </c:pt>
                <c:pt idx="316">
                  <c:v>1.0790266548812901E-3</c:v>
                </c:pt>
                <c:pt idx="317">
                  <c:v>1.0786160498308503E-3</c:v>
                </c:pt>
                <c:pt idx="318">
                  <c:v>1.0772035776475941E-3</c:v>
                </c:pt>
                <c:pt idx="319">
                  <c:v>1.074779618803958E-3</c:v>
                </c:pt>
                <c:pt idx="320">
                  <c:v>1.0713374683098361E-3</c:v>
                </c:pt>
                <c:pt idx="321">
                  <c:v>1.0668734369417526E-3</c:v>
                </c:pt>
                <c:pt idx="322">
                  <c:v>1.0613869387235556E-3</c:v>
                </c:pt>
                <c:pt idx="323">
                  <c:v>1.0548805635342208E-3</c:v>
                </c:pt>
                <c:pt idx="324">
                  <c:v>1.0473601337979011E-3</c:v>
                </c:pt>
                <c:pt idx="325">
                  <c:v>1.038834744305719E-3</c:v>
                </c:pt>
                <c:pt idx="326">
                  <c:v>1.0293167843269941E-3</c:v>
                </c:pt>
                <c:pt idx="327">
                  <c:v>1.0188219412898935E-3</c:v>
                </c:pt>
                <c:pt idx="328">
                  <c:v>1.0073691854462481E-3</c:v>
                </c:pt>
                <c:pt idx="329">
                  <c:v>9.9498073508211705E-4</c:v>
                </c:pt>
                <c:pt idx="330">
                  <c:v>9.8168200199304115E-4</c:v>
                </c:pt>
                <c:pt idx="331">
                  <c:v>9.6750151710935865E-4</c:v>
                </c:pt>
                <c:pt idx="332">
                  <c:v>9.5247083633096246E-4</c:v>
                </c:pt>
                <c:pt idx="333">
                  <c:v>9.3662442681033767E-4</c:v>
                </c:pt>
                <c:pt idx="334">
                  <c:v>9.199995341059756E-4</c:v>
                </c:pt>
                <c:pt idx="335">
                  <c:v>9.0263603081284225E-4</c:v>
                </c:pt>
                <c:pt idx="336">
                  <c:v>8.8457624746018568E-4</c:v>
                </c:pt>
                <c:pt idx="337">
                  <c:v>8.6586478664780152E-4</c:v>
                </c:pt>
                <c:pt idx="338">
                  <c:v>8.4654832156661809E-4</c:v>
                </c:pt>
                <c:pt idx="339">
                  <c:v>8.2667538021663847E-4</c:v>
                </c:pt>
                <c:pt idx="340">
                  <c:v>8.0629611679185697E-4</c:v>
                </c:pt>
                <c:pt idx="341">
                  <c:v>7.8546207184576361E-4</c:v>
                </c:pt>
                <c:pt idx="342">
                  <c:v>7.642259229802493E-4</c:v>
                </c:pt>
                <c:pt idx="343">
                  <c:v>7.4264122791310163E-4</c:v>
                </c:pt>
                <c:pt idx="344">
                  <c:v>7.2076216187278298E-4</c:v>
                </c:pt>
                <c:pt idx="345">
                  <c:v>6.9864325134265989E-4</c:v>
                </c:pt>
                <c:pt idx="346">
                  <c:v>6.7633910622862429E-4</c:v>
                </c:pt>
                <c:pt idx="347">
                  <c:v>6.539041525530111E-4</c:v>
                </c:pt>
                <c:pt idx="348">
                  <c:v>6.3139236778364126E-4</c:v>
                </c:pt>
                <c:pt idx="349">
                  <c:v>6.0885702088874253E-4</c:v>
                </c:pt>
                <c:pt idx="350">
                  <c:v>5.8635041916669497E-4</c:v>
                </c:pt>
                <c:pt idx="351">
                  <c:v>5.6392366383448643E-4</c:v>
                </c:pt>
                <c:pt idx="352">
                  <c:v>5.4162641627070575E-4</c:v>
                </c:pt>
                <c:pt idx="353">
                  <c:v>5.1950667669932915E-4</c:v>
                </c:pt>
                <c:pt idx="354">
                  <c:v>4.9761057697053396E-4</c:v>
                </c:pt>
                <c:pt idx="355">
                  <c:v>4.7598218894618651E-4</c:v>
                </c:pt>
                <c:pt idx="356">
                  <c:v>4.5466334983238442E-4</c:v>
                </c:pt>
                <c:pt idx="357">
                  <c:v>4.3369350562170387E-4</c:v>
                </c:pt>
                <c:pt idx="358">
                  <c:v>4.1310957361621376E-4</c:v>
                </c:pt>
                <c:pt idx="359">
                  <c:v>3.9294582480121719E-4</c:v>
                </c:pt>
                <c:pt idx="360">
                  <c:v>3.7323378663229592E-4</c:v>
                </c:pt>
                <c:pt idx="361">
                  <c:v>3.5400216658679017E-4</c:v>
                </c:pt>
                <c:pt idx="362">
                  <c:v>3.3527679661884291E-4</c:v>
                </c:pt>
                <c:pt idx="363">
                  <c:v>3.1708059844702638E-4</c:v>
                </c:pt>
                <c:pt idx="364">
                  <c:v>2.9943356939826811E-4</c:v>
                </c:pt>
                <c:pt idx="365">
                  <c:v>2.8235278833408652E-4</c:v>
                </c:pt>
                <c:pt idx="366">
                  <c:v>2.6585244099737996E-4</c:v>
                </c:pt>
                <c:pt idx="367">
                  <c:v>2.4994386394266787E-4</c:v>
                </c:pt>
                <c:pt idx="368">
                  <c:v>2.3463560605174291E-4</c:v>
                </c:pt>
                <c:pt idx="369">
                  <c:v>2.1993350649207195E-4</c:v>
                </c:pt>
                <c:pt idx="370">
                  <c:v>2.0584078784840698E-4</c:v>
                </c:pt>
                <c:pt idx="371">
                  <c:v>1.9235816305025714E-4</c:v>
                </c:pt>
                <c:pt idx="372">
                  <c:v>1.7948395462991521E-4</c:v>
                </c:pt>
                <c:pt idx="373">
                  <c:v>1.672142247782822E-4</c:v>
                </c:pt>
                <c:pt idx="374">
                  <c:v>1.5554291461890253E-4</c:v>
                </c:pt>
                <c:pt idx="375">
                  <c:v>1.4446199109443238E-4</c:v>
                </c:pt>
                <c:pt idx="376">
                  <c:v>1.3396159985364726E-4</c:v>
                </c:pt>
                <c:pt idx="377">
                  <c:v>1.2403022254048283E-4</c:v>
                </c:pt>
                <c:pt idx="378">
                  <c:v>1.1465483691838545E-4</c:v>
                </c:pt>
                <c:pt idx="379">
                  <c:v>1.0582107831226133E-4</c:v>
                </c:pt>
                <c:pt idx="380">
                  <c:v>9.7513400915082504E-5</c:v>
                </c:pt>
                <c:pt idx="381">
                  <c:v>8.9715237585090643E-5</c:v>
                </c:pt>
                <c:pt idx="382">
                  <c:v>8.2409156850783491E-5</c:v>
                </c:pt>
                <c:pt idx="383">
                  <c:v>7.5577015942585141E-5</c:v>
                </c:pt>
                <c:pt idx="384">
                  <c:v>6.9200108780314619E-5</c:v>
                </c:pt>
                <c:pt idx="385">
                  <c:v>6.3259307962351569E-5</c:v>
                </c:pt>
                <c:pt idx="386">
                  <c:v>5.7735199923697262E-5</c:v>
                </c:pt>
                <c:pt idx="387">
                  <c:v>5.2608212554081434E-5</c:v>
                </c:pt>
                <c:pt idx="388">
                  <c:v>4.7858734691946957E-5</c:v>
                </c:pt>
                <c:pt idx="389">
                  <c:v>4.3467227033805034E-5</c:v>
                </c:pt>
                <c:pt idx="390">
                  <c:v>3.9414324119448395E-5</c:v>
                </c:pt>
                <c:pt idx="391">
                  <c:v>3.5680927170334761E-5</c:v>
                </c:pt>
                <c:pt idx="392">
                  <c:v>3.2248287669757197E-5</c:v>
                </c:pt>
                <c:pt idx="393">
                  <c:v>2.9098081678064223E-5</c:v>
                </c:pt>
                <c:pt idx="394">
                  <c:v>2.6212474973166574E-5</c:v>
                </c:pt>
                <c:pt idx="395">
                  <c:v>2.3574179195112956E-5</c:v>
                </c:pt>
                <c:pt idx="396">
                  <c:v>2.1166499253006724E-5</c:v>
                </c:pt>
                <c:pt idx="397">
                  <c:v>1.8973372322571102E-5</c:v>
                </c:pt>
                <c:pt idx="398">
                  <c:v>1.6979398823007217E-5</c:v>
                </c:pt>
                <c:pt idx="399">
                  <c:v>1.5169865812376575E-5</c:v>
                </c:pt>
                <c:pt idx="400">
                  <c:v>1.353076328165721E-5</c:v>
                </c:pt>
                <c:pt idx="401">
                  <c:v>1.2048793859125367E-5</c:v>
                </c:pt>
                <c:pt idx="402">
                  <c:v>1.0711376459166652E-5</c:v>
                </c:pt>
                <c:pt idx="403">
                  <c:v>9.506644423494976E-6</c:v>
                </c:pt>
                <c:pt idx="404">
                  <c:v>8.4234387086459498E-6</c:v>
                </c:pt>
                <c:pt idx="405">
                  <c:v>7.4512966721449061E-6</c:v>
                </c:pt>
                <c:pt idx="406">
                  <c:v>6.5804370016504955E-6</c:v>
                </c:pt>
                <c:pt idx="407">
                  <c:v>5.8017413173819226E-6</c:v>
                </c:pt>
                <c:pt idx="408">
                  <c:v>5.1067329590236013E-6</c:v>
                </c:pt>
                <c:pt idx="409">
                  <c:v>4.4875534448433188E-6</c:v>
                </c:pt>
                <c:pt idx="410">
                  <c:v>3.9369370637255505E-6</c:v>
                </c:pt>
                <c:pt idx="411">
                  <c:v>3.4481840309623723E-6</c:v>
                </c:pt>
                <c:pt idx="412">
                  <c:v>3.0151326066762258E-6</c:v>
                </c:pt>
                <c:pt idx="413">
                  <c:v>2.6321305423476556E-6</c:v>
                </c:pt>
                <c:pt idx="414">
                  <c:v>2.2940061867151954E-6</c:v>
                </c:pt>
                <c:pt idx="415">
                  <c:v>1.9960395478757088E-6</c:v>
                </c:pt>
                <c:pt idx="416">
                  <c:v>1.7339335742541271E-6</c:v>
                </c:pt>
                <c:pt idx="417">
                  <c:v>1.5037858836838767E-6</c:v>
                </c:pt>
                <c:pt idx="418">
                  <c:v>1.3020611375303876E-6</c:v>
                </c:pt>
                <c:pt idx="419">
                  <c:v>1.1255642259257028E-6</c:v>
                </c:pt>
                <c:pt idx="420">
                  <c:v>9.7141440102594776E-7</c:v>
                </c:pt>
                <c:pt idx="421">
                  <c:v>8.3702046796053527E-7</c:v>
                </c:pt>
                <c:pt idx="422">
                  <c:v>7.2005711796110994E-7</c:v>
                </c:pt>
                <c:pt idx="423">
                  <c:v>6.1844246513847164E-7</c:v>
                </c:pt>
                <c:pt idx="424">
                  <c:v>5.3031682756688715E-7</c:v>
                </c:pt>
                <c:pt idx="425">
                  <c:v>4.540227747474523E-7</c:v>
                </c:pt>
                <c:pt idx="426">
                  <c:v>3.8808644712734029E-7</c:v>
                </c:pt>
                <c:pt idx="427">
                  <c:v>3.3120013909091515E-7</c:v>
                </c:pt>
                <c:pt idx="428">
                  <c:v>2.8220612462656086E-7</c:v>
                </c:pt>
                <c:pt idx="429">
                  <c:v>2.4008169460274041E-7</c:v>
                </c:pt>
                <c:pt idx="430">
                  <c:v>2.0392536613525872E-7</c:v>
                </c:pt>
                <c:pt idx="431">
                  <c:v>1.729442177596591E-7</c:v>
                </c:pt>
                <c:pt idx="432">
                  <c:v>1.4644229889501766E-7</c:v>
                </c:pt>
                <c:pt idx="433">
                  <c:v>1.2381005825067032E-7</c:v>
                </c:pt>
                <c:pt idx="434">
                  <c:v>1.0451473323721276E-7</c:v>
                </c:pt>
                <c:pt idx="435">
                  <c:v>8.8091640950788008E-8</c:v>
                </c:pt>
                <c:pt idx="436">
                  <c:v>7.4136310762720951E-8</c:v>
                </c:pt>
                <c:pt idx="437">
                  <c:v>6.2297398828565213E-8</c:v>
                </c:pt>
                <c:pt idx="438">
                  <c:v>5.2270325802758249E-8</c:v>
                </c:pt>
                <c:pt idx="439">
                  <c:v>4.3791580587227472E-8</c:v>
                </c:pt>
                <c:pt idx="440">
                  <c:v>3.6633634943946425E-8</c:v>
                </c:pt>
                <c:pt idx="441">
                  <c:v>3.0600416162030676E-8</c:v>
                </c:pt>
                <c:pt idx="442">
                  <c:v>2.55232875991999E-8</c:v>
                </c:pt>
                <c:pt idx="443">
                  <c:v>2.1257489735218616E-8</c:v>
                </c:pt>
                <c:pt idx="444">
                  <c:v>1.7678997311135638E-8</c:v>
                </c:pt>
                <c:pt idx="445">
                  <c:v>1.4681751122245357E-8</c:v>
                </c:pt>
                <c:pt idx="446">
                  <c:v>1.2175226033277268E-8</c:v>
                </c:pt>
                <c:pt idx="447">
                  <c:v>1.0082299748415786E-8</c:v>
                </c:pt>
                <c:pt idx="448">
                  <c:v>8.337389761252002E-9</c:v>
                </c:pt>
                <c:pt idx="449">
                  <c:v>6.8848287026471088E-9</c:v>
                </c:pt>
                <c:pt idx="450">
                  <c:v>5.6774509761073793E-9</c:v>
                </c:pt>
                <c:pt idx="451">
                  <c:v>4.6753661046649047E-9</c:v>
                </c:pt>
                <c:pt idx="452">
                  <c:v>3.8448965993944765E-9</c:v>
                </c:pt>
                <c:pt idx="453">
                  <c:v>3.1576603908209734E-9</c:v>
                </c:pt>
                <c:pt idx="454">
                  <c:v>2.5897799374491725E-9</c:v>
                </c:pt>
                <c:pt idx="455">
                  <c:v>2.1212020403823238E-9</c:v>
                </c:pt>
                <c:pt idx="456">
                  <c:v>1.735114151859047E-9</c:v>
                </c:pt>
                <c:pt idx="457">
                  <c:v>1.4174445729051449E-9</c:v>
                </c:pt>
                <c:pt idx="458">
                  <c:v>1.1564353970690265E-9</c:v>
                </c:pt>
                <c:pt idx="459">
                  <c:v>9.4227838045740668E-10</c:v>
                </c:pt>
                <c:pt idx="460">
                  <c:v>7.6680511088635308E-10</c:v>
                </c:pt>
                <c:pt idx="461">
                  <c:v>6.2322391931993225E-10</c:v>
                </c:pt>
                <c:pt idx="462">
                  <c:v>5.0589693356820782E-10</c:v>
                </c:pt>
                <c:pt idx="463">
                  <c:v>4.1015152622154284E-10</c:v>
                </c:pt>
                <c:pt idx="464">
                  <c:v>3.321211646840197E-10</c:v>
                </c:pt>
                <c:pt idx="465">
                  <c:v>2.6861133939063728E-10</c:v>
                </c:pt>
                <c:pt idx="466">
                  <c:v>2.1698683498677889E-10</c:v>
                </c:pt>
                <c:pt idx="467">
                  <c:v>1.7507712615318686E-10</c:v>
                </c:pt>
                <c:pt idx="468">
                  <c:v>1.4109713216764023E-10</c:v>
                </c:pt>
                <c:pt idx="469">
                  <c:v>1.1358095901462923E-10</c:v>
                </c:pt>
                <c:pt idx="470">
                  <c:v>9.1326601196830527E-11</c:v>
                </c:pt>
                <c:pt idx="471">
                  <c:v>7.3349873172211813E-11</c:v>
                </c:pt>
                <c:pt idx="472">
                  <c:v>5.8846097844642122E-11</c:v>
                </c:pt>
                <c:pt idx="473">
                  <c:v>4.7158301594918E-11</c:v>
                </c:pt>
                <c:pt idx="474">
                  <c:v>3.7750856309117565E-11</c:v>
                </c:pt>
                <c:pt idx="475">
                  <c:v>3.0187672656645531E-11</c:v>
                </c:pt>
                <c:pt idx="476">
                  <c:v>2.4114188992503817E-11</c:v>
                </c:pt>
                <c:pt idx="477">
                  <c:v>1.9242519823553516E-11</c:v>
                </c:pt>
                <c:pt idx="478">
                  <c:v>1.5339229548959925E-11</c:v>
                </c:pt>
                <c:pt idx="479">
                  <c:v>1.2215283598155931E-11</c:v>
                </c:pt>
                <c:pt idx="480">
                  <c:v>9.7178022882134236E-12</c:v>
                </c:pt>
                <c:pt idx="481">
                  <c:v>7.723304582682628E-12</c:v>
                </c:pt>
                <c:pt idx="482">
                  <c:v>6.132181092640144E-12</c:v>
                </c:pt>
                <c:pt idx="483">
                  <c:v>4.8641795409207716E-12</c:v>
                </c:pt>
                <c:pt idx="484">
                  <c:v>3.8547227452475363E-12</c:v>
                </c:pt>
                <c:pt idx="485">
                  <c:v>3.0519100299486594E-12</c:v>
                </c:pt>
                <c:pt idx="486">
                  <c:v>2.4140787657549628E-12</c:v>
                </c:pt>
                <c:pt idx="487">
                  <c:v>1.907824249400695E-12</c:v>
                </c:pt>
                <c:pt idx="488">
                  <c:v>1.5063940424939548E-12</c:v>
                </c:pt>
                <c:pt idx="489">
                  <c:v>1.1883877666528666E-12</c:v>
                </c:pt>
                <c:pt idx="490">
                  <c:v>9.3670568781619977E-13</c:v>
                </c:pt>
                <c:pt idx="491">
                  <c:v>7.3769963152899339E-13</c:v>
                </c:pt>
                <c:pt idx="492">
                  <c:v>5.8048820372197919E-13</c:v>
                </c:pt>
                <c:pt idx="493">
                  <c:v>4.5640524420965933E-13</c:v>
                </c:pt>
                <c:pt idx="494">
                  <c:v>3.5855616218609899E-13</c:v>
                </c:pt>
                <c:pt idx="495">
                  <c:v>2.8146150384597803E-13</c:v>
                </c:pt>
                <c:pt idx="496">
                  <c:v>2.2077095740810175E-13</c:v>
                </c:pt>
                <c:pt idx="497">
                  <c:v>1.7303415699024973E-13</c:v>
                </c:pt>
                <c:pt idx="498">
                  <c:v>1.355172263577467E-13</c:v>
                </c:pt>
                <c:pt idx="499">
                  <c:v>1.0605610839872373E-13</c:v>
                </c:pt>
                <c:pt idx="500">
                  <c:v>8.2939440849072939E-14</c:v>
                </c:pt>
                <c:pt idx="501">
                  <c:v>6.4815133398398834E-14</c:v>
                </c:pt>
                <c:pt idx="502">
                  <c:v>5.0615933823371415E-14</c:v>
                </c:pt>
                <c:pt idx="503">
                  <c:v>3.9500189062087259E-14</c:v>
                </c:pt>
                <c:pt idx="504">
                  <c:v>3.080475057199662E-14</c:v>
                </c:pt>
                <c:pt idx="505">
                  <c:v>2.4007574304545055E-14</c:v>
                </c:pt>
                <c:pt idx="506">
                  <c:v>1.8698050767772176E-14</c:v>
                </c:pt>
                <c:pt idx="507">
                  <c:v>1.4553491709442751E-14</c:v>
                </c:pt>
                <c:pt idx="508">
                  <c:v>1.1320514740686602E-14</c:v>
                </c:pt>
                <c:pt idx="509">
                  <c:v>8.8003202634414421E-15</c:v>
                </c:pt>
                <c:pt idx="510">
                  <c:v>6.8370582016324611E-15</c:v>
                </c:pt>
                <c:pt idx="511">
                  <c:v>5.3086448940630763E-15</c:v>
                </c:pt>
                <c:pt idx="512">
                  <c:v>4.1195209042389222E-15</c:v>
                </c:pt>
                <c:pt idx="513">
                  <c:v>3.1949447765931308E-15</c:v>
                </c:pt>
                <c:pt idx="514">
                  <c:v>2.4765010495206614E-15</c:v>
                </c:pt>
                <c:pt idx="515">
                  <c:v>1.9185672688104065E-15</c:v>
                </c:pt>
                <c:pt idx="516">
                  <c:v>1.4855376754914441E-15</c:v>
                </c:pt>
                <c:pt idx="517">
                  <c:v>1.1496433649230605E-15</c:v>
                </c:pt>
                <c:pt idx="518">
                  <c:v>8.8924219746652077E-16</c:v>
                </c:pt>
                <c:pt idx="519">
                  <c:v>6.8747832726285864E-16</c:v>
                </c:pt>
                <c:pt idx="520">
                  <c:v>5.312323020636504E-16</c:v>
                </c:pt>
                <c:pt idx="521">
                  <c:v>4.1029939338573795E-16</c:v>
                </c:pt>
                <c:pt idx="522">
                  <c:v>3.1674703834319997E-16</c:v>
                </c:pt>
                <c:pt idx="523">
                  <c:v>2.4441272818704131E-16</c:v>
                </c:pt>
                <c:pt idx="524">
                  <c:v>1.885119351254901E-16</c:v>
                </c:pt>
                <c:pt idx="525">
                  <c:v>1.4533218371848845E-16</c:v>
                </c:pt>
                <c:pt idx="526">
                  <c:v>1.119945085110315E-16</c:v>
                </c:pt>
                <c:pt idx="527">
                  <c:v>8.6267583782930726E-17</c:v>
                </c:pt>
                <c:pt idx="528">
                  <c:v>6.6422993235815895E-17</c:v>
                </c:pt>
                <c:pt idx="529">
                  <c:v>5.1122608672594981E-17</c:v>
                </c:pt>
                <c:pt idx="530">
                  <c:v>3.9331011122574089E-17</c:v>
                </c:pt>
                <c:pt idx="531">
                  <c:v>3.024742930063728E-17</c:v>
                </c:pt>
                <c:pt idx="532">
                  <c:v>2.3252878799396175E-17</c:v>
                </c:pt>
                <c:pt idx="533">
                  <c:v>1.7869132113934148E-17</c:v>
                </c:pt>
                <c:pt idx="534">
                  <c:v>1.3726890602331813E-17</c:v>
                </c:pt>
                <c:pt idx="535">
                  <c:v>1.0541109021573463E-17</c:v>
                </c:pt>
                <c:pt idx="536">
                  <c:v>8.0918761779973839E-18</c:v>
                </c:pt>
                <c:pt idx="537">
                  <c:v>6.2096088956367289E-18</c:v>
                </c:pt>
                <c:pt idx="538">
                  <c:v>4.7635924719702356E-18</c:v>
                </c:pt>
                <c:pt idx="539">
                  <c:v>3.6531159713554253E-18</c:v>
                </c:pt>
                <c:pt idx="540">
                  <c:v>2.800618370713591E-18</c:v>
                </c:pt>
                <c:pt idx="541">
                  <c:v>2.1463921214850636E-18</c:v>
                </c:pt>
                <c:pt idx="542">
                  <c:v>1.6444922729131866E-18</c:v>
                </c:pt>
                <c:pt idx="543">
                  <c:v>1.2595782897211704E-18</c:v>
                </c:pt>
                <c:pt idx="544">
                  <c:v>9.6447707713714816E-19</c:v>
                </c:pt>
                <c:pt idx="545">
                  <c:v>7.383033929174025E-19</c:v>
                </c:pt>
                <c:pt idx="546">
                  <c:v>5.650108201801072E-19</c:v>
                </c:pt>
                <c:pt idx="547">
                  <c:v>4.3227516863118192E-19</c:v>
                </c:pt>
                <c:pt idx="548">
                  <c:v>3.3063441428375306E-19</c:v>
                </c:pt>
                <c:pt idx="549">
                  <c:v>2.5282651947531168E-19</c:v>
                </c:pt>
                <c:pt idx="550">
                  <c:v>1.9327981715055206E-19</c:v>
                </c:pt>
                <c:pt idx="551">
                  <c:v>1.4772096823084179E-19</c:v>
                </c:pt>
                <c:pt idx="552">
                  <c:v>1.1287348647030052E-19</c:v>
                </c:pt>
                <c:pt idx="553">
                  <c:v>8.6225998245646776E-20</c:v>
                </c:pt>
                <c:pt idx="554">
                  <c:v>6.5854174179339987E-20</c:v>
                </c:pt>
                <c:pt idx="555">
                  <c:v>5.0283952640301994E-20</c:v>
                </c:pt>
                <c:pt idx="556">
                  <c:v>3.8386518022609739E-20</c:v>
                </c:pt>
                <c:pt idx="557">
                  <c:v>2.9297689924684743E-20</c:v>
                </c:pt>
                <c:pt idx="558">
                  <c:v>2.2356070595312198E-20</c:v>
                </c:pt>
                <c:pt idx="559">
                  <c:v>1.7055601571805776E-20</c:v>
                </c:pt>
                <c:pt idx="560">
                  <c:v>1.3009184729920497E-20</c:v>
                </c:pt>
                <c:pt idx="561">
                  <c:v>9.9207963597757685E-21</c:v>
                </c:pt>
                <c:pt idx="562">
                  <c:v>7.5641182097308984E-21</c:v>
                </c:pt>
                <c:pt idx="563">
                  <c:v>5.7661675083226536E-21</c:v>
                </c:pt>
                <c:pt idx="564">
                  <c:v>4.3947602860155807E-21</c:v>
                </c:pt>
                <c:pt idx="565">
                  <c:v>3.3489131829217311E-21</c:v>
                </c:pt>
                <c:pt idx="566">
                  <c:v>2.5514970935662914E-21</c:v>
                </c:pt>
                <c:pt idx="567">
                  <c:v>1.9436159185852191E-21</c:v>
                </c:pt>
                <c:pt idx="568">
                  <c:v>1.4803065021776124E-21</c:v>
                </c:pt>
                <c:pt idx="569">
                  <c:v>1.1272501108204308E-21</c:v>
                </c:pt>
                <c:pt idx="570">
                  <c:v>8.5825815650707767E-22</c:v>
                </c:pt>
                <c:pt idx="571">
                  <c:v>6.5335036817935675E-22</c:v>
                </c:pt>
                <c:pt idx="572">
                  <c:v>4.9728617700297678E-22</c:v>
                </c:pt>
                <c:pt idx="573">
                  <c:v>3.7844271016414776E-22</c:v>
                </c:pt>
                <c:pt idx="574">
                  <c:v>2.8795779407399075E-22</c:v>
                </c:pt>
                <c:pt idx="575">
                  <c:v>2.1907552609462506E-22</c:v>
                </c:pt>
                <c:pt idx="576">
                  <c:v>1.6664664727727247E-22</c:v>
                </c:pt>
                <c:pt idx="577">
                  <c:v>1.2674718366107468E-22</c:v>
                </c:pt>
                <c:pt idx="578">
                  <c:v>9.638742358780058E-23</c:v>
                </c:pt>
                <c:pt idx="579">
                  <c:v>7.3289879443622991E-23</c:v>
                </c:pt>
                <c:pt idx="580">
                  <c:v>5.5719916814898029E-23</c:v>
                </c:pt>
                <c:pt idx="581">
                  <c:v>4.2356584566396086E-23</c:v>
                </c:pt>
                <c:pt idx="582">
                  <c:v>3.2194123505435475E-23</c:v>
                </c:pt>
                <c:pt idx="583">
                  <c:v>2.4466881848803789E-23</c:v>
                </c:pt>
                <c:pt idx="584">
                  <c:v>1.859208563073808E-23</c:v>
                </c:pt>
                <c:pt idx="585">
                  <c:v>1.4126226264400706E-23</c:v>
                </c:pt>
                <c:pt idx="586">
                  <c:v>1.0731831223180273E-23</c:v>
                </c:pt>
                <c:pt idx="587">
                  <c:v>8.1521503419777171E-24</c:v>
                </c:pt>
                <c:pt idx="588">
                  <c:v>6.1918754818480565E-24</c:v>
                </c:pt>
                <c:pt idx="589">
                  <c:v>4.7024580289859114E-24</c:v>
                </c:pt>
                <c:pt idx="590">
                  <c:v>3.5709296209014981E-24</c:v>
                </c:pt>
                <c:pt idx="591">
                  <c:v>2.7113916118885953E-24</c:v>
                </c:pt>
                <c:pt idx="592">
                  <c:v>2.058537216671284E-24</c:v>
                </c:pt>
                <c:pt idx="593">
                  <c:v>1.5627216056101865E-24</c:v>
                </c:pt>
                <c:pt idx="594">
                  <c:v>1.1862106205764037E-24</c:v>
                </c:pt>
                <c:pt idx="595">
                  <c:v>9.0032675479263455E-25</c:v>
                </c:pt>
                <c:pt idx="596">
                  <c:v>6.8327809617796866E-25</c:v>
                </c:pt>
                <c:pt idx="597">
                  <c:v>5.1850703607980073E-25</c:v>
                </c:pt>
                <c:pt idx="598">
                  <c:v>3.9343448235344939E-25</c:v>
                </c:pt>
                <c:pt idx="599">
                  <c:v>2.9850497834324548E-25</c:v>
                </c:pt>
                <c:pt idx="600">
                  <c:v>2.2646072252618079E-25</c:v>
                </c:pt>
                <c:pt idx="601">
                  <c:v>1.717896893265696E-25</c:v>
                </c:pt>
                <c:pt idx="602">
                  <c:v>1.3030615235865414E-25</c:v>
                </c:pt>
                <c:pt idx="603">
                  <c:v>9.8831884875908588E-26</c:v>
                </c:pt>
                <c:pt idx="604">
                  <c:v>7.4953903759448993E-26</c:v>
                </c:pt>
                <c:pt idx="605">
                  <c:v>5.6840400965290888E-26</c:v>
                </c:pt>
                <c:pt idx="606">
                  <c:v>4.3100902723828238E-26</c:v>
                </c:pt>
                <c:pt idx="607">
                  <c:v>3.2680041655989736E-26</c:v>
                </c:pt>
                <c:pt idx="608">
                  <c:v>2.4776871453041496E-26</c:v>
                </c:pt>
                <c:pt idx="609">
                  <c:v>1.8783589114619317E-26</c:v>
                </c:pt>
                <c:pt idx="610">
                  <c:v>1.4239001565583808E-26</c:v>
                </c:pt>
                <c:pt idx="611">
                  <c:v>1.0793192642220875E-26</c:v>
                </c:pt>
                <c:pt idx="612">
                  <c:v>8.1806973342486187E-27</c:v>
                </c:pt>
                <c:pt idx="613">
                  <c:v>6.2001370154941177E-27</c:v>
                </c:pt>
                <c:pt idx="614">
                  <c:v>4.6987610608726935E-27</c:v>
                </c:pt>
                <c:pt idx="615">
                  <c:v>3.5607139139581183E-27</c:v>
                </c:pt>
                <c:pt idx="616">
                  <c:v>2.698130621113545E-27</c:v>
                </c:pt>
                <c:pt idx="617">
                  <c:v>2.0443796000626517E-27</c:v>
                </c:pt>
                <c:pt idx="618">
                  <c:v>1.5489353230846927E-27</c:v>
                </c:pt>
                <c:pt idx="619">
                  <c:v>1.1734881098784566E-27</c:v>
                </c:pt>
                <c:pt idx="620">
                  <c:v>8.8899280078860277E-28</c:v>
                </c:pt>
                <c:pt idx="621">
                  <c:v>6.7342990878931455E-28</c:v>
                </c:pt>
                <c:pt idx="622">
                  <c:v>5.1010739379005559E-28</c:v>
                </c:pt>
                <c:pt idx="623">
                  <c:v>3.8637261953114993E-28</c:v>
                </c:pt>
                <c:pt idx="624">
                  <c:v>2.9263549817495954E-28</c:v>
                </c:pt>
                <c:pt idx="625">
                  <c:v>2.2162769921546898E-28</c:v>
                </c:pt>
                <c:pt idx="626">
                  <c:v>1.6784091968395808E-28</c:v>
                </c:pt>
                <c:pt idx="627">
                  <c:v>1.2710096607344786E-28</c:v>
                </c:pt>
                <c:pt idx="628">
                  <c:v>9.6244836376617504E-29</c:v>
                </c:pt>
                <c:pt idx="629">
                  <c:v>7.2875911581151834E-29</c:v>
                </c:pt>
                <c:pt idx="630">
                  <c:v>5.5178376364958864E-29</c:v>
                </c:pt>
                <c:pt idx="631">
                  <c:v>4.1776548947353522E-29</c:v>
                </c:pt>
                <c:pt idx="632">
                  <c:v>3.1628259717161641E-29</c:v>
                </c:pt>
                <c:pt idx="633">
                  <c:v>2.3944042724980307E-29</c:v>
                </c:pt>
                <c:pt idx="634">
                  <c:v>1.8125894870834079E-29</c:v>
                </c:pt>
                <c:pt idx="635">
                  <c:v>1.3720867526860106E-29</c:v>
                </c:pt>
                <c:pt idx="636">
                  <c:v>1.0385900460037133E-29</c:v>
                </c:pt>
                <c:pt idx="637">
                  <c:v>7.8611763186213742E-30</c:v>
                </c:pt>
                <c:pt idx="638">
                  <c:v>5.9499324423350978E-30</c:v>
                </c:pt>
                <c:pt idx="639">
                  <c:v>4.5031660454855774E-30</c:v>
                </c:pt>
                <c:pt idx="640">
                  <c:v>3.4080473700793795E-30</c:v>
                </c:pt>
                <c:pt idx="641">
                  <c:v>2.5791423881802686E-30</c:v>
                </c:pt>
                <c:pt idx="642">
                  <c:v>1.9517641838770486E-30</c:v>
                </c:pt>
                <c:pt idx="643">
                  <c:v>1.4769370494505734E-30</c:v>
                </c:pt>
                <c:pt idx="644">
                  <c:v>1.1175823215127483E-30</c:v>
                </c:pt>
                <c:pt idx="645">
                  <c:v>8.456297130490363E-31</c:v>
                </c:pt>
                <c:pt idx="646">
                  <c:v>6.398296897154317E-31</c:v>
                </c:pt>
                <c:pt idx="647">
                  <c:v>4.8409684261838496E-31</c:v>
                </c:pt>
                <c:pt idx="648">
                  <c:v>3.6625543498407877E-31</c:v>
                </c:pt>
                <c:pt idx="649">
                  <c:v>2.7708953654121286E-31</c:v>
                </c:pt>
                <c:pt idx="650">
                  <c:v>2.0962382602146673E-31</c:v>
                </c:pt>
                <c:pt idx="651">
                  <c:v>1.5857907239966381E-31</c:v>
                </c:pt>
                <c:pt idx="652">
                  <c:v>1.1995988873876173E-31</c:v>
                </c:pt>
                <c:pt idx="653">
                  <c:v>9.0742642238522375E-32</c:v>
                </c:pt>
                <c:pt idx="654">
                  <c:v>6.8639198292271467E-32</c:v>
                </c:pt>
                <c:pt idx="655">
                  <c:v>5.1918080015143775E-32</c:v>
                </c:pt>
                <c:pt idx="656">
                  <c:v>3.9269096095006928E-32</c:v>
                </c:pt>
                <c:pt idx="657">
                  <c:v>2.9700876247314094E-32</c:v>
                </c:pt>
                <c:pt idx="658">
                  <c:v>2.2463318143102455E-32</c:v>
                </c:pt>
                <c:pt idx="659">
                  <c:v>1.6988891773203345E-32</c:v>
                </c:pt>
                <c:pt idx="660">
                  <c:v>1.2848217834921677E-32</c:v>
                </c:pt>
                <c:pt idx="661">
                  <c:v>9.7164502747024951E-33</c:v>
                </c:pt>
                <c:pt idx="662">
                  <c:v>7.3478362520185994E-33</c:v>
                </c:pt>
                <c:pt idx="663">
                  <c:v>5.5564651450995333E-33</c:v>
                </c:pt>
                <c:pt idx="664">
                  <c:v>4.2017015045656988E-33</c:v>
                </c:pt>
                <c:pt idx="665">
                  <c:v>3.1771627336667736E-33</c:v>
                </c:pt>
                <c:pt idx="666">
                  <c:v>2.4023792444717314E-33</c:v>
                </c:pt>
                <c:pt idx="667">
                  <c:v>1.8164844988098087E-33</c:v>
                </c:pt>
                <c:pt idx="668">
                  <c:v>1.3734410444835332E-33</c:v>
                </c:pt>
                <c:pt idx="669">
                  <c:v>1.0384287801739394E-33</c:v>
                </c:pt>
                <c:pt idx="670">
                  <c:v>7.8511260030881457E-34</c:v>
                </c:pt>
                <c:pt idx="671">
                  <c:v>5.9357538273433066E-34</c:v>
                </c:pt>
                <c:pt idx="672">
                  <c:v>4.4875435878589115E-34</c:v>
                </c:pt>
                <c:pt idx="673">
                  <c:v>3.3925831687218382E-34</c:v>
                </c:pt>
                <c:pt idx="674">
                  <c:v>2.5647291470423704E-34</c:v>
                </c:pt>
                <c:pt idx="675">
                  <c:v>1.9388394443260961E-34</c:v>
                </c:pt>
                <c:pt idx="676">
                  <c:v>1.4656547224265902E-34</c:v>
                </c:pt>
                <c:pt idx="677">
                  <c:v>1.1079269615053085E-34</c:v>
                </c:pt>
                <c:pt idx="678">
                  <c:v>8.3749142802420858E-35</c:v>
                </c:pt>
                <c:pt idx="679">
                  <c:v>6.3305221595534355E-35</c:v>
                </c:pt>
                <c:pt idx="680">
                  <c:v>4.7850751192514963E-35</c:v>
                </c:pt>
                <c:pt idx="681">
                  <c:v>3.6168307701012018E-35</c:v>
                </c:pt>
                <c:pt idx="682">
                  <c:v>2.7337447091261466E-35</c:v>
                </c:pt>
                <c:pt idx="683">
                  <c:v>2.0662277675879187E-35</c:v>
                </c:pt>
                <c:pt idx="684">
                  <c:v>1.5616691615858272E-35</c:v>
                </c:pt>
                <c:pt idx="685">
                  <c:v>1.1802951064249606E-35</c:v>
                </c:pt>
                <c:pt idx="686">
                  <c:v>8.9203734601838937E-36</c:v>
                </c:pt>
                <c:pt idx="687">
                  <c:v>6.741653853139177E-36</c:v>
                </c:pt>
                <c:pt idx="688">
                  <c:v>5.0949622272006051E-36</c:v>
                </c:pt>
                <c:pt idx="689">
                  <c:v>3.8504076610598278E-36</c:v>
                </c:pt>
                <c:pt idx="690">
                  <c:v>2.9098044321492691E-36</c:v>
                </c:pt>
                <c:pt idx="691">
                  <c:v>2.198934787112182E-36</c:v>
                </c:pt>
                <c:pt idx="692">
                  <c:v>1.6616994408439831E-36</c:v>
                </c:pt>
                <c:pt idx="693">
                  <c:v>1.2556953478669861E-36</c:v>
                </c:pt>
                <c:pt idx="694">
                  <c:v>9.4887257661579579E-37</c:v>
                </c:pt>
                <c:pt idx="695">
                  <c:v>7.1700702817480021E-37</c:v>
                </c:pt>
                <c:pt idx="696">
                  <c:v>5.4178994994018082E-37</c:v>
                </c:pt>
                <c:pt idx="697">
                  <c:v>4.0938374715777575E-37</c:v>
                </c:pt>
                <c:pt idx="698">
                  <c:v>3.0933030716922075E-37</c:v>
                </c:pt>
                <c:pt idx="699">
                  <c:v>2.3372581066481359E-37</c:v>
                </c:pt>
                <c:pt idx="700">
                  <c:v>1.7659699251538691E-37</c:v>
                </c:pt>
                <c:pt idx="701">
                  <c:v>1.3342968381346019E-37</c:v>
                </c:pt>
                <c:pt idx="702">
                  <c:v>1.0081246483657458E-37</c:v>
                </c:pt>
                <c:pt idx="703">
                  <c:v>7.6167329318455876E-38</c:v>
                </c:pt>
                <c:pt idx="704">
                  <c:v>5.7546118484890025E-38</c:v>
                </c:pt>
                <c:pt idx="705">
                  <c:v>4.3476667576380615E-38</c:v>
                </c:pt>
                <c:pt idx="706">
                  <c:v>3.2846527157734458E-38</c:v>
                </c:pt>
                <c:pt idx="707">
                  <c:v>2.4815084337084914E-38</c:v>
                </c:pt>
                <c:pt idx="708">
                  <c:v>1.874714886203128E-38</c:v>
                </c:pt>
                <c:pt idx="709">
                  <c:v>1.4162762194151715E-38</c:v>
                </c:pt>
                <c:pt idx="710">
                  <c:v>1.0699267523171117E-38</c:v>
                </c:pt>
                <c:pt idx="711">
                  <c:v>8.0826461008455116E-39</c:v>
                </c:pt>
                <c:pt idx="712">
                  <c:v>6.1058565525535121E-39</c:v>
                </c:pt>
                <c:pt idx="713">
                  <c:v>4.6124665433903185E-39</c:v>
                </c:pt>
                <c:pt idx="714">
                  <c:v>3.4842839502900702E-39</c:v>
                </c:pt>
                <c:pt idx="715">
                  <c:v>2.6320104598011652E-39</c:v>
                </c:pt>
                <c:pt idx="716">
                  <c:v>1.98817916713727E-39</c:v>
                </c:pt>
                <c:pt idx="717">
                  <c:v>1.5018181252381807E-39</c:v>
                </c:pt>
                <c:pt idx="718">
                  <c:v>1.1344181205021329E-39</c:v>
                </c:pt>
                <c:pt idx="719">
                  <c:v>8.5688597488470406E-40</c:v>
                </c:pt>
                <c:pt idx="720">
                  <c:v>6.4724254055786723E-40</c:v>
                </c:pt>
                <c:pt idx="721">
                  <c:v>4.8888339424926601E-40</c:v>
                </c:pt>
                <c:pt idx="722">
                  <c:v>3.6926470802405667E-40</c:v>
                </c:pt>
                <c:pt idx="723">
                  <c:v>2.7891037803478284E-40</c:v>
                </c:pt>
                <c:pt idx="724">
                  <c:v>2.1066188751539692E-40</c:v>
                </c:pt>
                <c:pt idx="725">
                  <c:v>1.5911157020961475E-40</c:v>
                </c:pt>
                <c:pt idx="726">
                  <c:v>1.2017444183035282E-40</c:v>
                </c:pt>
                <c:pt idx="727">
                  <c:v>9.0764724536960138E-41</c:v>
                </c:pt>
                <c:pt idx="728">
                  <c:v>6.8551469407527148E-41</c:v>
                </c:pt>
                <c:pt idx="729">
                  <c:v>5.1773938301263695E-41</c:v>
                </c:pt>
                <c:pt idx="730">
                  <c:v>3.9102133880070388E-41</c:v>
                </c:pt>
                <c:pt idx="731">
                  <c:v>2.9531438411733675E-41</c:v>
                </c:pt>
                <c:pt idx="732">
                  <c:v>2.2303020935769565E-41</c:v>
                </c:pt>
                <c:pt idx="733">
                  <c:v>1.6843711447244583E-41</c:v>
                </c:pt>
                <c:pt idx="734">
                  <c:v>1.2720581472622329E-41</c:v>
                </c:pt>
                <c:pt idx="735">
                  <c:v>9.6066344393050974E-42</c:v>
                </c:pt>
                <c:pt idx="736">
                  <c:v>7.2548887068006092E-42</c:v>
                </c:pt>
                <c:pt idx="737">
                  <c:v>5.4788005553274082E-42</c:v>
                </c:pt>
                <c:pt idx="738">
                  <c:v>4.1374764203917057E-42</c:v>
                </c:pt>
                <c:pt idx="739">
                  <c:v>3.1245029057450022E-42</c:v>
                </c:pt>
                <c:pt idx="740">
                  <c:v>2.3595096087143509E-42</c:v>
                </c:pt>
                <c:pt idx="741">
                  <c:v>1.7817962429688312E-42</c:v>
                </c:pt>
                <c:pt idx="742">
                  <c:v>1.345519055901761E-42</c:v>
                </c:pt>
                <c:pt idx="743">
                  <c:v>1.0160550663641489E-42</c:v>
                </c:pt>
                <c:pt idx="744">
                  <c:v>7.6725595912501056E-43</c:v>
                </c:pt>
                <c:pt idx="745">
                  <c:v>5.7937396863449143E-43</c:v>
                </c:pt>
                <c:pt idx="746">
                  <c:v>4.3749533006471528E-43</c:v>
                </c:pt>
                <c:pt idx="747">
                  <c:v>3.3035710420561071E-43</c:v>
                </c:pt>
                <c:pt idx="748">
                  <c:v>2.4945356521797326E-43</c:v>
                </c:pt>
                <c:pt idx="749">
                  <c:v>1.8836129391523106E-43</c:v>
                </c:pt>
                <c:pt idx="750">
                  <c:v>1.4222945591946091E-43</c:v>
                </c:pt>
                <c:pt idx="751">
                  <c:v>1.0739483970468442E-43</c:v>
                </c:pt>
                <c:pt idx="752">
                  <c:v>8.1091121882084905E-44</c:v>
                </c:pt>
                <c:pt idx="753">
                  <c:v>6.122929791831581E-44</c:v>
                </c:pt>
                <c:pt idx="754">
                  <c:v>4.6231860684274246E-44</c:v>
                </c:pt>
                <c:pt idx="755">
                  <c:v>3.4907571299518212E-44</c:v>
                </c:pt>
                <c:pt idx="756">
                  <c:v>2.6356886575995702E-44</c:v>
                </c:pt>
                <c:pt idx="757">
                  <c:v>1.9900538979757561E-44</c:v>
                </c:pt>
                <c:pt idx="758">
                  <c:v>1.5025601663122257E-44</c:v>
                </c:pt>
                <c:pt idx="759">
                  <c:v>1.134475831275345E-44</c:v>
                </c:pt>
                <c:pt idx="760">
                  <c:v>8.5655452226768496E-45</c:v>
                </c:pt>
                <c:pt idx="761">
                  <c:v>6.4671242640554148E-45</c:v>
                </c:pt>
                <c:pt idx="762">
                  <c:v>4.8827430503040278E-45</c:v>
                </c:pt>
                <c:pt idx="763">
                  <c:v>3.6864898915525128E-45</c:v>
                </c:pt>
                <c:pt idx="764">
                  <c:v>2.7832920367994477E-45</c:v>
                </c:pt>
                <c:pt idx="765">
                  <c:v>2.1013630896779026E-45</c:v>
                </c:pt>
                <c:pt idx="766">
                  <c:v>1.5864999204286086E-45</c:v>
                </c:pt>
                <c:pt idx="767">
                  <c:v>1.1977762054096832E-45</c:v>
                </c:pt>
                <c:pt idx="768">
                  <c:v>9.0429060352243022E-46</c:v>
                </c:pt>
                <c:pt idx="769">
                  <c:v>6.8271131890663991E-46</c:v>
                </c:pt>
                <c:pt idx="770">
                  <c:v>5.1542202663204401E-46</c:v>
                </c:pt>
                <c:pt idx="771">
                  <c:v>3.8912189509487529E-46</c:v>
                </c:pt>
                <c:pt idx="772">
                  <c:v>2.9376849766227044E-46</c:v>
                </c:pt>
                <c:pt idx="773">
                  <c:v>2.2177963898781152E-46</c:v>
                </c:pt>
                <c:pt idx="774">
                  <c:v>1.6743068496102405E-46</c:v>
                </c:pt>
                <c:pt idx="775">
                  <c:v>1.2639951366291887E-46</c:v>
                </c:pt>
                <c:pt idx="776">
                  <c:v>9.5422931405175091E-47</c:v>
                </c:pt>
                <c:pt idx="777">
                  <c:v>7.2037252701987809E-47</c:v>
                </c:pt>
                <c:pt idx="778">
                  <c:v>5.4382428818394374E-47</c:v>
                </c:pt>
                <c:pt idx="779">
                  <c:v>4.1054159256732018E-47</c:v>
                </c:pt>
                <c:pt idx="780">
                  <c:v>3.0992232606427595E-47</c:v>
                </c:pt>
                <c:pt idx="781">
                  <c:v>2.3396221994830499E-47</c:v>
                </c:pt>
                <c:pt idx="782">
                  <c:v>1.7661834334431989E-47</c:v>
                </c:pt>
                <c:pt idx="783">
                  <c:v>1.3332853742501746E-47</c:v>
                </c:pt>
                <c:pt idx="784">
                  <c:v>1.0064858873088642E-47</c:v>
                </c:pt>
                <c:pt idx="785">
                  <c:v>7.5978298261849269E-48</c:v>
                </c:pt>
                <c:pt idx="786">
                  <c:v>5.7354667070842852E-48</c:v>
                </c:pt>
                <c:pt idx="787">
                  <c:v>4.3295755581842215E-48</c:v>
                </c:pt>
                <c:pt idx="788">
                  <c:v>3.2682801219611242E-48</c:v>
                </c:pt>
                <c:pt idx="789">
                  <c:v>2.4671220845096687E-48</c:v>
                </c:pt>
                <c:pt idx="790">
                  <c:v>1.862342086156566E-48</c:v>
                </c:pt>
                <c:pt idx="791">
                  <c:v>1.4058071636855933E-48</c:v>
                </c:pt>
                <c:pt idx="792">
                  <c:v>1.0611812127695105E-48</c:v>
                </c:pt>
                <c:pt idx="793">
                  <c:v>8.0103388469488576E-49</c:v>
                </c:pt>
                <c:pt idx="794">
                  <c:v>6.0465797513768399E-49</c:v>
                </c:pt>
                <c:pt idx="795">
                  <c:v>4.5642168862263357E-49</c:v>
                </c:pt>
                <c:pt idx="796">
                  <c:v>3.4452471255700195E-49</c:v>
                </c:pt>
                <c:pt idx="797">
                  <c:v>2.6005914443318338E-49</c:v>
                </c:pt>
                <c:pt idx="798">
                  <c:v>1.9630056571532675E-49</c:v>
                </c:pt>
                <c:pt idx="799">
                  <c:v>1.4817286244919279E-49</c:v>
                </c:pt>
                <c:pt idx="800">
                  <c:v>1.1184421211765972E-49</c:v>
                </c:pt>
              </c:numCache>
            </c:numRef>
          </c:yVal>
          <c:smooth val="0"/>
          <c:extLst>
            <c:ext xmlns:c16="http://schemas.microsoft.com/office/drawing/2014/chart" uri="{C3380CC4-5D6E-409C-BE32-E72D297353CC}">
              <c16:uniqueId val="{00000014-1D62-4DE3-8E9D-34C68BC76380}"/>
            </c:ext>
          </c:extLst>
        </c:ser>
        <c:ser>
          <c:idx val="19"/>
          <c:order val="19"/>
          <c:tx>
            <c:strRef>
              <c:f>Calc!$W$6</c:f>
              <c:strCache>
                <c:ptCount val="1"/>
                <c:pt idx="0">
                  <c:v>20</c:v>
                </c:pt>
              </c:strCache>
            </c:strRef>
          </c:tx>
          <c:spPr>
            <a:ln w="28575">
              <a:noFill/>
            </a:ln>
          </c:spPr>
          <c:marker>
            <c:symbol val="square"/>
            <c:size val="3"/>
            <c:spPr>
              <a:solidFill>
                <a:srgbClr val="FFCC00"/>
              </a:solidFill>
              <a:ln>
                <a:solidFill>
                  <a:srgbClr val="FFCC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W$7:$W$807</c:f>
              <c:numCache>
                <c:formatCode>000,000,000</c:formatCode>
                <c:ptCount val="801"/>
                <c:pt idx="0">
                  <c:v>3.1726369550894347E-21</c:v>
                </c:pt>
                <c:pt idx="1">
                  <c:v>3.5912491709944708E-21</c:v>
                </c:pt>
                <c:pt idx="2">
                  <c:v>4.0650716877378163E-21</c:v>
                </c:pt>
                <c:pt idx="3">
                  <c:v>4.6013827206895343E-21</c:v>
                </c:pt>
                <c:pt idx="4">
                  <c:v>5.2084194521969535E-21</c:v>
                </c:pt>
                <c:pt idx="5">
                  <c:v>5.8955043105155975E-21</c:v>
                </c:pt>
                <c:pt idx="6">
                  <c:v>6.6731878667083264E-21</c:v>
                </c:pt>
                <c:pt idx="7">
                  <c:v>7.5534105348159555E-21</c:v>
                </c:pt>
                <c:pt idx="8">
                  <c:v>8.5496855477490271E-21</c:v>
                </c:pt>
                <c:pt idx="9">
                  <c:v>9.677306006183745E-21</c:v>
                </c:pt>
                <c:pt idx="10">
                  <c:v>1.0953579165225309E-20</c:v>
                </c:pt>
                <c:pt idx="11">
                  <c:v>1.2398091539305145E-20</c:v>
                </c:pt>
                <c:pt idx="12">
                  <c:v>1.4033008876043876E-20</c:v>
                </c:pt>
                <c:pt idx="13">
                  <c:v>1.5883415581772509E-20</c:v>
                </c:pt>
                <c:pt idx="14">
                  <c:v>1.7977698783169257E-20</c:v>
                </c:pt>
                <c:pt idx="15">
                  <c:v>2.0347982890166695E-20</c:v>
                </c:pt>
                <c:pt idx="16">
                  <c:v>2.3030621295267899E-20</c:v>
                </c:pt>
                <c:pt idx="17">
                  <c:v>2.6066752715377178E-20</c:v>
                </c:pt>
                <c:pt idx="18">
                  <c:v>2.9502930667434703E-20</c:v>
                </c:pt>
                <c:pt idx="19">
                  <c:v>3.3391835683484041E-20</c:v>
                </c:pt>
                <c:pt idx="20">
                  <c:v>3.7793081131241948E-20</c:v>
                </c:pt>
                <c:pt idx="21">
                  <c:v>4.2774124931898731E-20</c:v>
                </c:pt>
                <c:pt idx="22">
                  <c:v>4.841130107935481E-20</c:v>
                </c:pt>
                <c:pt idx="23">
                  <c:v>5.4790986688927776E-20</c:v>
                </c:pt>
                <c:pt idx="24">
                  <c:v>6.2010922366298049E-20</c:v>
                </c:pt>
                <c:pt idx="25">
                  <c:v>7.0181706020468726E-20</c:v>
                </c:pt>
                <c:pt idx="26">
                  <c:v>7.9428482883084733E-20</c:v>
                </c:pt>
                <c:pt idx="27">
                  <c:v>8.9892857480589446E-20</c:v>
                </c:pt>
                <c:pt idx="28">
                  <c:v>1.0173505668058085E-19</c:v>
                </c:pt>
                <c:pt idx="29">
                  <c:v>1.1513637675048984E-19</c:v>
                </c:pt>
                <c:pt idx="30">
                  <c:v>1.3030195168307219E-19</c:v>
                </c:pt>
                <c:pt idx="31">
                  <c:v>1.4746388492450054E-19</c:v>
                </c:pt>
                <c:pt idx="32">
                  <c:v>1.6688479216096566E-19</c:v>
                </c:pt>
                <c:pt idx="33">
                  <c:v>1.888618090620134E-19</c:v>
                </c:pt>
                <c:pt idx="34">
                  <c:v>2.1373112493782873E-19</c:v>
                </c:pt>
                <c:pt idx="35">
                  <c:v>2.4187311124988919E-19</c:v>
                </c:pt>
                <c:pt idx="36">
                  <c:v>2.7371812294057725E-19</c:v>
                </c:pt>
                <c:pt idx="37">
                  <c:v>3.0975306075359468E-19</c:v>
                </c:pt>
                <c:pt idx="38">
                  <c:v>3.5052879425762751E-19</c:v>
                </c:pt>
                <c:pt idx="39">
                  <c:v>3.9666855833464553E-19</c:v>
                </c:pt>
                <c:pt idx="40">
                  <c:v>4.4887745064838711E-19</c:v>
                </c:pt>
                <c:pt idx="41">
                  <c:v>5.0795317429068413E-19</c:v>
                </c:pt>
                <c:pt idx="42">
                  <c:v>5.7479818866429816E-19</c:v>
                </c:pt>
                <c:pt idx="43">
                  <c:v>6.5043345298563276E-19</c:v>
                </c:pt>
                <c:pt idx="44">
                  <c:v>7.3601397089978159E-19</c:v>
                </c:pt>
                <c:pt idx="45">
                  <c:v>8.3284637195739787E-19</c:v>
                </c:pt>
                <c:pt idx="46">
                  <c:v>9.4240879651725698E-19</c:v>
                </c:pt>
                <c:pt idx="47">
                  <c:v>1.0663733854747831E-18</c:v>
                </c:pt>
                <c:pt idx="48">
                  <c:v>1.2066317155981287E-18</c:v>
                </c:pt>
                <c:pt idx="49">
                  <c:v>1.3653235657722225E-18</c:v>
                </c:pt>
                <c:pt idx="50">
                  <c:v>1.5448694497761765E-18</c:v>
                </c:pt>
                <c:pt idx="51">
                  <c:v>1.7480074081067607E-18</c:v>
                </c:pt>
                <c:pt idx="52">
                  <c:v>1.9778346156636789E-18</c:v>
                </c:pt>
                <c:pt idx="53">
                  <c:v>2.2378544347971326E-18</c:v>
                </c:pt>
                <c:pt idx="54">
                  <c:v>2.5320296253733543E-18</c:v>
                </c:pt>
                <c:pt idx="55">
                  <c:v>2.8648425163732029E-18</c:v>
                </c:pt>
                <c:pt idx="56">
                  <c:v>3.241363048491779E-18</c:v>
                </c:pt>
                <c:pt idx="57">
                  <c:v>3.6673257158270038E-18</c:v>
                </c:pt>
                <c:pt idx="58">
                  <c:v>4.1492165688085857E-18</c:v>
                </c:pt>
                <c:pt idx="59">
                  <c:v>4.6943715920282423E-18</c:v>
                </c:pt>
                <c:pt idx="60">
                  <c:v>5.3110879418602809E-18</c:v>
                </c:pt>
                <c:pt idx="61">
                  <c:v>6.0087497222606602E-18</c:v>
                </c:pt>
                <c:pt idx="62">
                  <c:v>6.7979701957992783E-18</c:v>
                </c:pt>
                <c:pt idx="63">
                  <c:v>7.6907525740774055E-18</c:v>
                </c:pt>
                <c:pt idx="64">
                  <c:v>8.7006718108998429E-18</c:v>
                </c:pt>
                <c:pt idx="65">
                  <c:v>9.8430801370710351E-18</c:v>
                </c:pt>
                <c:pt idx="66">
                  <c:v>1.1135339432175099E-17</c:v>
                </c:pt>
                <c:pt idx="67">
                  <c:v>1.2597083931491423E-17</c:v>
                </c:pt>
                <c:pt idx="68">
                  <c:v>1.4250517221285717E-17</c:v>
                </c:pt>
                <c:pt idx="69">
                  <c:v>1.6120747989881074E-17</c:v>
                </c:pt>
                <c:pt idx="70">
                  <c:v>1.8236169582799809E-17</c:v>
                </c:pt>
                <c:pt idx="71">
                  <c:v>2.0628889066509067E-17</c:v>
                </c:pt>
                <c:pt idx="72">
                  <c:v>2.3335212246655761E-17</c:v>
                </c:pt>
                <c:pt idx="73">
                  <c:v>2.6396191924141474E-17</c:v>
                </c:pt>
                <c:pt idx="74">
                  <c:v>2.9858247618406975E-17</c:v>
                </c:pt>
                <c:pt idx="75">
                  <c:v>3.3773866055875357E-17</c:v>
                </c:pt>
                <c:pt idx="76">
                  <c:v>3.8202392928497939E-17</c:v>
                </c:pt>
                <c:pt idx="77">
                  <c:v>4.321092779064198E-17</c:v>
                </c:pt>
                <c:pt idx="78">
                  <c:v>4.8875335502296711E-17</c:v>
                </c:pt>
                <c:pt idx="79">
                  <c:v>5.5281389365560846E-17</c:v>
                </c:pt>
                <c:pt idx="80">
                  <c:v>6.2526063065322188E-17</c:v>
                </c:pt>
                <c:pt idx="81">
                  <c:v>7.0718990742901946E-17</c:v>
                </c:pt>
                <c:pt idx="82">
                  <c:v>7.9984117036012642E-17</c:v>
                </c:pt>
                <c:pt idx="83">
                  <c:v>9.0461561746576474E-17</c:v>
                </c:pt>
                <c:pt idx="84">
                  <c:v>1.0230972699143808E-16</c:v>
                </c:pt>
                <c:pt idx="85">
                  <c:v>1.1570767829684604E-16</c:v>
                </c:pt>
                <c:pt idx="86">
                  <c:v>1.3085783516884268E-16</c:v>
                </c:pt>
                <c:pt idx="87">
                  <c:v>1.479890112681362E-16</c:v>
                </c:pt>
                <c:pt idx="88">
                  <c:v>1.6735984950742677E-16</c:v>
                </c:pt>
                <c:pt idx="89">
                  <c:v>1.8926270324733236E-16</c:v>
                </c:pt>
                <c:pt idx="90">
                  <c:v>2.1402802138032528E-16</c:v>
                </c:pt>
                <c:pt idx="91">
                  <c:v>2.4202930255709518E-16</c:v>
                </c:pt>
                <c:pt idx="92">
                  <c:v>2.7368869223589721E-16</c:v>
                </c:pt>
                <c:pt idx="93">
                  <c:v>3.0948330574614507E-16</c:v>
                </c:pt>
                <c:pt idx="94">
                  <c:v>3.4995237129143232E-16</c:v>
                </c:pt>
                <c:pt idx="95">
                  <c:v>3.9570529893165705E-16</c:v>
                </c:pt>
                <c:pt idx="96">
                  <c:v>4.474307952550696E-16</c:v>
                </c:pt>
                <c:pt idx="97">
                  <c:v>5.0590715887871132E-16</c:v>
                </c:pt>
                <c:pt idx="98">
                  <c:v>5.7201390932435798E-16</c:v>
                </c:pt>
                <c:pt idx="99">
                  <c:v>6.4674492145979089E-16</c:v>
                </c:pt>
                <c:pt idx="100">
                  <c:v>7.3122325985807769E-16</c:v>
                </c:pt>
                <c:pt idx="101">
                  <c:v>8.2671793243154909E-16</c:v>
                </c:pt>
                <c:pt idx="102">
                  <c:v>9.3466281090614734E-16</c:v>
                </c:pt>
                <c:pt idx="103">
                  <c:v>1.056677997523075E-15</c:v>
                </c:pt>
                <c:pt idx="104">
                  <c:v>1.1945939532506629E-15</c:v>
                </c:pt>
                <c:pt idx="105">
                  <c:v>1.3504787432771669E-15</c:v>
                </c:pt>
                <c:pt idx="106">
                  <c:v>1.5266688012215229E-15</c:v>
                </c:pt>
                <c:pt idx="107">
                  <c:v>1.7258036650009842E-15</c:v>
                </c:pt>
                <c:pt idx="108">
                  <c:v>1.9508651953763736E-15</c:v>
                </c:pt>
                <c:pt idx="109">
                  <c:v>2.2052218536904116E-15</c:v>
                </c:pt>
                <c:pt idx="110">
                  <c:v>2.4926786891678531E-15</c:v>
                </c:pt>
                <c:pt idx="111">
                  <c:v>2.8175337694149693E-15</c:v>
                </c:pt>
                <c:pt idx="112">
                  <c:v>3.184641881635603E-15</c:v>
                </c:pt>
                <c:pt idx="113">
                  <c:v>3.5994864379187809E-15</c:v>
                </c:pt>
                <c:pt idx="114">
                  <c:v>4.0682606372577541E-15</c:v>
                </c:pt>
                <c:pt idx="115">
                  <c:v>4.5979590714426984E-15</c:v>
                </c:pt>
                <c:pt idx="116">
                  <c:v>5.1964811135426152E-15</c:v>
                </c:pt>
                <c:pt idx="117">
                  <c:v>5.8727475985204766E-15</c:v>
                </c:pt>
                <c:pt idx="118">
                  <c:v>6.636832498036906E-15</c:v>
                </c:pt>
                <c:pt idx="119">
                  <c:v>7.5001115084276441E-15</c:v>
                </c:pt>
                <c:pt idx="120">
                  <c:v>8.4754297152703196E-15</c:v>
                </c:pt>
                <c:pt idx="121">
                  <c:v>9.577290773340096E-15</c:v>
                </c:pt>
                <c:pt idx="122">
                  <c:v>1.0822070351002926E-14</c:v>
                </c:pt>
                <c:pt idx="123">
                  <c:v>1.2228256937570916E-14</c:v>
                </c:pt>
                <c:pt idx="124">
                  <c:v>1.3816723505799724E-14</c:v>
                </c:pt>
                <c:pt idx="125">
                  <c:v>1.5611033965057011E-14</c:v>
                </c:pt>
                <c:pt idx="126">
                  <c:v>1.7637788839999282E-14</c:v>
                </c:pt>
                <c:pt idx="127">
                  <c:v>1.9927015171834407E-14</c:v>
                </c:pt>
                <c:pt idx="128">
                  <c:v>2.2512606272325842E-14</c:v>
                </c:pt>
                <c:pt idx="129">
                  <c:v>2.5432817673446569E-14</c:v>
                </c:pt>
                <c:pt idx="130">
                  <c:v>2.8730826417976206E-14</c:v>
                </c:pt>
                <c:pt idx="131">
                  <c:v>3.245536173953348E-14</c:v>
                </c:pt>
                <c:pt idx="132">
                  <c:v>3.6661416197110171E-14</c:v>
                </c:pt>
                <c:pt idx="133">
                  <c:v>4.1411047473245727E-14</c:v>
                </c:pt>
                <c:pt idx="134">
                  <c:v>4.6774282332389879E-14</c:v>
                </c:pt>
                <c:pt idx="135">
                  <c:v>5.2830135684572189E-14</c:v>
                </c:pt>
                <c:pt idx="136">
                  <c:v>5.9667759329210771E-14</c:v>
                </c:pt>
                <c:pt idx="137">
                  <c:v>6.7387736787204103E-14</c:v>
                </c:pt>
                <c:pt idx="138">
                  <c:v>7.6103542691561329E-14</c:v>
                </c:pt>
                <c:pt idx="139">
                  <c:v>8.594318752601683E-14</c:v>
                </c:pt>
                <c:pt idx="140">
                  <c:v>9.7051071109103884E-14</c:v>
                </c:pt>
                <c:pt idx="141">
                  <c:v>1.0959007115362393E-13</c:v>
                </c:pt>
                <c:pt idx="142">
                  <c:v>1.2374389652832195E-13</c:v>
                </c:pt>
                <c:pt idx="143">
                  <c:v>1.3971973855467215E-13</c:v>
                </c:pt>
                <c:pt idx="144">
                  <c:v>1.5775125783724855E-13</c:v>
                </c:pt>
                <c:pt idx="145">
                  <c:v>1.7810194880758E-13</c:v>
                </c:pt>
                <c:pt idx="146">
                  <c:v>2.0106892942181262E-13</c:v>
                </c:pt>
                <c:pt idx="147">
                  <c:v>2.2698720936277617E-13</c:v>
                </c:pt>
                <c:pt idx="148">
                  <c:v>2.562344967365117E-13</c:v>
                </c:pt>
                <c:pt idx="149">
                  <c:v>2.8923661071085034E-13</c:v>
                </c:pt>
                <c:pt idx="150">
                  <c:v>3.2647357591888378E-13</c:v>
                </c:pt>
                <c:pt idx="151">
                  <c:v>3.6848648385462536E-13</c:v>
                </c:pt>
                <c:pt idx="152">
                  <c:v>4.1588521704677607E-13</c:v>
                </c:pt>
                <c:pt idx="153">
                  <c:v>4.6935714364899218E-13</c:v>
                </c:pt>
                <c:pt idx="154">
                  <c:v>5.2967690338798532E-13</c:v>
                </c:pt>
                <c:pt idx="155">
                  <c:v>5.9771742073927953E-13</c:v>
                </c:pt>
                <c:pt idx="156">
                  <c:v>6.7446229795020812E-13</c:v>
                </c:pt>
                <c:pt idx="157">
                  <c:v>7.6101975932002388E-13</c:v>
                </c:pt>
                <c:pt idx="158">
                  <c:v>8.5863833922282417E-13</c:v>
                </c:pt>
                <c:pt idx="159">
                  <c:v>9.6872452999380823E-13</c:v>
                </c:pt>
                <c:pt idx="160">
                  <c:v>1.0928626322999571E-12</c:v>
                </c:pt>
                <c:pt idx="161">
                  <c:v>1.2328370803235924E-12</c:v>
                </c:pt>
                <c:pt idx="162">
                  <c:v>1.3906575473844041E-12</c:v>
                </c:pt>
                <c:pt idx="163">
                  <c:v>1.5685871749380431E-12</c:v>
                </c:pt>
                <c:pt idx="164">
                  <c:v>1.7691743096941303E-12</c:v>
                </c:pt>
                <c:pt idx="165">
                  <c:v>1.9952881804247751E-12</c:v>
                </c:pt>
                <c:pt idx="166">
                  <c:v>2.2501589984790883E-12</c:v>
                </c:pt>
                <c:pt idx="167">
                  <c:v>2.5374230247420061E-12</c:v>
                </c:pt>
                <c:pt idx="168">
                  <c:v>2.8611732115132287E-12</c:v>
                </c:pt>
                <c:pt idx="169">
                  <c:v>3.2260161013577008E-12</c:v>
                </c:pt>
                <c:pt idx="170">
                  <c:v>3.6371357473081099E-12</c:v>
                </c:pt>
                <c:pt idx="171">
                  <c:v>4.1003655109024118E-12</c:v>
                </c:pt>
                <c:pt idx="172">
                  <c:v>4.6222686975540458E-12</c:v>
                </c:pt>
                <c:pt idx="173">
                  <c:v>5.2102291039407308E-12</c:v>
                </c:pt>
                <c:pt idx="174">
                  <c:v>5.8725526808709507E-12</c:v>
                </c:pt>
                <c:pt idx="175">
                  <c:v>6.6185816590089759E-12</c:v>
                </c:pt>
                <c:pt idx="176">
                  <c:v>7.4588226456518506E-12</c:v>
                </c:pt>
                <c:pt idx="177">
                  <c:v>8.4050903803889414E-12</c:v>
                </c:pt>
                <c:pt idx="178">
                  <c:v>9.4706690380911429E-12</c:v>
                </c:pt>
                <c:pt idx="179">
                  <c:v>1.0670493191652579E-11</c:v>
                </c:pt>
                <c:pt idx="180">
                  <c:v>1.2021350796905245E-11</c:v>
                </c:pt>
                <c:pt idx="181">
                  <c:v>1.3542110841073457E-11</c:v>
                </c:pt>
                <c:pt idx="182">
                  <c:v>1.5253978607312059E-11</c:v>
                </c:pt>
                <c:pt idx="183">
                  <c:v>1.7180781854873325E-11</c:v>
                </c:pt>
                <c:pt idx="184">
                  <c:v>1.9349291601306927E-11</c:v>
                </c:pt>
                <c:pt idx="185">
                  <c:v>2.178958162423024E-11</c:v>
                </c:pt>
                <c:pt idx="186">
                  <c:v>2.4535431280543519E-11</c:v>
                </c:pt>
                <c:pt idx="187">
                  <c:v>2.7624776775933163E-11</c:v>
                </c:pt>
                <c:pt idx="188">
                  <c:v>3.1100216613124297E-11</c:v>
                </c:pt>
                <c:pt idx="189">
                  <c:v>3.5009577610248767E-11</c:v>
                </c:pt>
                <c:pt idx="190">
                  <c:v>3.9406548618235036E-11</c:v>
                </c:pt>
                <c:pt idx="191">
                  <c:v>4.4351389886387106E-11</c:v>
                </c:pt>
                <c:pt idx="192">
                  <c:v>4.9911726937259307E-11</c:v>
                </c:pt>
                <c:pt idx="193">
                  <c:v>5.6163438825386636E-11</c:v>
                </c:pt>
                <c:pt idx="194">
                  <c:v>6.3191651780257985E-11</c:v>
                </c:pt>
                <c:pt idx="195">
                  <c:v>7.1091850484082682E-11</c:v>
                </c:pt>
                <c:pt idx="196">
                  <c:v>7.9971120622538142E-11</c:v>
                </c:pt>
                <c:pt idx="197">
                  <c:v>8.9949537886266881E-11</c:v>
                </c:pt>
                <c:pt idx="198">
                  <c:v>1.0116172030829355E-10</c:v>
                </c:pt>
                <c:pt idx="199">
                  <c:v>1.1375856271519319E-10</c:v>
                </c:pt>
                <c:pt idx="200">
                  <c:v>1.2790917416689881E-10</c:v>
                </c:pt>
                <c:pt idx="201">
                  <c:v>1.4380304158245938E-10</c:v>
                </c:pt>
                <c:pt idx="202">
                  <c:v>1.6165244531974671E-10</c:v>
                </c:pt>
                <c:pt idx="203">
                  <c:v>1.8169515532126757E-10</c:v>
                </c:pt>
                <c:pt idx="204">
                  <c:v>2.0419743958324955E-10</c:v>
                </c:pt>
                <c:pt idx="205">
                  <c:v>2.2945742018098584E-10</c:v>
                </c:pt>
                <c:pt idx="206">
                  <c:v>2.5780881592284261E-10</c:v>
                </c:pt>
                <c:pt idx="207">
                  <c:v>2.8962511494378565E-10</c:v>
                </c:pt>
                <c:pt idx="208">
                  <c:v>3.2532422522581635E-10</c:v>
                </c:pt>
                <c:pt idx="209">
                  <c:v>3.6537365618910801E-10</c:v>
                </c:pt>
                <c:pt idx="210">
                  <c:v>4.1029629018005901E-10</c:v>
                </c:pt>
                <c:pt idx="211">
                  <c:v>4.6067680894015505E-10</c:v>
                </c:pt>
                <c:pt idx="212">
                  <c:v>5.1716884702654505E-10</c:v>
                </c:pt>
                <c:pt idx="213">
                  <c:v>5.805029517295073E-10</c:v>
                </c:pt>
                <c:pt idx="214">
                  <c:v>6.5149543735609763E-10</c:v>
                </c:pt>
                <c:pt idx="215">
                  <c:v>7.310582308914867E-10</c:v>
                </c:pt>
                <c:pt idx="216">
                  <c:v>8.2020981608166811E-10</c:v>
                </c:pt>
                <c:pt idx="217">
                  <c:v>9.2008739398245396E-10</c:v>
                </c:pt>
                <c:pt idx="218">
                  <c:v>1.0319603900733843E-9</c:v>
                </c:pt>
                <c:pt idx="219">
                  <c:v>1.1572454512310293E-9</c:v>
                </c:pt>
                <c:pt idx="220">
                  <c:v>1.2975230902903015E-9</c:v>
                </c:pt>
                <c:pt idx="221">
                  <c:v>1.4545561516970318E-9</c:v>
                </c:pt>
                <c:pt idx="222">
                  <c:v>1.6303102889777071E-9</c:v>
                </c:pt>
                <c:pt idx="223">
                  <c:v>1.8269766635400911E-9</c:v>
                </c:pt>
                <c:pt idx="224">
                  <c:v>2.0469970947900707E-9</c:v>
                </c:pt>
                <c:pt idx="225">
                  <c:v>2.2930919138369344E-9</c:v>
                </c:pt>
                <c:pt idx="226">
                  <c:v>2.5682907972927556E-9</c:v>
                </c:pt>
                <c:pt idx="227">
                  <c:v>2.8759668839952262E-9</c:v>
                </c:pt>
                <c:pt idx="228">
                  <c:v>3.2198745060411918E-9</c:v>
                </c:pt>
                <c:pt idx="229">
                  <c:v>3.6041908964645519E-9</c:v>
                </c:pt>
                <c:pt idx="230">
                  <c:v>4.0335622693826923E-9</c:v>
                </c:pt>
                <c:pt idx="231">
                  <c:v>4.5131547046310949E-9</c:v>
                </c:pt>
                <c:pt idx="232">
                  <c:v>5.0487103079711877E-9</c:v>
                </c:pt>
                <c:pt idx="233">
                  <c:v>5.6466091600560284E-9</c:v>
                </c:pt>
                <c:pt idx="234">
                  <c:v>6.3139376126397733E-9</c:v>
                </c:pt>
                <c:pt idx="235">
                  <c:v>7.0585635391829818E-9</c:v>
                </c:pt>
                <c:pt idx="236">
                  <c:v>7.8892191991981501E-9</c:v>
                </c:pt>
                <c:pt idx="237">
                  <c:v>8.8155924315540189E-9</c:v>
                </c:pt>
                <c:pt idx="238">
                  <c:v>9.8484269516564701E-9</c:v>
                </c:pt>
                <c:pt idx="239">
                  <c:v>1.0999632591083677E-8</c:v>
                </c:pt>
                <c:pt idx="240">
                  <c:v>1.2282406385989115E-8</c:v>
                </c:pt>
                <c:pt idx="241">
                  <c:v>1.3711365492491958E-8</c:v>
                </c:pt>
                <c:pt idx="242">
                  <c:v>1.5302692983426903E-8</c:v>
                </c:pt>
                <c:pt idx="243">
                  <c:v>1.7074297661250213E-8</c:v>
                </c:pt>
                <c:pt idx="244">
                  <c:v>1.9045989106609403E-8</c:v>
                </c:pt>
                <c:pt idx="245">
                  <c:v>2.1239669271027889E-8</c:v>
                </c:pt>
                <c:pt idx="246">
                  <c:v>2.3679542015228644E-8</c:v>
                </c:pt>
                <c:pt idx="247">
                  <c:v>2.6392342091675685E-8</c:v>
                </c:pt>
                <c:pt idx="248">
                  <c:v>2.9407585170700397E-8</c:v>
                </c:pt>
                <c:pt idx="249">
                  <c:v>3.2757840613793025E-8</c:v>
                </c:pt>
                <c:pt idx="250">
                  <c:v>3.6479028804866033E-8</c:v>
                </c:pt>
                <c:pt idx="251">
                  <c:v>4.0610744960009245E-8</c:v>
                </c:pt>
                <c:pt idx="252">
                  <c:v>4.5196611447830239E-8</c:v>
                </c:pt>
                <c:pt idx="253">
                  <c:v>5.0284660765114208E-8</c:v>
                </c:pt>
                <c:pt idx="254">
                  <c:v>5.5927751425332717E-8</c:v>
                </c:pt>
                <c:pt idx="255">
                  <c:v>6.2184019129364601E-8</c:v>
                </c:pt>
                <c:pt idx="256">
                  <c:v>6.9117365697412951E-8</c:v>
                </c:pt>
                <c:pt idx="257">
                  <c:v>7.679798834697497E-8</c:v>
                </c:pt>
                <c:pt idx="258">
                  <c:v>8.5302952002188989E-8</c:v>
                </c:pt>
                <c:pt idx="259">
                  <c:v>9.4716807412941322E-8</c:v>
                </c:pt>
                <c:pt idx="260">
                  <c:v>1.0513225794560141E-7</c:v>
                </c:pt>
                <c:pt idx="261">
                  <c:v>1.1665087797858997E-7</c:v>
                </c:pt>
                <c:pt idx="262">
                  <c:v>1.2938388589249103E-7</c:v>
                </c:pt>
                <c:pt idx="263">
                  <c:v>1.4345297468283632E-7</c:v>
                </c:pt>
                <c:pt idx="264">
                  <c:v>1.5899120324067877E-7</c:v>
                </c:pt>
                <c:pt idx="265">
                  <c:v>1.7614395133776762E-7</c:v>
                </c:pt>
                <c:pt idx="266">
                  <c:v>1.9506994131538378E-7</c:v>
                </c:pt>
                <c:pt idx="267">
                  <c:v>2.1594232940409651E-7</c:v>
                </c:pt>
                <c:pt idx="268">
                  <c:v>2.3894986949107879E-7</c:v>
                </c:pt>
                <c:pt idx="269">
                  <c:v>2.6429815199660903E-7</c:v>
                </c:pt>
                <c:pt idx="270">
                  <c:v>2.9221092031657957E-7</c:v>
                </c:pt>
                <c:pt idx="271">
                  <c:v>3.2293146702695854E-7</c:v>
                </c:pt>
                <c:pt idx="272">
                  <c:v>3.5672411172291103E-7</c:v>
                </c:pt>
                <c:pt idx="273">
                  <c:v>3.9387576197292561E-7</c:v>
                </c:pt>
                <c:pt idx="274">
                  <c:v>4.3469755839980387E-7</c:v>
                </c:pt>
                <c:pt idx="275">
                  <c:v>4.7952660434850977E-7</c:v>
                </c:pt>
                <c:pt idx="276">
                  <c:v>5.2872777995825884E-7</c:v>
                </c:pt>
                <c:pt idx="277">
                  <c:v>5.8269563971526914E-7</c:v>
                </c:pt>
                <c:pt idx="278">
                  <c:v>6.4185639171595379E-7</c:v>
                </c:pt>
                <c:pt idx="279">
                  <c:v>7.0666995591035714E-7</c:v>
                </c:pt>
                <c:pt idx="280">
                  <c:v>7.7763209751549244E-7</c:v>
                </c:pt>
                <c:pt idx="281">
                  <c:v>8.5527663058086261E-7</c:v>
                </c:pt>
                <c:pt idx="282">
                  <c:v>9.4017768534776479E-7</c:v>
                </c:pt>
                <c:pt idx="283">
                  <c:v>1.0329520315645626E-6</c:v>
                </c:pt>
                <c:pt idx="284">
                  <c:v>1.1342614482973151E-6</c:v>
                </c:pt>
                <c:pt idx="285">
                  <c:v>1.2448151290057601E-6</c:v>
                </c:pt>
                <c:pt idx="286">
                  <c:v>1.3653721087366225E-6</c:v>
                </c:pt>
                <c:pt idx="287">
                  <c:v>1.4967436982198431E-6</c:v>
                </c:pt>
                <c:pt idx="288">
                  <c:v>1.6397959074394975E-6</c:v>
                </c:pt>
                <c:pt idx="289">
                  <c:v>1.7954518388953119E-6</c:v>
                </c:pt>
                <c:pt idx="290">
                  <c:v>1.9646940282786751E-6</c:v>
                </c:pt>
                <c:pt idx="291">
                  <c:v>2.1485667076687915E-6</c:v>
                </c:pt>
                <c:pt idx="292">
                  <c:v>2.3481779636239414E-6</c:v>
                </c:pt>
                <c:pt idx="293">
                  <c:v>2.5647017597155615E-6</c:v>
                </c:pt>
                <c:pt idx="294">
                  <c:v>2.7993797901505266E-6</c:v>
                </c:pt>
                <c:pt idx="295">
                  <c:v>3.0535231281745452E-6</c:v>
                </c:pt>
                <c:pt idx="296">
                  <c:v>3.3285136299763827E-6</c:v>
                </c:pt>
                <c:pt idx="297">
                  <c:v>3.6258050518539819E-6</c:v>
                </c:pt>
                <c:pt idx="298">
                  <c:v>3.9469238354986225E-6</c:v>
                </c:pt>
                <c:pt idx="299">
                  <c:v>4.2934695134471211E-6</c:v>
                </c:pt>
                <c:pt idx="300">
                  <c:v>4.6671146840955293E-6</c:v>
                </c:pt>
                <c:pt idx="301">
                  <c:v>5.0696045032159278E-6</c:v>
                </c:pt>
                <c:pt idx="302">
                  <c:v>5.5027556367318912E-6</c:v>
                </c:pt>
                <c:pt idx="303">
                  <c:v>5.9684546176547579E-6</c:v>
                </c:pt>
                <c:pt idx="304">
                  <c:v>6.4686555486311909E-6</c:v>
                </c:pt>
                <c:pt idx="305">
                  <c:v>7.0053770905796208E-6</c:v>
                </c:pt>
                <c:pt idx="306">
                  <c:v>7.5806986774762742E-6</c:v>
                </c:pt>
                <c:pt idx="307">
                  <c:v>8.1967558975728768E-6</c:v>
                </c:pt>
                <c:pt idx="308">
                  <c:v>8.8557349822705277E-6</c:v>
                </c:pt>
                <c:pt idx="309">
                  <c:v>9.5598663456231443E-6</c:v>
                </c:pt>
                <c:pt idx="310">
                  <c:v>1.0311417120081539E-5</c:v>
                </c:pt>
                <c:pt idx="311">
                  <c:v>1.1112682637697027E-5</c:v>
                </c:pt>
                <c:pt idx="312">
                  <c:v>1.196597681065999E-5</c:v>
                </c:pt>
                <c:pt idx="313">
                  <c:v>1.2873621370826898E-5</c:v>
                </c:pt>
                <c:pt idx="314">
                  <c:v>1.383793393484736E-5</c:v>
                </c:pt>
                <c:pt idx="315">
                  <c:v>1.4861214869703985E-5</c:v>
                </c:pt>
                <c:pt idx="316">
                  <c:v>1.5945732942955247E-5</c:v>
                </c:pt>
                <c:pt idx="317">
                  <c:v>1.7093709752758526E-5</c:v>
                </c:pt>
                <c:pt idx="318">
                  <c:v>1.8307302944851557E-5</c:v>
                </c:pt>
                <c:pt idx="319">
                  <c:v>1.9588588237082243E-5</c:v>
                </c:pt>
                <c:pt idx="320">
                  <c:v>2.0939540286760796E-5</c:v>
                </c:pt>
                <c:pt idx="321">
                  <c:v>2.2362012452015866E-5</c:v>
                </c:pt>
                <c:pt idx="322">
                  <c:v>2.3857715515377618E-5</c:v>
                </c:pt>
                <c:pt idx="323">
                  <c:v>2.542819545588197E-5</c:v>
                </c:pt>
                <c:pt idx="324">
                  <c:v>2.7074810374952508E-5</c:v>
                </c:pt>
                <c:pt idx="325">
                  <c:v>2.8798706700988013E-5</c:v>
                </c:pt>
                <c:pt idx="326">
                  <c:v>3.0600794817782152E-5</c:v>
                </c:pt>
                <c:pt idx="327">
                  <c:v>3.2481724282371467E-5</c:v>
                </c:pt>
                <c:pt idx="328">
                  <c:v>3.44418588184087E-5</c:v>
                </c:pt>
                <c:pt idx="329">
                  <c:v>3.6481251291378689E-5</c:v>
                </c:pt>
                <c:pt idx="330">
                  <c:v>3.8599618891597382E-5</c:v>
                </c:pt>
                <c:pt idx="331">
                  <c:v>4.0796318769630829E-5</c:v>
                </c:pt>
                <c:pt idx="332">
                  <c:v>4.3070324386148503E-5</c:v>
                </c:pt>
                <c:pt idx="333">
                  <c:v>4.5420202853927851E-5</c:v>
                </c:pt>
                <c:pt idx="334">
                  <c:v>4.7844093563336411E-5</c:v>
                </c:pt>
                <c:pt idx="335">
                  <c:v>5.0339688393762594E-5</c:v>
                </c:pt>
                <c:pt idx="336">
                  <c:v>5.2904213821722345E-5</c:v>
                </c:pt>
                <c:pt idx="337">
                  <c:v>5.5534415241367956E-5</c:v>
                </c:pt>
                <c:pt idx="338">
                  <c:v>5.822654381449936E-5</c:v>
                </c:pt>
                <c:pt idx="339">
                  <c:v>6.0976346164554453E-5</c:v>
                </c:pt>
                <c:pt idx="340">
                  <c:v>6.3779057222175173E-5</c:v>
                </c:pt>
                <c:pt idx="341">
                  <c:v>6.6629396518495693E-5</c:v>
                </c:pt>
                <c:pt idx="342">
                  <c:v>6.9521568206095714E-5</c:v>
                </c:pt>
                <c:pt idx="343">
                  <c:v>7.2449265066451383E-5</c:v>
                </c:pt>
                <c:pt idx="344">
                  <c:v>7.5405676736612116E-5</c:v>
                </c:pt>
                <c:pt idx="345">
                  <c:v>7.8383502356730973E-5</c:v>
                </c:pt>
                <c:pt idx="346">
                  <c:v>8.1374967804081068E-5</c:v>
                </c:pt>
                <c:pt idx="347">
                  <c:v>8.4371847638431703E-5</c:v>
                </c:pt>
                <c:pt idx="348">
                  <c:v>8.7365491838441707E-5</c:v>
                </c:pt>
                <c:pt idx="349">
                  <c:v>9.0346857359397702E-5</c:v>
                </c:pt>
                <c:pt idx="350">
                  <c:v>9.330654448961479E-5</c:v>
                </c:pt>
                <c:pt idx="351">
                  <c:v>9.6234837926728045E-5</c:v>
                </c:pt>
                <c:pt idx="352">
                  <c:v>9.912175243651937E-5</c:v>
                </c:pt>
                <c:pt idx="353">
                  <c:v>1.0195708289663103E-4</c:v>
                </c:pt>
                <c:pt idx="354">
                  <c:v>1.0473045846626221E-4</c:v>
                </c:pt>
                <c:pt idx="355">
                  <c:v>1.074314005616573E-4</c:v>
                </c:pt>
                <c:pt idx="356">
                  <c:v>1.1004938425675063E-4</c:v>
                </c:pt>
                <c:pt idx="357">
                  <c:v>1.1257390266975898E-4</c:v>
                </c:pt>
                <c:pt idx="358">
                  <c:v>1.1499453384073857E-4</c:v>
                </c:pt>
                <c:pt idx="359">
                  <c:v>1.1730100955321521E-4</c:v>
                </c:pt>
                <c:pt idx="360">
                  <c:v>1.1948328550591201E-4</c:v>
                </c:pt>
                <c:pt idx="361">
                  <c:v>1.2153161219929954E-4</c:v>
                </c:pt>
                <c:pt idx="362">
                  <c:v>1.234366058671132E-4</c:v>
                </c:pt>
                <c:pt idx="363">
                  <c:v>1.2518931875594758E-4</c:v>
                </c:pt>
                <c:pt idx="364">
                  <c:v>1.2678130803730087E-4</c:v>
                </c:pt>
                <c:pt idx="365">
                  <c:v>1.2820470262665234E-4</c:v>
                </c:pt>
                <c:pt idx="366">
                  <c:v>1.2945226718382539E-4</c:v>
                </c:pt>
                <c:pt idx="367">
                  <c:v>1.305174625784131E-4</c:v>
                </c:pt>
                <c:pt idx="368">
                  <c:v>1.31394502123571E-4</c:v>
                </c:pt>
                <c:pt idx="369">
                  <c:v>1.3207840291119588E-4</c:v>
                </c:pt>
                <c:pt idx="370">
                  <c:v>1.3256503162114154E-4</c:v>
                </c:pt>
                <c:pt idx="371">
                  <c:v>1.3285114422648345E-4</c:v>
                </c:pt>
                <c:pt idx="372">
                  <c:v>1.3293441907539849E-4</c:v>
                </c:pt>
                <c:pt idx="373">
                  <c:v>1.328134828973551E-4</c:v>
                </c:pt>
                <c:pt idx="374">
                  <c:v>1.3248792935614912E-4</c:v>
                </c:pt>
                <c:pt idx="375">
                  <c:v>1.3195832985395226E-4</c:v>
                </c:pt>
                <c:pt idx="376">
                  <c:v>1.3122623637774623E-4</c:v>
                </c:pt>
                <c:pt idx="377">
                  <c:v>1.302941762711834E-4</c:v>
                </c:pt>
                <c:pt idx="378">
                  <c:v>1.2916563890952502E-4</c:v>
                </c:pt>
                <c:pt idx="379">
                  <c:v>1.2784505435158385E-4</c:v>
                </c:pt>
                <c:pt idx="380">
                  <c:v>1.2633776413892525E-4</c:v>
                </c:pt>
                <c:pt idx="381">
                  <c:v>1.2464998450755629E-4</c:v>
                </c:pt>
                <c:pt idx="382">
                  <c:v>1.2278876236932043E-4</c:v>
                </c:pt>
                <c:pt idx="383">
                  <c:v>1.207619245078778E-4</c:v>
                </c:pt>
                <c:pt idx="384">
                  <c:v>1.1857802051596535E-4</c:v>
                </c:pt>
                <c:pt idx="385">
                  <c:v>1.1624626007529681E-4</c:v>
                </c:pt>
                <c:pt idx="386">
                  <c:v>1.1377644524683998E-4</c:v>
                </c:pt>
                <c:pt idx="387">
                  <c:v>1.1117889849613901E-4</c:v>
                </c:pt>
                <c:pt idx="388">
                  <c:v>1.0846438722498715E-4</c:v>
                </c:pt>
                <c:pt idx="389">
                  <c:v>1.0564404561642229E-4</c:v>
                </c:pt>
                <c:pt idx="390">
                  <c:v>1.0272929462407496E-4</c:v>
                </c:pt>
                <c:pt idx="391">
                  <c:v>9.9731760949211192E-5</c:v>
                </c:pt>
                <c:pt idx="392">
                  <c:v>9.6663195849115645E-5</c:v>
                </c:pt>
                <c:pt idx="393">
                  <c:v>9.3535394608997772E-5</c:v>
                </c:pt>
                <c:pt idx="394">
                  <c:v>9.0360117486631828E-5</c:v>
                </c:pt>
                <c:pt idx="395">
                  <c:v>8.7149012905057043E-5</c:v>
                </c:pt>
                <c:pt idx="396">
                  <c:v>8.3913543624500526E-5</c:v>
                </c:pt>
                <c:pt idx="397">
                  <c:v>8.0664916571259712E-5</c:v>
                </c:pt>
                <c:pt idx="398">
                  <c:v>7.7414016939513947E-5</c:v>
                </c:pt>
                <c:pt idx="399">
                  <c:v>7.4171347113215807E-5</c:v>
                </c:pt>
                <c:pt idx="400">
                  <c:v>7.0946970880528013E-5</c:v>
                </c:pt>
                <c:pt idx="401">
                  <c:v>6.7750463334156463E-5</c:v>
                </c:pt>
                <c:pt idx="402">
                  <c:v>6.4590866768714884E-5</c:v>
                </c:pt>
                <c:pt idx="403">
                  <c:v>6.1476652802411593E-5</c:v>
                </c:pt>
                <c:pt idx="404">
                  <c:v>5.8415690866233127E-5</c:v>
                </c:pt>
                <c:pt idx="405">
                  <c:v>5.5415223120819906E-5</c:v>
                </c:pt>
                <c:pt idx="406">
                  <c:v>5.2481845780628728E-5</c:v>
                </c:pt>
                <c:pt idx="407">
                  <c:v>4.9621496748011348E-5</c:v>
                </c:pt>
                <c:pt idx="408">
                  <c:v>4.6839449387555153E-5</c:v>
                </c:pt>
                <c:pt idx="409">
                  <c:v>4.4140312204426124E-5</c:v>
                </c:pt>
                <c:pt idx="410">
                  <c:v>4.1528034130311966E-5</c:v>
                </c:pt>
                <c:pt idx="411">
                  <c:v>3.9005915067577684E-5</c:v>
                </c:pt>
                <c:pt idx="412">
                  <c:v>3.657662129689081E-5</c:v>
                </c:pt>
                <c:pt idx="413">
                  <c:v>3.4242205316201813E-5</c:v>
                </c:pt>
                <c:pt idx="414">
                  <c:v>3.2004129649745008E-5</c:v>
                </c:pt>
                <c:pt idx="415">
                  <c:v>2.9863294144682592E-5</c:v>
                </c:pt>
                <c:pt idx="416">
                  <c:v>2.7820066259998178E-5</c:v>
                </c:pt>
                <c:pt idx="417">
                  <c:v>2.5874313847006729E-5</c:v>
                </c:pt>
                <c:pt idx="418">
                  <c:v>2.4025439922978371E-5</c:v>
                </c:pt>
                <c:pt idx="419">
                  <c:v>2.2272418948367683E-5</c:v>
                </c:pt>
                <c:pt idx="420">
                  <c:v>2.061383413340764E-5</c:v>
                </c:pt>
                <c:pt idx="421">
                  <c:v>1.904791532069473E-5</c:v>
                </c:pt>
                <c:pt idx="422">
                  <c:v>1.7572577016130427E-5</c:v>
                </c:pt>
                <c:pt idx="423">
                  <c:v>1.6185456170434527E-5</c:v>
                </c:pt>
                <c:pt idx="424">
                  <c:v>1.4883949346625214E-5</c:v>
                </c:pt>
                <c:pt idx="425">
                  <c:v>1.3665248944583003E-5</c:v>
                </c:pt>
                <c:pt idx="426">
                  <c:v>1.2526378191319087E-5</c:v>
                </c:pt>
                <c:pt idx="427">
                  <c:v>1.1464224644100242E-5</c:v>
                </c:pt>
                <c:pt idx="428">
                  <c:v>1.0475571992461373E-5</c:v>
                </c:pt>
                <c:pt idx="429">
                  <c:v>9.5571299836972237E-6</c:v>
                </c:pt>
                <c:pt idx="430">
                  <c:v>8.7055623340948779E-6</c:v>
                </c:pt>
                <c:pt idx="431">
                  <c:v>7.9175125244234065E-6</c:v>
                </c:pt>
                <c:pt idx="432">
                  <c:v>7.1896274125888197E-6</c:v>
                </c:pt>
                <c:pt idx="433">
                  <c:v>6.5185786285200729E-6</c:v>
                </c:pt>
                <c:pt idx="434">
                  <c:v>5.9010817459768876E-6</c:v>
                </c:pt>
                <c:pt idx="435">
                  <c:v>5.3339132528332959E-6</c:v>
                </c:pt>
                <c:pt idx="436">
                  <c:v>4.8139253653453084E-6</c:v>
                </c:pt>
                <c:pt idx="437">
                  <c:v>4.3380587528614404E-6</c:v>
                </c:pt>
                <c:pt idx="438">
                  <c:v>3.90335325736232E-6</c:v>
                </c:pt>
                <c:pt idx="439">
                  <c:v>3.5069567071468436E-6</c:v>
                </c:pt>
                <c:pt idx="440">
                  <c:v>3.1461319359995592E-6</c:v>
                </c:pt>
                <c:pt idx="441">
                  <c:v>2.8182621283989174E-6</c:v>
                </c:pt>
                <c:pt idx="442">
                  <c:v>2.5208546179190518E-6</c:v>
                </c:pt>
                <c:pt idx="443">
                  <c:v>2.2515432701238006E-6</c:v>
                </c:pt>
                <c:pt idx="444">
                  <c:v>2.0080895831617607E-6</c:v>
                </c:pt>
                <c:pt idx="445">
                  <c:v>1.7883826391681334E-6</c:v>
                </c:pt>
                <c:pt idx="446">
                  <c:v>1.5904380376971008E-6</c:v>
                </c:pt>
                <c:pt idx="447">
                  <c:v>1.4123959389831184E-6</c:v>
                </c:pt>
                <c:pt idx="448">
                  <c:v>1.2525183400970284E-6</c:v>
                </c:pt>
                <c:pt idx="449">
                  <c:v>1.109185701252249E-6</c:v>
                </c:pt>
                <c:pt idx="450">
                  <c:v>9.808930328465975E-7</c:v>
                </c:pt>
                <c:pt idx="451">
                  <c:v>8.6624554650507845E-7</c:v>
                </c:pt>
                <c:pt idx="452">
                  <c:v>7.6395396560907957E-7</c:v>
                </c:pt>
                <c:pt idx="453">
                  <c:v>6.7282958273462849E-7</c:v>
                </c:pt>
                <c:pt idx="454">
                  <c:v>5.9177914323365185E-7</c:v>
                </c:pt>
                <c:pt idx="455">
                  <c:v>5.1979962601706073E-7</c:v>
                </c:pt>
                <c:pt idx="456">
                  <c:v>4.5597298455784843E-7</c:v>
                </c:pt>
                <c:pt idx="457">
                  <c:v>3.9946090332794024E-7</c:v>
                </c:pt>
                <c:pt idx="458">
                  <c:v>3.4949961739917305E-7</c:v>
                </c:pt>
                <c:pt idx="459">
                  <c:v>3.0539483584361911E-7</c:v>
                </c:pt>
                <c:pt idx="460">
                  <c:v>2.6651680291353745E-7</c:v>
                </c:pt>
                <c:pt idx="461">
                  <c:v>2.3229552480321659E-7</c:v>
                </c:pt>
                <c:pt idx="462">
                  <c:v>2.022161841183562E-7</c:v>
                </c:pt>
                <c:pt idx="463">
                  <c:v>1.7581475901509388E-7</c:v>
                </c:pt>
                <c:pt idx="464">
                  <c:v>1.5267385932290251E-7</c:v>
                </c:pt>
                <c:pt idx="465">
                  <c:v>1.3241878782617755E-7</c:v>
                </c:pt>
                <c:pt idx="466">
                  <c:v>1.1471383123465051E-7</c:v>
                </c:pt>
                <c:pt idx="467">
                  <c:v>9.9258782202547897E-8</c:v>
                </c:pt>
                <c:pt idx="468">
                  <c:v>8.5785691036054224E-8</c:v>
                </c:pt>
                <c:pt idx="469">
                  <c:v>7.4055843429708468E-8</c:v>
                </c:pt>
                <c:pt idx="470">
                  <c:v>6.3856958664172914E-8</c:v>
                </c:pt>
                <c:pt idx="471">
                  <c:v>5.5000601147921227E-8</c:v>
                </c:pt>
                <c:pt idx="472">
                  <c:v>4.731979696083908E-8</c:v>
                </c:pt>
                <c:pt idx="473">
                  <c:v>4.0666846125322806E-8</c:v>
                </c:pt>
                <c:pt idx="474">
                  <c:v>3.491132065773184E-8</c:v>
                </c:pt>
                <c:pt idx="475">
                  <c:v>2.993823800852805E-8</c:v>
                </c:pt>
                <c:pt idx="476">
                  <c:v>2.5646399253073144E-8</c:v>
                </c:pt>
                <c:pt idx="477">
                  <c:v>2.194688131854195E-8</c:v>
                </c:pt>
                <c:pt idx="478">
                  <c:v>1.876167259942968E-8</c:v>
                </c:pt>
                <c:pt idx="479">
                  <c:v>1.6022441500359982E-8</c:v>
                </c:pt>
                <c:pt idx="480">
                  <c:v>1.3669427728239442E-8</c:v>
                </c:pt>
                <c:pt idx="481">
                  <c:v>1.165044651630816E-8</c:v>
                </c:pt>
                <c:pt idx="482">
                  <c:v>9.9199963824984259E-9</c:v>
                </c:pt>
                <c:pt idx="483">
                  <c:v>8.4384614880330067E-9</c:v>
                </c:pt>
                <c:pt idx="484">
                  <c:v>7.1714001556833904E-9</c:v>
                </c:pt>
                <c:pt idx="485">
                  <c:v>6.0889116187222727E-9</c:v>
                </c:pt>
                <c:pt idx="486">
                  <c:v>5.1650735913256313E-9</c:v>
                </c:pt>
                <c:pt idx="487">
                  <c:v>4.3774437705457123E-9</c:v>
                </c:pt>
                <c:pt idx="488">
                  <c:v>3.7066188920587669E-9</c:v>
                </c:pt>
                <c:pt idx="489">
                  <c:v>3.1358454610580518E-9</c:v>
                </c:pt>
                <c:pt idx="490">
                  <c:v>2.650676761492189E-9</c:v>
                </c:pt>
                <c:pt idx="491">
                  <c:v>2.2386712079563005E-9</c:v>
                </c:pt>
                <c:pt idx="492">
                  <c:v>1.889127542470237E-9</c:v>
                </c:pt>
                <c:pt idx="493">
                  <c:v>1.5928527914458279E-9</c:v>
                </c:pt>
                <c:pt idx="494">
                  <c:v>1.3419592853553984E-9</c:v>
                </c:pt>
                <c:pt idx="495">
                  <c:v>1.1296874045315961E-9</c:v>
                </c:pt>
                <c:pt idx="496">
                  <c:v>9.5025104918471965E-10</c:v>
                </c:pt>
                <c:pt idx="497">
                  <c:v>7.9870314053337275E-10</c:v>
                </c:pt>
                <c:pt idx="498">
                  <c:v>6.7081874361977993E-10</c:v>
                </c:pt>
                <c:pt idx="499">
                  <c:v>5.6299366187475534E-10</c:v>
                </c:pt>
                <c:pt idx="500">
                  <c:v>4.7215658992744309E-10</c:v>
                </c:pt>
                <c:pt idx="501">
                  <c:v>3.9569312577160485E-10</c:v>
                </c:pt>
                <c:pt idx="502">
                  <c:v>3.3138013752510187E-10</c:v>
                </c:pt>
                <c:pt idx="503">
                  <c:v>2.7732915502130442E-10</c:v>
                </c:pt>
                <c:pt idx="504">
                  <c:v>2.3193761373106488E-10</c:v>
                </c:pt>
                <c:pt idx="505">
                  <c:v>1.9384691939975599E-10</c:v>
                </c:pt>
                <c:pt idx="506">
                  <c:v>1.619064276336281E-10</c:v>
                </c:pt>
                <c:pt idx="507">
                  <c:v>1.3514254477502673E-10</c:v>
                </c:pt>
                <c:pt idx="508">
                  <c:v>1.1273225600092256E-10</c:v>
                </c:pt>
                <c:pt idx="509">
                  <c:v>9.3980474832672262E-11</c:v>
                </c:pt>
                <c:pt idx="510">
                  <c:v>7.8300686255513286E-11</c:v>
                </c:pt>
                <c:pt idx="511">
                  <c:v>6.5198424438515946E-11</c:v>
                </c:pt>
                <c:pt idx="512">
                  <c:v>5.4257186570061768E-11</c:v>
                </c:pt>
                <c:pt idx="513">
                  <c:v>4.512643745597753E-11</c:v>
                </c:pt>
                <c:pt idx="514">
                  <c:v>3.7511406070497229E-11</c:v>
                </c:pt>
                <c:pt idx="515">
                  <c:v>3.1164415937070847E-11</c:v>
                </c:pt>
                <c:pt idx="516">
                  <c:v>2.5877526712381704E-11</c:v>
                </c:pt>
                <c:pt idx="517">
                  <c:v>2.1476295254956788E-11</c:v>
                </c:pt>
                <c:pt idx="518">
                  <c:v>1.7814491322180831E-11</c:v>
                </c:pt>
                <c:pt idx="519">
                  <c:v>1.4769626343290742E-11</c:v>
                </c:pt>
                <c:pt idx="520">
                  <c:v>1.2239173896982448E-11</c:v>
                </c:pt>
                <c:pt idx="521">
                  <c:v>1.0137377969082928E-11</c:v>
                </c:pt>
                <c:pt idx="522">
                  <c:v>8.392560123759368E-12</c:v>
                </c:pt>
                <c:pt idx="523">
                  <c:v>6.9448496970965214E-12</c:v>
                </c:pt>
                <c:pt idx="524">
                  <c:v>5.7442722851246982E-12</c:v>
                </c:pt>
                <c:pt idx="525">
                  <c:v>4.749141387976757E-12</c:v>
                </c:pt>
                <c:pt idx="526">
                  <c:v>3.9247062974941715E-12</c:v>
                </c:pt>
                <c:pt idx="527">
                  <c:v>3.242016361114909E-12</c:v>
                </c:pt>
                <c:pt idx="528">
                  <c:v>2.6769677811862285E-12</c:v>
                </c:pt>
                <c:pt idx="529">
                  <c:v>2.2095042563617547E-12</c:v>
                </c:pt>
                <c:pt idx="530">
                  <c:v>1.8229471628321663E-12</c:v>
                </c:pt>
                <c:pt idx="531">
                  <c:v>1.5034347141375414E-12</c:v>
                </c:pt>
                <c:pt idx="532">
                  <c:v>1.2394527214802309E-12</c:v>
                </c:pt>
                <c:pt idx="533">
                  <c:v>1.0214422816890595E-12</c:v>
                </c:pt>
                <c:pt idx="534">
                  <c:v>8.4147201631586878E-13</c:v>
                </c:pt>
                <c:pt idx="535">
                  <c:v>6.9296443233643927E-13</c:v>
                </c:pt>
                <c:pt idx="536">
                  <c:v>5.7046762387518243E-13</c:v>
                </c:pt>
                <c:pt idx="537">
                  <c:v>4.6946492937530462E-13</c:v>
                </c:pt>
                <c:pt idx="538">
                  <c:v>3.8621633754961135E-13</c:v>
                </c:pt>
                <c:pt idx="539">
                  <c:v>3.1762643071490158E-13</c:v>
                </c:pt>
                <c:pt idx="540">
                  <c:v>2.6113449349304262E-13</c:v>
                </c:pt>
                <c:pt idx="541">
                  <c:v>2.146231220814333E-13</c:v>
                </c:pt>
                <c:pt idx="542">
                  <c:v>1.7634226458998529E-13</c:v>
                </c:pt>
                <c:pt idx="543">
                  <c:v>1.4484612356142906E-13</c:v>
                </c:pt>
                <c:pt idx="544">
                  <c:v>1.1894077241063217E-13</c:v>
                </c:pt>
                <c:pt idx="545">
                  <c:v>9.76406906105984E-14</c:v>
                </c:pt>
                <c:pt idx="546">
                  <c:v>8.0132718603126266E-14</c:v>
                </c:pt>
                <c:pt idx="547">
                  <c:v>6.5746181596456617E-14</c:v>
                </c:pt>
                <c:pt idx="548">
                  <c:v>5.3928139229552286E-14</c:v>
                </c:pt>
                <c:pt idx="549">
                  <c:v>4.4222891960363346E-14</c:v>
                </c:pt>
                <c:pt idx="550">
                  <c:v>3.6255020404289689E-14</c:v>
                </c:pt>
                <c:pt idx="551">
                  <c:v>2.971535529127461E-14</c:v>
                </c:pt>
                <c:pt idx="552">
                  <c:v>2.4349377089560572E-14</c:v>
                </c:pt>
                <c:pt idx="553">
                  <c:v>1.9947628915020247E-14</c:v>
                </c:pt>
                <c:pt idx="554">
                  <c:v>1.6337796844649523E-14</c:v>
                </c:pt>
                <c:pt idx="555">
                  <c:v>1.337817048281843E-14</c:v>
                </c:pt>
                <c:pt idx="556">
                  <c:v>1.0952245521729096E-14</c:v>
                </c:pt>
                <c:pt idx="557">
                  <c:v>8.9642707146442812E-15</c:v>
                </c:pt>
                <c:pt idx="558">
                  <c:v>7.3355755011840818E-15</c:v>
                </c:pt>
                <c:pt idx="559">
                  <c:v>6.0015426268052273E-15</c:v>
                </c:pt>
                <c:pt idx="560">
                  <c:v>4.9091134362757064E-15</c:v>
                </c:pt>
                <c:pt idx="561">
                  <c:v>4.0147328902417511E-15</c:v>
                </c:pt>
                <c:pt idx="562">
                  <c:v>3.2826574205588129E-15</c:v>
                </c:pt>
                <c:pt idx="563">
                  <c:v>2.6835620597649599E-15</c:v>
                </c:pt>
                <c:pt idx="564">
                  <c:v>2.1933943165417028E-15</c:v>
                </c:pt>
                <c:pt idx="565">
                  <c:v>1.7924314089016275E-15</c:v>
                </c:pt>
                <c:pt idx="566">
                  <c:v>1.4645050321666275E-15</c:v>
                </c:pt>
                <c:pt idx="567">
                  <c:v>1.1963640977338675E-15</c:v>
                </c:pt>
                <c:pt idx="568">
                  <c:v>9.7715105422661055E-16</c:v>
                </c:pt>
                <c:pt idx="569">
                  <c:v>7.9797168038989955E-16</c:v>
                </c:pt>
                <c:pt idx="570">
                  <c:v>6.5154177314498186E-16</c:v>
                </c:pt>
                <c:pt idx="571">
                  <c:v>5.3189707253381547E-16</c:v>
                </c:pt>
                <c:pt idx="572">
                  <c:v>4.3415517410909843E-16</c:v>
                </c:pt>
                <c:pt idx="573">
                  <c:v>3.5432016674125931E-16</c:v>
                </c:pt>
                <c:pt idx="574">
                  <c:v>2.8912237287275149E-16</c:v>
                </c:pt>
                <c:pt idx="575">
                  <c:v>2.3588691946165641E-16</c:v>
                </c:pt>
                <c:pt idx="576">
                  <c:v>1.9242598132803598E-16</c:v>
                </c:pt>
                <c:pt idx="577">
                  <c:v>1.5695045583093471E-16</c:v>
                </c:pt>
                <c:pt idx="578">
                  <c:v>1.2799758306085257E-16</c:v>
                </c:pt>
                <c:pt idx="579">
                  <c:v>1.0437164740904708E-16</c:v>
                </c:pt>
                <c:pt idx="580">
                  <c:v>8.5095407909288801E-17</c:v>
                </c:pt>
                <c:pt idx="581">
                  <c:v>6.9370325509584383E-17</c:v>
                </c:pt>
                <c:pt idx="582">
                  <c:v>5.654400141055311E-17</c:v>
                </c:pt>
                <c:pt idx="583">
                  <c:v>4.6083524999500215E-17</c:v>
                </c:pt>
                <c:pt idx="584">
                  <c:v>3.7553663603986211E-17</c:v>
                </c:pt>
                <c:pt idx="585">
                  <c:v>3.0599018261091817E-17</c:v>
                </c:pt>
                <c:pt idx="586">
                  <c:v>2.4929427350395824E-17</c:v>
                </c:pt>
                <c:pt idx="587">
                  <c:v>2.0308029366294345E-17</c:v>
                </c:pt>
                <c:pt idx="588">
                  <c:v>1.6541502330411016E-17</c:v>
                </c:pt>
                <c:pt idx="589">
                  <c:v>1.3472084502590011E-17</c:v>
                </c:pt>
                <c:pt idx="590">
                  <c:v>1.0971052541524804E-17</c:v>
                </c:pt>
                <c:pt idx="591">
                  <c:v>8.9333918934372344E-18</c:v>
                </c:pt>
                <c:pt idx="592">
                  <c:v>7.2734422515206988E-18</c:v>
                </c:pt>
                <c:pt idx="593">
                  <c:v>5.9213403232184317E-18</c:v>
                </c:pt>
                <c:pt idx="594">
                  <c:v>4.8201144224962651E-18</c:v>
                </c:pt>
                <c:pt idx="595">
                  <c:v>3.9233118484012681E-18</c:v>
                </c:pt>
                <c:pt idx="596">
                  <c:v>3.1930616691998611E-18</c:v>
                </c:pt>
                <c:pt idx="597">
                  <c:v>2.5984932653889143E-18</c:v>
                </c:pt>
                <c:pt idx="598">
                  <c:v>2.1144455024647472E-18</c:v>
                </c:pt>
                <c:pt idx="599">
                  <c:v>1.7204132862319396E-18</c:v>
                </c:pt>
                <c:pt idx="600">
                  <c:v>1.3996879760119055E-18</c:v>
                </c:pt>
                <c:pt idx="601">
                  <c:v>1.1386560851222641E-18</c:v>
                </c:pt>
                <c:pt idx="602">
                  <c:v>9.2622720375548568E-19</c:v>
                </c:pt>
                <c:pt idx="603">
                  <c:v>7.5336739953488235E-19</c:v>
                </c:pt>
                <c:pt idx="604">
                  <c:v>6.1271870074963684E-19</c:v>
                </c:pt>
                <c:pt idx="605">
                  <c:v>4.9828882290473459E-19</c:v>
                </c:pt>
                <c:pt idx="606">
                  <c:v>4.0519820516473999E-19</c:v>
                </c:pt>
                <c:pt idx="607">
                  <c:v>3.2947379782332287E-19</c:v>
                </c:pt>
                <c:pt idx="608">
                  <c:v>2.6788098188716362E-19</c:v>
                </c:pt>
                <c:pt idx="609">
                  <c:v>2.1778658650244169E-19</c:v>
                </c:pt>
                <c:pt idx="610">
                  <c:v>1.770472641216731E-19</c:v>
                </c:pt>
                <c:pt idx="611">
                  <c:v>1.4391854007873184E-19</c:v>
                </c:pt>
                <c:pt idx="612">
                  <c:v>1.169807160102693E-19</c:v>
                </c:pt>
                <c:pt idx="613">
                  <c:v>9.5078510841394411E-20</c:v>
                </c:pt>
                <c:pt idx="614">
                  <c:v>7.7271897857931959E-20</c:v>
                </c:pt>
                <c:pt idx="615">
                  <c:v>6.2796065454875325E-20</c:v>
                </c:pt>
                <c:pt idx="616">
                  <c:v>5.1028811868344271E-20</c:v>
                </c:pt>
                <c:pt idx="617">
                  <c:v>4.1463996420250901E-20</c:v>
                </c:pt>
                <c:pt idx="618">
                  <c:v>3.3689924477416559E-20</c:v>
                </c:pt>
                <c:pt idx="619">
                  <c:v>2.7371751028857323E-20</c:v>
                </c:pt>
                <c:pt idx="620">
                  <c:v>2.2237157157220612E-20</c:v>
                </c:pt>
                <c:pt idx="621">
                  <c:v>1.80646917759315E-20</c:v>
                </c:pt>
                <c:pt idx="622">
                  <c:v>1.4674283584996085E-20</c:v>
                </c:pt>
                <c:pt idx="623">
                  <c:v>1.1919519966721961E-20</c:v>
                </c:pt>
                <c:pt idx="624">
                  <c:v>9.6813643365208235E-21</c:v>
                </c:pt>
                <c:pt idx="625">
                  <c:v>7.8630444158266661E-21</c:v>
                </c:pt>
                <c:pt idx="626">
                  <c:v>6.385893559391071E-21</c:v>
                </c:pt>
                <c:pt idx="627">
                  <c:v>5.1859677334998084E-21</c:v>
                </c:pt>
                <c:pt idx="628">
                  <c:v>4.211293705205114E-21</c:v>
                </c:pt>
                <c:pt idx="629">
                  <c:v>3.4196308533170726E-21</c:v>
                </c:pt>
                <c:pt idx="630">
                  <c:v>2.7766508805463356E-21</c:v>
                </c:pt>
                <c:pt idx="631">
                  <c:v>2.2544575153663755E-21</c:v>
                </c:pt>
                <c:pt idx="632">
                  <c:v>1.8303827939557525E-21</c:v>
                </c:pt>
                <c:pt idx="633">
                  <c:v>1.4860083198929723E-21</c:v>
                </c:pt>
                <c:pt idx="634">
                  <c:v>1.2063695118196594E-21</c:v>
                </c:pt>
                <c:pt idx="635">
                  <c:v>9.7930867427855921E-22</c:v>
                </c:pt>
                <c:pt idx="636">
                  <c:v>7.9494909608880602E-22</c:v>
                </c:pt>
                <c:pt idx="637">
                  <c:v>6.4526756440190749E-22</c:v>
                </c:pt>
                <c:pt idx="638">
                  <c:v>5.2374690110452355E-22</c:v>
                </c:pt>
                <c:pt idx="639">
                  <c:v>4.2509356101762912E-22</c:v>
                </c:pt>
                <c:pt idx="640">
                  <c:v>3.4500812440601736E-22</c:v>
                </c:pt>
                <c:pt idx="641">
                  <c:v>2.799987887345566E-22</c:v>
                </c:pt>
                <c:pt idx="642">
                  <c:v>2.2722981323771239E-22</c:v>
                </c:pt>
                <c:pt idx="643">
                  <c:v>1.8439837363564434E-22</c:v>
                </c:pt>
                <c:pt idx="644">
                  <c:v>1.4963450746370401E-22</c:v>
                </c:pt>
                <c:pt idx="645">
                  <c:v>1.2141982526580934E-22</c:v>
                </c:pt>
                <c:pt idx="646">
                  <c:v>9.8521471911997447E-23</c:v>
                </c:pt>
                <c:pt idx="647">
                  <c:v>7.9938480173597121E-23</c:v>
                </c:pt>
                <c:pt idx="648">
                  <c:v>6.4858193619113789E-23</c:v>
                </c:pt>
                <c:pt idx="649">
                  <c:v>5.2620870827216842E-23</c:v>
                </c:pt>
                <c:pt idx="650">
                  <c:v>4.2690936511573922E-23</c:v>
                </c:pt>
                <c:pt idx="651">
                  <c:v>3.4633632609793596E-23</c:v>
                </c:pt>
                <c:pt idx="652">
                  <c:v>2.8096056057698427E-23</c:v>
                </c:pt>
                <c:pt idx="653">
                  <c:v>2.2791759903070618E-23</c:v>
                </c:pt>
                <c:pt idx="654">
                  <c:v>1.8488248786029643E-23</c:v>
                </c:pt>
                <c:pt idx="655">
                  <c:v>1.4996825274281947E-23</c:v>
                </c:pt>
                <c:pt idx="656">
                  <c:v>1.2164345500216032E-23</c:v>
                </c:pt>
                <c:pt idx="657">
                  <c:v>9.8665253995193208E-24</c:v>
                </c:pt>
                <c:pt idx="658">
                  <c:v>8.002506173943002E-24</c:v>
                </c:pt>
                <c:pt idx="659">
                  <c:v>6.4904423018112472E-24</c:v>
                </c:pt>
                <c:pt idx="660">
                  <c:v>5.2639198620824411E-24</c:v>
                </c:pt>
                <c:pt idx="661">
                  <c:v>4.2690490435169884E-24</c:v>
                </c:pt>
                <c:pt idx="662">
                  <c:v>3.4621040414389288E-24</c:v>
                </c:pt>
                <c:pt idx="663">
                  <c:v>2.8076073706553229E-24</c:v>
                </c:pt>
                <c:pt idx="664">
                  <c:v>2.2767749766210313E-24</c:v>
                </c:pt>
                <c:pt idx="665">
                  <c:v>1.8462542461279185E-24</c:v>
                </c:pt>
                <c:pt idx="666">
                  <c:v>1.497099785919206E-24</c:v>
                </c:pt>
                <c:pt idx="667">
                  <c:v>1.2139422062133812E-24</c:v>
                </c:pt>
                <c:pt idx="668">
                  <c:v>9.8431356644707814E-25</c:v>
                </c:pt>
                <c:pt idx="669">
                  <c:v>7.9809997836941817E-25</c:v>
                </c:pt>
                <c:pt idx="670">
                  <c:v>6.4709741396994706E-25</c:v>
                </c:pt>
                <c:pt idx="671">
                  <c:v>5.2465127416279942E-25</c:v>
                </c:pt>
                <c:pt idx="672">
                  <c:v>4.2536393463170504E-25</c:v>
                </c:pt>
                <c:pt idx="673">
                  <c:v>3.448574572373001E-25</c:v>
                </c:pt>
                <c:pt idx="674">
                  <c:v>2.7958106817885623E-25</c:v>
                </c:pt>
                <c:pt idx="675">
                  <c:v>2.2665496288403345E-25</c:v>
                </c:pt>
                <c:pt idx="676">
                  <c:v>1.8374358767613908E-25</c:v>
                </c:pt>
                <c:pt idx="677">
                  <c:v>1.4895283903219074E-25</c:v>
                </c:pt>
                <c:pt idx="678">
                  <c:v>1.2074666895027761E-25</c:v>
                </c:pt>
                <c:pt idx="679">
                  <c:v>9.7879435351621579E-26</c:v>
                </c:pt>
                <c:pt idx="680">
                  <c:v>7.9341026663148331E-26</c:v>
                </c:pt>
                <c:pt idx="681">
                  <c:v>6.4312349913094416E-26</c:v>
                </c:pt>
                <c:pt idx="682">
                  <c:v>5.2129226302984375E-26</c:v>
                </c:pt>
                <c:pt idx="683">
                  <c:v>4.2253107174170422E-26</c:v>
                </c:pt>
                <c:pt idx="684">
                  <c:v>3.4247322689302458E-26</c:v>
                </c:pt>
                <c:pt idx="685">
                  <c:v>2.7757818514594247E-26</c:v>
                </c:pt>
                <c:pt idx="686">
                  <c:v>2.2497532934448989E-26</c:v>
                </c:pt>
                <c:pt idx="687">
                  <c:v>1.8233726799488829E-26</c:v>
                </c:pt>
                <c:pt idx="688">
                  <c:v>1.4777708506510751E-26</c:v>
                </c:pt>
                <c:pt idx="689">
                  <c:v>1.197650151705708E-26</c:v>
                </c:pt>
                <c:pt idx="690">
                  <c:v>9.7060873630864251E-27</c:v>
                </c:pt>
                <c:pt idx="691">
                  <c:v>7.8659264047251484E-27</c:v>
                </c:pt>
                <c:pt idx="692">
                  <c:v>6.3745148401616472E-27</c:v>
                </c:pt>
                <c:pt idx="693">
                  <c:v>5.1657820869068042E-27</c:v>
                </c:pt>
                <c:pt idx="694">
                  <c:v>4.1861696611690385E-27</c:v>
                </c:pt>
                <c:pt idx="695">
                  <c:v>3.3922627010815685E-27</c:v>
                </c:pt>
                <c:pt idx="696">
                  <c:v>2.7488696299741498E-27</c:v>
                </c:pt>
                <c:pt idx="697">
                  <c:v>2.2274652074985635E-27</c:v>
                </c:pt>
                <c:pt idx="698">
                  <c:v>1.8049282362052647E-27</c:v>
                </c:pt>
                <c:pt idx="699">
                  <c:v>1.4625181853684781E-27</c:v>
                </c:pt>
                <c:pt idx="700">
                  <c:v>1.1850455320874771E-27</c:v>
                </c:pt>
                <c:pt idx="701">
                  <c:v>9.6019916695463264E-28</c:v>
                </c:pt>
                <c:pt idx="702">
                  <c:v>7.7800114315358605E-28</c:v>
                </c:pt>
                <c:pt idx="703">
                  <c:v>6.3036466931875296E-28</c:v>
                </c:pt>
                <c:pt idx="704">
                  <c:v>5.107358052751575E-28</c:v>
                </c:pt>
                <c:pt idx="705">
                  <c:v>4.1380301651938907E-28</c:v>
                </c:pt>
                <c:pt idx="706">
                  <c:v>3.3526174114752976E-28</c:v>
                </c:pt>
                <c:pt idx="707">
                  <c:v>2.7162355375226028E-28</c:v>
                </c:pt>
                <c:pt idx="708">
                  <c:v>2.2006148192830669E-28</c:v>
                </c:pt>
                <c:pt idx="709">
                  <c:v>1.7828462925093453E-28</c:v>
                </c:pt>
                <c:pt idx="710">
                  <c:v>1.4443655448560341E-28</c:v>
                </c:pt>
                <c:pt idx="711">
                  <c:v>1.1701290748822013E-28</c:v>
                </c:pt>
                <c:pt idx="712">
                  <c:v>9.4794674133145811E-29</c:v>
                </c:pt>
                <c:pt idx="713">
                  <c:v>7.6794073281406643E-29</c:v>
                </c:pt>
                <c:pt idx="714">
                  <c:v>6.221070875340882E-29</c:v>
                </c:pt>
                <c:pt idx="715">
                  <c:v>5.0396033220862453E-29</c:v>
                </c:pt>
                <c:pt idx="716">
                  <c:v>4.0824548972942237E-29</c:v>
                </c:pt>
                <c:pt idx="717">
                  <c:v>3.3070468841124342E-29</c:v>
                </c:pt>
                <c:pt idx="718">
                  <c:v>2.6788802440247405E-29</c:v>
                </c:pt>
                <c:pt idx="719">
                  <c:v>2.1700028931248599E-29</c:v>
                </c:pt>
                <c:pt idx="720">
                  <c:v>1.757767644682394E-29</c:v>
                </c:pt>
                <c:pt idx="721">
                  <c:v>1.4238257145055981E-29</c:v>
                </c:pt>
                <c:pt idx="722">
                  <c:v>1.1533111282985041E-29</c:v>
                </c:pt>
                <c:pt idx="723">
                  <c:v>9.3417983457083167E-30</c:v>
                </c:pt>
                <c:pt idx="724">
                  <c:v>7.5667418729549179E-30</c:v>
                </c:pt>
                <c:pt idx="725">
                  <c:v>6.1288902343999008E-30</c:v>
                </c:pt>
                <c:pt idx="726">
                  <c:v>4.9642006754224259E-30</c:v>
                </c:pt>
                <c:pt idx="727">
                  <c:v>4.020790485124503E-30</c:v>
                </c:pt>
                <c:pt idx="728">
                  <c:v>3.2566287446251921E-30</c:v>
                </c:pt>
                <c:pt idx="729">
                  <c:v>2.6376661092300838E-30</c:v>
                </c:pt>
                <c:pt idx="730">
                  <c:v>2.136319524417066E-30</c:v>
                </c:pt>
                <c:pt idx="731">
                  <c:v>1.7302445351177683E-30</c:v>
                </c:pt>
                <c:pt idx="732">
                  <c:v>1.4013406209472961E-30</c:v>
                </c:pt>
                <c:pt idx="733">
                  <c:v>1.1349453396098176E-30</c:v>
                </c:pt>
                <c:pt idx="734">
                  <c:v>9.1918144902187572E-31</c:v>
                </c:pt>
                <c:pt idx="735">
                  <c:v>7.4442797581581557E-31</c:v>
                </c:pt>
                <c:pt idx="736">
                  <c:v>6.0289170601817946E-31</c:v>
                </c:pt>
                <c:pt idx="737">
                  <c:v>4.8826003708317382E-31</c:v>
                </c:pt>
                <c:pt idx="738">
                  <c:v>3.9541974736622767E-31</c:v>
                </c:pt>
                <c:pt idx="739">
                  <c:v>3.2022916974309551E-31</c:v>
                </c:pt>
                <c:pt idx="740">
                  <c:v>2.5933363094427432E-31</c:v>
                </c:pt>
                <c:pt idx="741">
                  <c:v>2.1001594225182498E-31</c:v>
                </c:pt>
                <c:pt idx="742">
                  <c:v>1.7007528643197248E-31</c:v>
                </c:pt>
                <c:pt idx="743">
                  <c:v>1.3772910895742264E-31</c:v>
                </c:pt>
                <c:pt idx="744">
                  <c:v>1.1153364518656317E-31</c:v>
                </c:pt>
                <c:pt idx="745">
                  <c:v>9.0319544421126677E-32</c:v>
                </c:pt>
                <c:pt idx="746">
                  <c:v>7.3139723713608083E-32</c:v>
                </c:pt>
                <c:pt idx="747">
                  <c:v>5.9227128638680668E-32</c:v>
                </c:pt>
                <c:pt idx="748">
                  <c:v>4.7960519311965084E-32</c:v>
                </c:pt>
                <c:pt idx="749">
                  <c:v>3.8836757265112102E-32</c:v>
                </c:pt>
                <c:pt idx="750">
                  <c:v>3.1448358248245393E-32</c:v>
                </c:pt>
                <c:pt idx="751">
                  <c:v>2.5465310593191333E-32</c:v>
                </c:pt>
                <c:pt idx="752">
                  <c:v>2.0620348747418712E-32</c:v>
                </c:pt>
                <c:pt idx="753">
                  <c:v>1.6697025516277101E-32</c:v>
                </c:pt>
                <c:pt idx="754">
                  <c:v>1.352005124949987E-32</c:v>
                </c:pt>
                <c:pt idx="755">
                  <c:v>1.0947469218807273E-32</c:v>
                </c:pt>
                <c:pt idx="756">
                  <c:v>8.8643182642011637E-33</c:v>
                </c:pt>
                <c:pt idx="757">
                  <c:v>7.1775000747726362E-33</c:v>
                </c:pt>
                <c:pt idx="758">
                  <c:v>5.8116221725508073E-33</c:v>
                </c:pt>
                <c:pt idx="759">
                  <c:v>4.7056311581891242E-33</c:v>
                </c:pt>
                <c:pt idx="760">
                  <c:v>3.8100860206005253E-33</c:v>
                </c:pt>
                <c:pt idx="761">
                  <c:v>3.084949849760546E-33</c:v>
                </c:pt>
                <c:pt idx="762">
                  <c:v>2.4978014127578132E-33</c:v>
                </c:pt>
                <c:pt idx="763">
                  <c:v>2.0223867798309492E-33</c:v>
                </c:pt>
                <c:pt idx="764">
                  <c:v>1.6374463566172569E-33</c:v>
                </c:pt>
                <c:pt idx="765">
                  <c:v>1.3257649639429448E-33</c:v>
                </c:pt>
                <c:pt idx="766">
                  <c:v>1.073402559888971E-33</c:v>
                </c:pt>
                <c:pt idx="767">
                  <c:v>8.6907125816539098E-34</c:v>
                </c:pt>
                <c:pt idx="768">
                  <c:v>7.0363082655082925E-34</c:v>
                </c:pt>
                <c:pt idx="769">
                  <c:v>5.6968013665606575E-34</c:v>
                </c:pt>
                <c:pt idx="770">
                  <c:v>4.6122631938535591E-34</c:v>
                </c:pt>
                <c:pt idx="771">
                  <c:v>3.7341684897607544E-34</c:v>
                </c:pt>
                <c:pt idx="772">
                  <c:v>3.0232258872714896E-34</c:v>
                </c:pt>
                <c:pt idx="773">
                  <c:v>2.4476210612602166E-34</c:v>
                </c:pt>
                <c:pt idx="774">
                  <c:v>1.9815940850841644E-34</c:v>
                </c:pt>
                <c:pt idx="775">
                  <c:v>1.6042874278357544E-34</c:v>
                </c:pt>
                <c:pt idx="776">
                  <c:v>1.2988131143148041E-34</c:v>
                </c:pt>
                <c:pt idx="777">
                  <c:v>1.0514973601850084E-34</c:v>
                </c:pt>
                <c:pt idx="778">
                  <c:v>8.5126892286251088E-35</c:v>
                </c:pt>
                <c:pt idx="779">
                  <c:v>6.8916382939744876E-35</c:v>
                </c:pt>
                <c:pt idx="780">
                  <c:v>5.5792434165287185E-35</c:v>
                </c:pt>
                <c:pt idx="781">
                  <c:v>4.5167423130908194E-35</c:v>
                </c:pt>
                <c:pt idx="782">
                  <c:v>3.6565584616118097E-35</c:v>
                </c:pt>
                <c:pt idx="783">
                  <c:v>2.9601721167943318E-35</c:v>
                </c:pt>
                <c:pt idx="784">
                  <c:v>2.3963964748280622E-35</c:v>
                </c:pt>
                <c:pt idx="785">
                  <c:v>1.9399819016445864E-35</c:v>
                </c:pt>
                <c:pt idx="786">
                  <c:v>1.5704857974767229E-35</c:v>
                </c:pt>
                <c:pt idx="787">
                  <c:v>1.2713575523849263E-35</c:v>
                </c:pt>
                <c:pt idx="788">
                  <c:v>1.0291976609741354E-35</c:v>
                </c:pt>
                <c:pt idx="789">
                  <c:v>8.3315785427839304E-36</c:v>
                </c:pt>
                <c:pt idx="790">
                  <c:v>6.744554114321377E-36</c:v>
                </c:pt>
                <c:pt idx="791">
                  <c:v>5.4597992150727039E-36</c:v>
                </c:pt>
                <c:pt idx="792">
                  <c:v>4.4197489994891132E-36</c:v>
                </c:pt>
                <c:pt idx="793">
                  <c:v>3.577800127345395E-36</c:v>
                </c:pt>
                <c:pt idx="794">
                  <c:v>2.8962237249118363E-36</c:v>
                </c:pt>
                <c:pt idx="795">
                  <c:v>2.3444756622638491E-36</c:v>
                </c:pt>
                <c:pt idx="796">
                  <c:v>1.8978285178886361E-36</c:v>
                </c:pt>
                <c:pt idx="797">
                  <c:v>1.5362639963733895E-36</c:v>
                </c:pt>
                <c:pt idx="798">
                  <c:v>1.2435762187858281E-36</c:v>
                </c:pt>
                <c:pt idx="799">
                  <c:v>1.0066457443002553E-36</c:v>
                </c:pt>
                <c:pt idx="800">
                  <c:v>8.1485181889909622E-37</c:v>
                </c:pt>
              </c:numCache>
            </c:numRef>
          </c:yVal>
          <c:smooth val="0"/>
          <c:extLst>
            <c:ext xmlns:c16="http://schemas.microsoft.com/office/drawing/2014/chart" uri="{C3380CC4-5D6E-409C-BE32-E72D297353CC}">
              <c16:uniqueId val="{00000015-1D62-4DE3-8E9D-34C68BC76380}"/>
            </c:ext>
          </c:extLst>
        </c:ser>
        <c:ser>
          <c:idx val="20"/>
          <c:order val="20"/>
          <c:tx>
            <c:strRef>
              <c:f>Calc!$X$6</c:f>
              <c:strCache>
                <c:ptCount val="1"/>
                <c:pt idx="0">
                  <c:v>N(0,1)</c:v>
                </c:pt>
              </c:strCache>
            </c:strRef>
          </c:tx>
          <c:spPr>
            <a:ln w="28575">
              <a:noFill/>
            </a:ln>
          </c:spP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X$7:$X$807</c:f>
              <c:numCache>
                <c:formatCode>General</c:formatCode>
                <c:ptCount val="801"/>
                <c:pt idx="0">
                  <c:v>8.5975552375016449E-7</c:v>
                </c:pt>
                <c:pt idx="1">
                  <c:v>8.9479807126850922E-7</c:v>
                </c:pt>
                <c:pt idx="2">
                  <c:v>9.3117578645861182E-7</c:v>
                </c:pt>
                <c:pt idx="3">
                  <c:v>9.6893552704967167E-7</c:v>
                </c:pt>
                <c:pt idx="4">
                  <c:v>1.0081256303255638E-6</c:v>
                </c:pt>
                <c:pt idx="5">
                  <c:v>1.0487959533967909E-6</c:v>
                </c:pt>
                <c:pt idx="6">
                  <c:v>1.0909979143281838E-6</c:v>
                </c:pt>
                <c:pt idx="7">
                  <c:v>1.1347845341318328E-6</c:v>
                </c:pt>
                <c:pt idx="8">
                  <c:v>1.1802104796343772E-6</c:v>
                </c:pt>
                <c:pt idx="9">
                  <c:v>1.2273321072277062E-6</c:v>
                </c:pt>
                <c:pt idx="10">
                  <c:v>1.2762075075116619E-6</c:v>
                </c:pt>
                <c:pt idx="11">
                  <c:v>1.3268965508371681E-6</c:v>
                </c:pt>
                <c:pt idx="12">
                  <c:v>1.3794609337579153E-6</c:v>
                </c:pt>
                <c:pt idx="13">
                  <c:v>1.4339642263982467E-6</c:v>
                </c:pt>
                <c:pt idx="14">
                  <c:v>1.4904719207448142E-6</c:v>
                </c:pt>
                <c:pt idx="15">
                  <c:v>1.5490514798688817E-6</c:v>
                </c:pt>
                <c:pt idx="16">
                  <c:v>1.6097723880860925E-6</c:v>
                </c:pt>
                <c:pt idx="17">
                  <c:v>1.6727062020598454E-6</c:v>
                </c:pt>
                <c:pt idx="18">
                  <c:v>1.737926602854161E-6</c:v>
                </c:pt>
                <c:pt idx="19">
                  <c:v>1.8055094489414213E-6</c:v>
                </c:pt>
                <c:pt idx="20">
                  <c:v>1.8755328301698286E-6</c:v>
                </c:pt>
                <c:pt idx="21">
                  <c:v>1.9480771226951339E-6</c:v>
                </c:pt>
                <c:pt idx="22">
                  <c:v>2.0232250448803617E-6</c:v>
                </c:pt>
                <c:pt idx="23">
                  <c:v>2.1010617141670369E-6</c:v>
                </c:pt>
                <c:pt idx="24">
                  <c:v>2.1816747049206439E-6</c:v>
                </c:pt>
                <c:pt idx="25">
                  <c:v>2.2651541072525319E-6</c:v>
                </c:pt>
                <c:pt idx="26">
                  <c:v>2.3515925868198602E-6</c:v>
                </c:pt>
                <c:pt idx="27">
                  <c:v>2.441085445604634E-6</c:v>
                </c:pt>
                <c:pt idx="28">
                  <c:v>2.5337306836719661E-6</c:v>
                </c:pt>
                <c:pt idx="29">
                  <c:v>2.6296290619073307E-6</c:v>
                </c:pt>
                <c:pt idx="30">
                  <c:v>2.7288841657316619E-6</c:v>
                </c:pt>
                <c:pt idx="31">
                  <c:v>2.8316024697924392E-6</c:v>
                </c:pt>
                <c:pt idx="32">
                  <c:v>2.9378934036282017E-6</c:v>
                </c:pt>
                <c:pt idx="33">
                  <c:v>3.047869418303017E-6</c:v>
                </c:pt>
                <c:pt idx="34">
                  <c:v>3.1616460540067707E-6</c:v>
                </c:pt>
                <c:pt idx="35">
                  <c:v>3.2793420086162597E-6</c:v>
                </c:pt>
                <c:pt idx="36">
                  <c:v>3.4010792072109578E-6</c:v>
                </c:pt>
                <c:pt idx="37">
                  <c:v>3.526982872536841E-6</c:v>
                </c:pt>
                <c:pt idx="38">
                  <c:v>3.6571815964103689E-6</c:v>
                </c:pt>
                <c:pt idx="39">
                  <c:v>3.7918074120539196E-6</c:v>
                </c:pt>
                <c:pt idx="40">
                  <c:v>3.9309958673530159E-6</c:v>
                </c:pt>
                <c:pt idx="41">
                  <c:v>4.0748860990245125E-6</c:v>
                </c:pt>
                <c:pt idx="42">
                  <c:v>4.2236209076840928E-6</c:v>
                </c:pt>
                <c:pt idx="43">
                  <c:v>4.3773468338000738E-6</c:v>
                </c:pt>
                <c:pt idx="44">
                  <c:v>4.5362142345197534E-6</c:v>
                </c:pt>
                <c:pt idx="45">
                  <c:v>4.7003773613530453E-6</c:v>
                </c:pt>
                <c:pt idx="46">
                  <c:v>4.8699944386971931E-6</c:v>
                </c:pt>
                <c:pt idx="47">
                  <c:v>5.0452277431853511E-6</c:v>
                </c:pt>
                <c:pt idx="48">
                  <c:v>5.2262436838398537E-6</c:v>
                </c:pt>
                <c:pt idx="49">
                  <c:v>5.4132128830109415E-6</c:v>
                </c:pt>
                <c:pt idx="50">
                  <c:v>5.6063102580792693E-6</c:v>
                </c:pt>
                <c:pt idx="51">
                  <c:v>5.8057151038999407E-6</c:v>
                </c:pt>
                <c:pt idx="52">
                  <c:v>6.0116111759640376E-6</c:v>
                </c:pt>
                <c:pt idx="53">
                  <c:v>6.2241867742528064E-6</c:v>
                </c:pt>
                <c:pt idx="54">
                  <c:v>6.4436348277577547E-6</c:v>
                </c:pt>
                <c:pt idx="55">
                  <c:v>6.670152979638451E-6</c:v>
                </c:pt>
                <c:pt idx="56">
                  <c:v>6.9039436729890288E-6</c:v>
                </c:pt>
                <c:pt idx="57">
                  <c:v>7.1452142371821134E-6</c:v>
                </c:pt>
                <c:pt idx="58">
                  <c:v>7.3941769747581156E-6</c:v>
                </c:pt>
                <c:pt idx="59">
                  <c:v>7.6510492488255531E-6</c:v>
                </c:pt>
                <c:pt idx="60">
                  <c:v>7.9160535709372829E-6</c:v>
                </c:pt>
                <c:pt idx="61">
                  <c:v>8.1894176894054637E-6</c:v>
                </c:pt>
                <c:pt idx="62">
                  <c:v>8.4713746780163915E-6</c:v>
                </c:pt>
                <c:pt idx="63">
                  <c:v>8.7621630251054308E-6</c:v>
                </c:pt>
                <c:pt idx="64">
                  <c:v>9.0620267229494256E-6</c:v>
                </c:pt>
                <c:pt idx="65">
                  <c:v>9.3712153574335672E-6</c:v>
                </c:pt>
                <c:pt idx="66">
                  <c:v>9.6899841979472053E-6</c:v>
                </c:pt>
                <c:pt idx="67">
                  <c:v>1.0018594287461342E-5</c:v>
                </c:pt>
                <c:pt idx="68">
                  <c:v>1.0357312532739639E-5</c:v>
                </c:pt>
                <c:pt idx="69">
                  <c:v>1.0706411794631894E-5</c:v>
                </c:pt>
                <c:pt idx="70">
                  <c:v>1.1066170978397697E-5</c:v>
                </c:pt>
                <c:pt idx="71">
                  <c:v>1.1436875124006886E-5</c:v>
                </c:pt>
                <c:pt idx="72">
                  <c:v>1.1818815496360005E-5</c:v>
                </c:pt>
                <c:pt idx="73">
                  <c:v>1.2212289675371649E-5</c:v>
                </c:pt>
                <c:pt idx="74">
                  <c:v>1.2617601645857105E-5</c:v>
                </c:pt>
                <c:pt idx="75">
                  <c:v>1.3035061887160347E-5</c:v>
                </c:pt>
                <c:pt idx="76">
                  <c:v>1.3464987462461224E-5</c:v>
                </c:pt>
                <c:pt idx="77">
                  <c:v>1.3907702107695451E-5</c:v>
                </c:pt>
                <c:pt idx="78">
                  <c:v>1.4363536320021323E-5</c:v>
                </c:pt>
                <c:pt idx="79">
                  <c:v>1.4832827445763804E-5</c:v>
                </c:pt>
                <c:pt idx="80">
                  <c:v>1.531591976776514E-5</c:v>
                </c:pt>
                <c:pt idx="81">
                  <c:v>1.581316459206979E-5</c:v>
                </c:pt>
                <c:pt idx="82">
                  <c:v>1.6324920333868524E-5</c:v>
                </c:pt>
                <c:pt idx="83">
                  <c:v>1.6851552602625163E-5</c:v>
                </c:pt>
                <c:pt idx="84">
                  <c:v>1.7393434286308129E-5</c:v>
                </c:pt>
                <c:pt idx="85">
                  <c:v>1.795094563464585E-5</c:v>
                </c:pt>
                <c:pt idx="86">
                  <c:v>1.8524474341324148E-5</c:v>
                </c:pt>
                <c:pt idx="87">
                  <c:v>1.9114415625041057E-5</c:v>
                </c:pt>
                <c:pt idx="88">
                  <c:v>1.9721172309333976E-5</c:v>
                </c:pt>
                <c:pt idx="89">
                  <c:v>2.0345154901089835E-5</c:v>
                </c:pt>
                <c:pt idx="90">
                  <c:v>2.0986781667650371E-5</c:v>
                </c:pt>
                <c:pt idx="91">
                  <c:v>2.1646478712418605E-5</c:v>
                </c:pt>
                <c:pt idx="92">
                  <c:v>2.2324680048875402E-5</c:v>
                </c:pt>
                <c:pt idx="93">
                  <c:v>2.3021827672909408E-5</c:v>
                </c:pt>
                <c:pt idx="94">
                  <c:v>2.3738371633363015E-5</c:v>
                </c:pt>
                <c:pt idx="95">
                  <c:v>2.4474770100697448E-5</c:v>
                </c:pt>
                <c:pt idx="96">
                  <c:v>2.5231489433673663E-5</c:v>
                </c:pt>
                <c:pt idx="97">
                  <c:v>2.6009004243948916E-5</c:v>
                </c:pt>
                <c:pt idx="98">
                  <c:v>2.6807797458484267E-5</c:v>
                </c:pt>
                <c:pt idx="99">
                  <c:v>2.7628360379656063E-5</c:v>
                </c:pt>
                <c:pt idx="100">
                  <c:v>2.8471192742967039E-5</c:v>
                </c:pt>
                <c:pt idx="101">
                  <c:v>2.9336802772244619E-5</c:v>
                </c:pt>
                <c:pt idx="102">
                  <c:v>3.0225707232218494E-5</c:v>
                </c:pt>
                <c:pt idx="103">
                  <c:v>3.1138431478364498E-5</c:v>
                </c:pt>
                <c:pt idx="104">
                  <c:v>3.2075509503901045E-5</c:v>
                </c:pt>
                <c:pt idx="105">
                  <c:v>3.3037483983824144E-5</c:v>
                </c:pt>
                <c:pt idx="106">
                  <c:v>3.4024906315863841E-5</c:v>
                </c:pt>
                <c:pt idx="107">
                  <c:v>3.5038336658245063E-5</c:v>
                </c:pt>
                <c:pt idx="108">
                  <c:v>3.6078343964133776E-5</c:v>
                </c:pt>
                <c:pt idx="109">
                  <c:v>3.7145506012648487E-5</c:v>
                </c:pt>
                <c:pt idx="110">
                  <c:v>3.8240409436316285E-5</c:v>
                </c:pt>
                <c:pt idx="111">
                  <c:v>3.9363649744850211E-5</c:v>
                </c:pt>
                <c:pt idx="112">
                  <c:v>4.0515831345125906E-5</c:v>
                </c:pt>
                <c:pt idx="113">
                  <c:v>4.1697567557232058E-5</c:v>
                </c:pt>
                <c:pt idx="114">
                  <c:v>4.2909480626471407E-5</c:v>
                </c:pt>
                <c:pt idx="115">
                  <c:v>4.4152201731183773E-5</c:v>
                </c:pt>
                <c:pt idx="116">
                  <c:v>4.5426370986267024E-5</c:v>
                </c:pt>
                <c:pt idx="117">
                  <c:v>4.6732637442268436E-5</c:v>
                </c:pt>
                <c:pt idx="118">
                  <c:v>4.8071659079915523E-5</c:v>
                </c:pt>
                <c:pt idx="119">
                  <c:v>4.9444102799964765E-5</c:v>
                </c:pt>
                <c:pt idx="120">
                  <c:v>5.0850644408231403E-5</c:v>
                </c:pt>
                <c:pt idx="121">
                  <c:v>5.2291968595677613E-5</c:v>
                </c:pt>
                <c:pt idx="122">
                  <c:v>5.3768768913429751E-5</c:v>
                </c:pt>
                <c:pt idx="123">
                  <c:v>5.5281747742589683E-5</c:v>
                </c:pt>
                <c:pt idx="124">
                  <c:v>5.6831616258719915E-5</c:v>
                </c:pt>
                <c:pt idx="125">
                  <c:v>5.841909439086551E-5</c:v>
                </c:pt>
                <c:pt idx="126">
                  <c:v>6.0044910774989623E-5</c:v>
                </c:pt>
                <c:pt idx="127">
                  <c:v>6.1709802701691928E-5</c:v>
                </c:pt>
                <c:pt idx="128">
                  <c:v>6.3414516058081847E-5</c:v>
                </c:pt>
                <c:pt idx="129">
                  <c:v>6.515980526367977E-5</c:v>
                </c:pt>
                <c:pt idx="130">
                  <c:v>6.6946433200222051E-5</c:v>
                </c:pt>
                <c:pt idx="131">
                  <c:v>6.8775171135237578E-5</c:v>
                </c:pt>
                <c:pt idx="132">
                  <c:v>7.0646798639279832E-5</c:v>
                </c:pt>
                <c:pt idx="133">
                  <c:v>7.2562103496682755E-5</c:v>
                </c:pt>
                <c:pt idx="134">
                  <c:v>7.4521881609722617E-5</c:v>
                </c:pt>
                <c:pt idx="135">
                  <c:v>7.6526936896063679E-5</c:v>
                </c:pt>
                <c:pt idx="136">
                  <c:v>7.857808117936643E-5</c:v>
                </c:pt>
                <c:pt idx="137">
                  <c:v>8.0676134072942728E-5</c:v>
                </c:pt>
                <c:pt idx="138">
                  <c:v>8.2821922856339401E-5</c:v>
                </c:pt>
                <c:pt idx="139">
                  <c:v>8.5016282344735754E-5</c:v>
                </c:pt>
                <c:pt idx="140">
                  <c:v>8.7260054751046539E-5</c:v>
                </c:pt>
                <c:pt idx="141">
                  <c:v>8.9554089540612314E-5</c:v>
                </c:pt>
                <c:pt idx="142">
                  <c:v>9.1899243278377338E-5</c:v>
                </c:pt>
                <c:pt idx="143">
                  <c:v>9.429637946844696E-5</c:v>
                </c:pt>
                <c:pt idx="144">
                  <c:v>9.6746368385915873E-5</c:v>
                </c:pt>
                <c:pt idx="145">
                  <c:v>9.9250086900877689E-5</c:v>
                </c:pt>
                <c:pt idx="146">
                  <c:v>1.0180841829450943E-4</c:v>
                </c:pt>
                <c:pt idx="147">
                  <c:v>1.0442225206714331E-4</c:v>
                </c:pt>
                <c:pt idx="148">
                  <c:v>1.070924837382283E-4</c:v>
                </c:pt>
                <c:pt idx="149">
                  <c:v>1.0982001463810465E-4</c:v>
                </c:pt>
                <c:pt idx="150">
                  <c:v>1.126057516914925E-4</c:v>
                </c:pt>
                <c:pt idx="151">
                  <c:v>1.1545060719263126E-4</c:v>
                </c:pt>
                <c:pt idx="152">
                  <c:v>1.1835549857197925E-4</c:v>
                </c:pt>
                <c:pt idx="153">
                  <c:v>1.2132134815441084E-4</c:v>
                </c:pt>
                <c:pt idx="154">
                  <c:v>1.2434908290883783E-4</c:v>
                </c:pt>
                <c:pt idx="155">
                  <c:v>1.2743963418919359E-4</c:v>
                </c:pt>
                <c:pt idx="156">
                  <c:v>1.3059393746672063E-4</c:v>
                </c:pt>
                <c:pt idx="157">
                  <c:v>1.3381293205350797E-4</c:v>
                </c:pt>
                <c:pt idx="158">
                  <c:v>1.3709756081722621E-4</c:v>
                </c:pt>
                <c:pt idx="159">
                  <c:v>1.404487698870188E-4</c:v>
                </c:pt>
                <c:pt idx="160">
                  <c:v>1.4386750835050727E-4</c:v>
                </c:pt>
                <c:pt idx="161">
                  <c:v>1.4735472794187948E-4</c:v>
                </c:pt>
                <c:pt idx="162">
                  <c:v>1.5091138272102763E-4</c:v>
                </c:pt>
                <c:pt idx="163">
                  <c:v>1.5453842874372004E-4</c:v>
                </c:pt>
                <c:pt idx="164">
                  <c:v>1.5823682372278301E-4</c:v>
                </c:pt>
                <c:pt idx="165">
                  <c:v>1.6200752668028295E-4</c:v>
                </c:pt>
                <c:pt idx="166">
                  <c:v>1.6585149759070682E-4</c:v>
                </c:pt>
                <c:pt idx="167">
                  <c:v>1.6976969701514049E-4</c:v>
                </c:pt>
                <c:pt idx="168">
                  <c:v>1.7376308572644966E-4</c:v>
                </c:pt>
                <c:pt idx="169">
                  <c:v>1.7783262432548253E-4</c:v>
                </c:pt>
                <c:pt idx="170">
                  <c:v>1.8197927284830916E-4</c:v>
                </c:pt>
                <c:pt idx="171">
                  <c:v>1.8620399036453132E-4</c:v>
                </c:pt>
                <c:pt idx="172">
                  <c:v>1.9050773456669311E-4</c:v>
                </c:pt>
                <c:pt idx="173">
                  <c:v>1.9489146135083624E-4</c:v>
                </c:pt>
                <c:pt idx="174">
                  <c:v>1.9935612438824705E-4</c:v>
                </c:pt>
                <c:pt idx="175">
                  <c:v>2.0390267468845406E-4</c:v>
                </c:pt>
                <c:pt idx="176">
                  <c:v>2.0853206015353473E-4</c:v>
                </c:pt>
                <c:pt idx="177">
                  <c:v>2.1324522512381269E-4</c:v>
                </c:pt>
                <c:pt idx="178">
                  <c:v>2.180431099150165E-4</c:v>
                </c:pt>
                <c:pt idx="179">
                  <c:v>2.229266503469824E-4</c:v>
                </c:pt>
                <c:pt idx="180">
                  <c:v>2.2789677726401517E-4</c:v>
                </c:pt>
                <c:pt idx="181">
                  <c:v>2.3295441604698241E-4</c:v>
                </c:pt>
                <c:pt idx="182">
                  <c:v>2.3810048611728668E-4</c:v>
                </c:pt>
                <c:pt idx="183">
                  <c:v>2.4333590043279721E-4</c:v>
                </c:pt>
                <c:pt idx="184">
                  <c:v>2.4866156497590456E-4</c:v>
                </c:pt>
                <c:pt idx="185">
                  <c:v>2.5407837823381078E-4</c:v>
                </c:pt>
                <c:pt idx="186">
                  <c:v>2.595872306712045E-4</c:v>
                </c:pt>
                <c:pt idx="187">
                  <c:v>2.651890041954891E-4</c:v>
                </c:pt>
                <c:pt idx="188">
                  <c:v>2.7088457161469681E-4</c:v>
                </c:pt>
                <c:pt idx="189">
                  <c:v>2.766747960882914E-4</c:v>
                </c:pt>
                <c:pt idx="190">
                  <c:v>2.825605305710128E-4</c:v>
                </c:pt>
                <c:pt idx="191">
                  <c:v>2.8854261724997181E-4</c:v>
                </c:pt>
                <c:pt idx="192">
                  <c:v>2.9462188697516986E-4</c:v>
                </c:pt>
                <c:pt idx="193">
                  <c:v>3.0079915868367609E-4</c:v>
                </c:pt>
                <c:pt idx="194">
                  <c:v>3.0707523881764656E-4</c:v>
                </c:pt>
                <c:pt idx="195">
                  <c:v>3.1345092073644309E-4</c:v>
                </c:pt>
                <c:pt idx="196">
                  <c:v>3.1992698412304624E-4</c:v>
                </c:pt>
                <c:pt idx="197">
                  <c:v>3.265041943850362E-4</c:v>
                </c:pt>
                <c:pt idx="198">
                  <c:v>3.331833020503715E-4</c:v>
                </c:pt>
                <c:pt idx="199">
                  <c:v>3.3996504215823672E-4</c:v>
                </c:pt>
                <c:pt idx="200">
                  <c:v>3.4685013364521301E-4</c:v>
                </c:pt>
                <c:pt idx="201">
                  <c:v>3.5383927872706291E-4</c:v>
                </c:pt>
                <c:pt idx="202">
                  <c:v>3.6093316227640832E-4</c:v>
                </c:pt>
                <c:pt idx="203">
                  <c:v>3.6813245119658933E-4</c:v>
                </c:pt>
                <c:pt idx="204">
                  <c:v>3.7543779379201953E-4</c:v>
                </c:pt>
                <c:pt idx="205">
                  <c:v>3.8284981913533659E-4</c:v>
                </c:pt>
                <c:pt idx="206">
                  <c:v>3.9036913643167661E-4</c:v>
                </c:pt>
                <c:pt idx="207">
                  <c:v>3.9799633438039172E-4</c:v>
                </c:pt>
                <c:pt idx="208">
                  <c:v>4.0573198053455811E-4</c:v>
                </c:pt>
                <c:pt idx="209">
                  <c:v>4.1357662065861172E-4</c:v>
                </c:pt>
                <c:pt idx="210">
                  <c:v>4.2153077808446148E-4</c:v>
                </c:pt>
                <c:pt idx="211">
                  <c:v>4.2959495306644347E-4</c:v>
                </c:pt>
                <c:pt idx="212">
                  <c:v>4.3776962213550074E-4</c:v>
                </c:pt>
                <c:pt idx="213">
                  <c:v>4.460552374529283E-4</c:v>
                </c:pt>
                <c:pt idx="214">
                  <c:v>4.54452226164101E-4</c:v>
                </c:pt>
                <c:pt idx="215">
                  <c:v>4.6296098975255904E-4</c:v>
                </c:pt>
                <c:pt idx="216">
                  <c:v>4.7158190339485192E-4</c:v>
                </c:pt>
                <c:pt idx="217">
                  <c:v>4.80315315316547E-4</c:v>
                </c:pt>
                <c:pt idx="218">
                  <c:v>4.8916154614981092E-4</c:v>
                </c:pt>
                <c:pt idx="219">
                  <c:v>4.981208882929906E-4</c:v>
                </c:pt>
                <c:pt idx="220">
                  <c:v>5.0719360527259969E-4</c:v>
                </c:pt>
                <c:pt idx="221">
                  <c:v>5.1637993110818033E-4</c:v>
                </c:pt>
                <c:pt idx="222">
                  <c:v>5.2568006968041394E-4</c:v>
                </c:pt>
                <c:pt idx="223">
                  <c:v>5.3509419410299026E-4</c:v>
                </c:pt>
                <c:pt idx="224">
                  <c:v>5.4462244609864829E-4</c:v>
                </c:pt>
                <c:pt idx="225">
                  <c:v>5.5426493537982563E-4</c:v>
                </c:pt>
                <c:pt idx="226">
                  <c:v>5.6402173903442095E-4</c:v>
                </c:pt>
                <c:pt idx="227">
                  <c:v>5.7389290091709082E-4</c:v>
                </c:pt>
                <c:pt idx="228">
                  <c:v>5.8387843104656272E-4</c:v>
                </c:pt>
                <c:pt idx="229">
                  <c:v>5.9397830500944272E-4</c:v>
                </c:pt>
                <c:pt idx="230">
                  <c:v>6.0419246337096934E-4</c:v>
                </c:pt>
                <c:pt idx="231">
                  <c:v>6.1452081109322841E-4</c:v>
                </c:pt>
                <c:pt idx="232">
                  <c:v>6.2496321696125894E-4</c:v>
                </c:pt>
                <c:pt idx="233">
                  <c:v>6.3551951301758401E-4</c:v>
                </c:pt>
                <c:pt idx="234">
                  <c:v>6.4618949400562409E-4</c:v>
                </c:pt>
                <c:pt idx="235">
                  <c:v>6.5697291682247929E-4</c:v>
                </c:pt>
                <c:pt idx="236">
                  <c:v>6.6786949998157922E-4</c:v>
                </c:pt>
                <c:pt idx="237">
                  <c:v>6.7887892308570504E-4</c:v>
                </c:pt>
                <c:pt idx="238">
                  <c:v>6.9000082631083331E-4</c:v>
                </c:pt>
                <c:pt idx="239">
                  <c:v>7.0123480990133481E-4</c:v>
                </c:pt>
                <c:pt idx="240">
                  <c:v>7.125804336770077E-4</c:v>
                </c:pt>
                <c:pt idx="241">
                  <c:v>7.24037216552436E-4</c:v>
                </c:pt>
                <c:pt idx="242">
                  <c:v>7.3560463606913795E-4</c:v>
                </c:pt>
                <c:pt idx="243">
                  <c:v>7.4728212794106415E-4</c:v>
                </c:pt>
                <c:pt idx="244">
                  <c:v>7.590690856138511E-4</c:v>
                </c:pt>
                <c:pt idx="245">
                  <c:v>7.7096485983838134E-4</c:v>
                </c:pt>
                <c:pt idx="246">
                  <c:v>7.8296875825908702E-4</c:v>
                </c:pt>
                <c:pt idx="247">
                  <c:v>7.9508004501752994E-4</c:v>
                </c:pt>
                <c:pt idx="248">
                  <c:v>8.0729794037168255E-4</c:v>
                </c:pt>
                <c:pt idx="249">
                  <c:v>8.1962162033142596E-4</c:v>
                </c:pt>
                <c:pt idx="250">
                  <c:v>8.3205021631070619E-4</c:v>
                </c:pt>
                <c:pt idx="251">
                  <c:v>8.4458281479684542E-4</c:v>
                </c:pt>
                <c:pt idx="252">
                  <c:v>8.5721845703745278E-4</c:v>
                </c:pt>
                <c:pt idx="253">
                  <c:v>8.6995613874536488E-4</c:v>
                </c:pt>
                <c:pt idx="254">
                  <c:v>8.827948098221372E-4</c:v>
                </c:pt>
                <c:pt idx="255">
                  <c:v>8.9573337410044508E-4</c:v>
                </c:pt>
                <c:pt idx="256">
                  <c:v>9.087706891059053E-4</c:v>
                </c:pt>
                <c:pt idx="257">
                  <c:v>9.2190556583868449E-4</c:v>
                </c:pt>
                <c:pt idx="258">
                  <c:v>9.3513676857538252E-4</c:v>
                </c:pt>
                <c:pt idx="259">
                  <c:v>9.48463014691547E-4</c:v>
                </c:pt>
                <c:pt idx="260">
                  <c:v>9.6188297450524479E-4</c:v>
                </c:pt>
                <c:pt idx="261">
                  <c:v>9.7539527114212351E-4</c:v>
                </c:pt>
                <c:pt idx="262">
                  <c:v>9.8899848042226951E-4</c:v>
                </c:pt>
                <c:pt idx="263">
                  <c:v>1.00269113076933E-3</c:v>
                </c:pt>
                <c:pt idx="264">
                  <c:v>1.016471703142216E-3</c:v>
                </c:pt>
                <c:pt idx="265">
                  <c:v>1.0303386309897262E-3</c:v>
                </c:pt>
                <c:pt idx="266">
                  <c:v>1.044290300228481E-3</c:v>
                </c:pt>
                <c:pt idx="267">
                  <c:v>1.0583250492444947E-3</c:v>
                </c:pt>
                <c:pt idx="268">
                  <c:v>1.0724411689186607E-3</c:v>
                </c:pt>
                <c:pt idx="269">
                  <c:v>1.0866369026765086E-3</c:v>
                </c:pt>
                <c:pt idx="270">
                  <c:v>1.1009104465625182E-3</c:v>
                </c:pt>
                <c:pt idx="271">
                  <c:v>1.1152599493392519E-3</c:v>
                </c:pt>
                <c:pt idx="272">
                  <c:v>1.1296835126115964E-3</c:v>
                </c:pt>
                <c:pt idx="273">
                  <c:v>1.1441791909763605E-3</c:v>
                </c:pt>
                <c:pt idx="274">
                  <c:v>1.158744992197457E-3</c:v>
                </c:pt>
                <c:pt idx="275">
                  <c:v>1.1733788774069386E-3</c:v>
                </c:pt>
                <c:pt idx="276">
                  <c:v>1.1880787613320184E-3</c:v>
                </c:pt>
                <c:pt idx="277">
                  <c:v>1.2028425125483501E-3</c:v>
                </c:pt>
                <c:pt idx="278">
                  <c:v>1.21766795375972E-3</c:v>
                </c:pt>
                <c:pt idx="279">
                  <c:v>1.2325528621042656E-3</c:v>
                </c:pt>
                <c:pt idx="280">
                  <c:v>1.24749496948743E-3</c:v>
                </c:pt>
                <c:pt idx="281">
                  <c:v>1.2624919629417744E-3</c:v>
                </c:pt>
                <c:pt idx="282">
                  <c:v>1.2775414850136947E-3</c:v>
                </c:pt>
                <c:pt idx="283">
                  <c:v>1.2926411341772355E-3</c:v>
                </c:pt>
                <c:pt idx="284">
                  <c:v>1.3077884652749601E-3</c:v>
                </c:pt>
                <c:pt idx="285">
                  <c:v>1.3229809899860726E-3</c:v>
                </c:pt>
                <c:pt idx="286">
                  <c:v>1.3382161773216777E-3</c:v>
                </c:pt>
                <c:pt idx="287">
                  <c:v>1.3534914541473348E-3</c:v>
                </c:pt>
                <c:pt idx="288">
                  <c:v>1.3688042057328261E-3</c:v>
                </c:pt>
                <c:pt idx="289">
                  <c:v>1.3841517763291235E-3</c:v>
                </c:pt>
                <c:pt idx="290">
                  <c:v>1.3995314697725705E-3</c:v>
                </c:pt>
                <c:pt idx="291">
                  <c:v>1.4149405501161622E-3</c:v>
                </c:pt>
                <c:pt idx="292">
                  <c:v>1.4303762422878958E-3</c:v>
                </c:pt>
                <c:pt idx="293">
                  <c:v>1.4458357327760381E-3</c:v>
                </c:pt>
                <c:pt idx="294">
                  <c:v>1.4613161703412566E-3</c:v>
                </c:pt>
                <c:pt idx="295">
                  <c:v>1.4768146667554231E-3</c:v>
                </c:pt>
                <c:pt idx="296">
                  <c:v>1.492328297566993E-3</c:v>
                </c:pt>
                <c:pt idx="297">
                  <c:v>1.5078541028926966E-3</c:v>
                </c:pt>
                <c:pt idx="298">
                  <c:v>1.5233890882354337E-3</c:v>
                </c:pt>
                <c:pt idx="299">
                  <c:v>1.5389302253281001E-3</c:v>
                </c:pt>
                <c:pt idx="300">
                  <c:v>1.5544744530031141E-3</c:v>
                </c:pt>
                <c:pt idx="301">
                  <c:v>1.5700186780874068E-3</c:v>
                </c:pt>
                <c:pt idx="302">
                  <c:v>1.5855597763225631E-3</c:v>
                </c:pt>
                <c:pt idx="303">
                  <c:v>1.6010945933098359E-3</c:v>
                </c:pt>
                <c:pt idx="304">
                  <c:v>1.6166199454797185E-3</c:v>
                </c:pt>
                <c:pt idx="305">
                  <c:v>1.6321326210856823E-3</c:v>
                </c:pt>
                <c:pt idx="306">
                  <c:v>1.6476293812218046E-3</c:v>
                </c:pt>
                <c:pt idx="307">
                  <c:v>1.6631069608638303E-3</c:v>
                </c:pt>
                <c:pt idx="308">
                  <c:v>1.6785620699332779E-3</c:v>
                </c:pt>
                <c:pt idx="309">
                  <c:v>1.6939913943842086E-3</c:v>
                </c:pt>
                <c:pt idx="310">
                  <c:v>1.7093915973121832E-3</c:v>
                </c:pt>
                <c:pt idx="311">
                  <c:v>1.724759320084924E-3</c:v>
                </c:pt>
                <c:pt idx="312">
                  <c:v>1.7400911834942381E-3</c:v>
                </c:pt>
                <c:pt idx="313">
                  <c:v>1.7553837889287066E-3</c:v>
                </c:pt>
                <c:pt idx="314">
                  <c:v>1.7706337195665734E-3</c:v>
                </c:pt>
                <c:pt idx="315">
                  <c:v>1.7858375415883414E-3</c:v>
                </c:pt>
                <c:pt idx="316">
                  <c:v>1.8009918054084815E-3</c:v>
                </c:pt>
                <c:pt idx="317">
                  <c:v>1.816093046925723E-3</c:v>
                </c:pt>
                <c:pt idx="318">
                  <c:v>1.8311377887912572E-3</c:v>
                </c:pt>
                <c:pt idx="319">
                  <c:v>1.8461225416943501E-3</c:v>
                </c:pt>
                <c:pt idx="320">
                  <c:v>1.8610438056646224E-3</c:v>
                </c:pt>
                <c:pt idx="321">
                  <c:v>1.8758980713904389E-3</c:v>
                </c:pt>
                <c:pt idx="322">
                  <c:v>1.8906818215526839E-3</c:v>
                </c:pt>
                <c:pt idx="323">
                  <c:v>1.905391532173279E-3</c:v>
                </c:pt>
                <c:pt idx="324">
                  <c:v>1.9200236739777515E-3</c:v>
                </c:pt>
                <c:pt idx="325">
                  <c:v>1.9345747137710988E-3</c:v>
                </c:pt>
                <c:pt idx="326">
                  <c:v>1.9490411158262901E-3</c:v>
                </c:pt>
                <c:pt idx="327">
                  <c:v>1.9634193432845979E-3</c:v>
                </c:pt>
                <c:pt idx="328">
                  <c:v>1.9777058595670731E-3</c:v>
                </c:pt>
                <c:pt idx="329">
                  <c:v>1.9918971297963346E-3</c:v>
                </c:pt>
                <c:pt idx="330">
                  <c:v>2.0059896222279269E-3</c:v>
                </c:pt>
                <c:pt idx="331">
                  <c:v>2.0199798096904652E-3</c:v>
                </c:pt>
                <c:pt idx="332">
                  <c:v>2.033864171033743E-3</c:v>
                </c:pt>
                <c:pt idx="333">
                  <c:v>2.0476391925839618E-3</c:v>
                </c:pt>
                <c:pt idx="334">
                  <c:v>2.0613013696053136E-3</c:v>
                </c:pt>
                <c:pt idx="335">
                  <c:v>2.0748472077670452E-3</c:v>
                </c:pt>
                <c:pt idx="336">
                  <c:v>2.0882732246151892E-3</c:v>
                </c:pt>
                <c:pt idx="337">
                  <c:v>2.1015759510480203E-3</c:v>
                </c:pt>
                <c:pt idx="338">
                  <c:v>2.1147519327944881E-3</c:v>
                </c:pt>
                <c:pt idx="339">
                  <c:v>2.1277977318947109E-3</c:v>
                </c:pt>
                <c:pt idx="340">
                  <c:v>2.1407099281815778E-3</c:v>
                </c:pt>
                <c:pt idx="341">
                  <c:v>2.1534851207627259E-3</c:v>
                </c:pt>
                <c:pt idx="342">
                  <c:v>2.1661199295018758E-3</c:v>
                </c:pt>
                <c:pt idx="343">
                  <c:v>2.1786109964986554E-3</c:v>
                </c:pt>
                <c:pt idx="344">
                  <c:v>2.1909549875660721E-3</c:v>
                </c:pt>
                <c:pt idx="345">
                  <c:v>2.2031485937046491E-3</c:v>
                </c:pt>
                <c:pt idx="346">
                  <c:v>2.2151885325724192E-3</c:v>
                </c:pt>
                <c:pt idx="347">
                  <c:v>2.2270715499497083E-3</c:v>
                </c:pt>
                <c:pt idx="348">
                  <c:v>2.238794421198011E-3</c:v>
                </c:pt>
                <c:pt idx="349">
                  <c:v>2.2503539527118652E-3</c:v>
                </c:pt>
                <c:pt idx="350">
                  <c:v>2.2617469833629044E-3</c:v>
                </c:pt>
                <c:pt idx="351">
                  <c:v>2.2729703859351402E-3</c:v>
                </c:pt>
                <c:pt idx="352">
                  <c:v>2.2840210685506454E-3</c:v>
                </c:pt>
                <c:pt idx="353">
                  <c:v>2.2948959760845642E-3</c:v>
                </c:pt>
                <c:pt idx="354">
                  <c:v>2.3055920915688007E-3</c:v>
                </c:pt>
                <c:pt idx="355">
                  <c:v>2.316106437583192E-3</c:v>
                </c:pt>
                <c:pt idx="356">
                  <c:v>2.3264360776335002E-3</c:v>
                </c:pt>
                <c:pt idx="357">
                  <c:v>2.3365781175152195E-3</c:v>
                </c:pt>
                <c:pt idx="358">
                  <c:v>2.3465297066623987E-3</c:v>
                </c:pt>
                <c:pt idx="359">
                  <c:v>2.3562880394803988E-3</c:v>
                </c:pt>
                <c:pt idx="360">
                  <c:v>2.3658503566621018E-3</c:v>
                </c:pt>
                <c:pt idx="361">
                  <c:v>2.3752139464862081E-3</c:v>
                </c:pt>
                <c:pt idx="362">
                  <c:v>2.3843761460972134E-3</c:v>
                </c:pt>
                <c:pt idx="363">
                  <c:v>2.3933343427659541E-3</c:v>
                </c:pt>
                <c:pt idx="364">
                  <c:v>2.4020859751299711E-3</c:v>
                </c:pt>
                <c:pt idx="365">
                  <c:v>2.4106285344129472E-3</c:v>
                </c:pt>
                <c:pt idx="366">
                  <c:v>2.4189595656221676E-3</c:v>
                </c:pt>
                <c:pt idx="367">
                  <c:v>2.4270766687235208E-3</c:v>
                </c:pt>
                <c:pt idx="368">
                  <c:v>2.4349774997929805E-3</c:v>
                </c:pt>
                <c:pt idx="369">
                  <c:v>2.4426597721440052E-3</c:v>
                </c:pt>
                <c:pt idx="370">
                  <c:v>2.450121257429909E-3</c:v>
                </c:pt>
                <c:pt idx="371">
                  <c:v>2.4573597867205872E-3</c:v>
                </c:pt>
                <c:pt idx="372">
                  <c:v>2.464373251552892E-3</c:v>
                </c:pt>
                <c:pt idx="373">
                  <c:v>2.4711596049537673E-3</c:v>
                </c:pt>
                <c:pt idx="374">
                  <c:v>2.4777168624357023E-3</c:v>
                </c:pt>
                <c:pt idx="375">
                  <c:v>2.4840431029635548E-3</c:v>
                </c:pt>
                <c:pt idx="376">
                  <c:v>2.4901364698923533E-3</c:v>
                </c:pt>
                <c:pt idx="377">
                  <c:v>2.4959951718752042E-3</c:v>
                </c:pt>
                <c:pt idx="378">
                  <c:v>2.5016174837408597E-3</c:v>
                </c:pt>
                <c:pt idx="379">
                  <c:v>2.5070017473402197E-3</c:v>
                </c:pt>
                <c:pt idx="380">
                  <c:v>2.5121463723612146E-3</c:v>
                </c:pt>
                <c:pt idx="381">
                  <c:v>2.5170498371116672E-3</c:v>
                </c:pt>
                <c:pt idx="382">
                  <c:v>2.5217106892692592E-3</c:v>
                </c:pt>
                <c:pt idx="383">
                  <c:v>2.5261275465984297E-3</c:v>
                </c:pt>
                <c:pt idx="384">
                  <c:v>2.5302990976334952E-3</c:v>
                </c:pt>
                <c:pt idx="385">
                  <c:v>2.5342241023276505E-3</c:v>
                </c:pt>
                <c:pt idx="386">
                  <c:v>2.5379013926672312E-3</c:v>
                </c:pt>
                <c:pt idx="387">
                  <c:v>2.5413298732510272E-3</c:v>
                </c:pt>
                <c:pt idx="388">
                  <c:v>2.5445085218340656E-3</c:v>
                </c:pt>
                <c:pt idx="389">
                  <c:v>2.5474363898356045E-3</c:v>
                </c:pt>
                <c:pt idx="390">
                  <c:v>2.5501126028108652E-3</c:v>
                </c:pt>
                <c:pt idx="391">
                  <c:v>2.5525363608863406E-3</c:v>
                </c:pt>
                <c:pt idx="392">
                  <c:v>2.5547069391581643E-3</c:v>
                </c:pt>
                <c:pt idx="393">
                  <c:v>2.5566236880535248E-3</c:v>
                </c:pt>
                <c:pt idx="394">
                  <c:v>2.558286033654553E-3</c:v>
                </c:pt>
                <c:pt idx="395">
                  <c:v>2.5596934779847759E-3</c:v>
                </c:pt>
                <c:pt idx="396">
                  <c:v>2.5608455992577146E-3</c:v>
                </c:pt>
                <c:pt idx="397">
                  <c:v>2.5617420520875566E-3</c:v>
                </c:pt>
                <c:pt idx="398">
                  <c:v>2.5623825676616896E-3</c:v>
                </c:pt>
                <c:pt idx="399">
                  <c:v>2.5627669538750802E-3</c:v>
                </c:pt>
                <c:pt idx="400">
                  <c:v>2.5628950954262857E-3</c:v>
                </c:pt>
                <c:pt idx="401">
                  <c:v>2.5627669538750811E-3</c:v>
                </c:pt>
                <c:pt idx="402">
                  <c:v>2.5623825676616926E-3</c:v>
                </c:pt>
                <c:pt idx="403">
                  <c:v>2.5617420520875609E-3</c:v>
                </c:pt>
                <c:pt idx="404">
                  <c:v>2.5608455992577228E-3</c:v>
                </c:pt>
                <c:pt idx="405">
                  <c:v>2.5596934779847872E-3</c:v>
                </c:pt>
                <c:pt idx="406">
                  <c:v>2.558286033654566E-3</c:v>
                </c:pt>
                <c:pt idx="407">
                  <c:v>2.5566236880535404E-3</c:v>
                </c:pt>
                <c:pt idx="408">
                  <c:v>2.5547069391581812E-3</c:v>
                </c:pt>
                <c:pt idx="409">
                  <c:v>2.5525363608863596E-3</c:v>
                </c:pt>
                <c:pt idx="410">
                  <c:v>2.5501126028108852E-3</c:v>
                </c:pt>
                <c:pt idx="411">
                  <c:v>2.547436389835627E-3</c:v>
                </c:pt>
                <c:pt idx="412">
                  <c:v>2.544508521834095E-3</c:v>
                </c:pt>
                <c:pt idx="413">
                  <c:v>2.5413298732510532E-3</c:v>
                </c:pt>
                <c:pt idx="414">
                  <c:v>2.5379013926672615E-3</c:v>
                </c:pt>
                <c:pt idx="415">
                  <c:v>2.5342241023276818E-3</c:v>
                </c:pt>
                <c:pt idx="416">
                  <c:v>2.5302990976335282E-3</c:v>
                </c:pt>
                <c:pt idx="417">
                  <c:v>2.5261275465984644E-3</c:v>
                </c:pt>
                <c:pt idx="418">
                  <c:v>2.5217106892692952E-3</c:v>
                </c:pt>
                <c:pt idx="419">
                  <c:v>2.5170498371117058E-3</c:v>
                </c:pt>
                <c:pt idx="420">
                  <c:v>2.5121463723612558E-3</c:v>
                </c:pt>
                <c:pt idx="421">
                  <c:v>2.5070017473402617E-3</c:v>
                </c:pt>
                <c:pt idx="422">
                  <c:v>2.5016174837409052E-3</c:v>
                </c:pt>
                <c:pt idx="423">
                  <c:v>2.4959951718752506E-3</c:v>
                </c:pt>
                <c:pt idx="424">
                  <c:v>2.4901364698924023E-3</c:v>
                </c:pt>
                <c:pt idx="425">
                  <c:v>2.4840431029636042E-3</c:v>
                </c:pt>
                <c:pt idx="426">
                  <c:v>2.4777168624357565E-3</c:v>
                </c:pt>
                <c:pt idx="427">
                  <c:v>2.471159604953822E-3</c:v>
                </c:pt>
                <c:pt idx="428">
                  <c:v>2.4643732515529514E-3</c:v>
                </c:pt>
                <c:pt idx="429">
                  <c:v>2.4573597867206449E-3</c:v>
                </c:pt>
                <c:pt idx="430">
                  <c:v>2.4501212574299693E-3</c:v>
                </c:pt>
                <c:pt idx="431">
                  <c:v>2.4426597721440672E-3</c:v>
                </c:pt>
                <c:pt idx="432">
                  <c:v>2.4349774997930447E-3</c:v>
                </c:pt>
                <c:pt idx="433">
                  <c:v>2.4270766687235863E-3</c:v>
                </c:pt>
                <c:pt idx="434">
                  <c:v>2.4189595656222379E-3</c:v>
                </c:pt>
                <c:pt idx="435">
                  <c:v>2.4106285344130153E-3</c:v>
                </c:pt>
                <c:pt idx="436">
                  <c:v>2.4020859751300431E-3</c:v>
                </c:pt>
                <c:pt idx="437">
                  <c:v>2.3933343427660256E-3</c:v>
                </c:pt>
                <c:pt idx="438">
                  <c:v>2.3843761460972863E-3</c:v>
                </c:pt>
                <c:pt idx="439">
                  <c:v>2.3752139464862832E-3</c:v>
                </c:pt>
                <c:pt idx="440">
                  <c:v>2.3658503566621812E-3</c:v>
                </c:pt>
                <c:pt idx="441">
                  <c:v>2.3562880394804777E-3</c:v>
                </c:pt>
                <c:pt idx="442">
                  <c:v>2.3465297066624789E-3</c:v>
                </c:pt>
                <c:pt idx="443">
                  <c:v>2.336578117515305E-3</c:v>
                </c:pt>
                <c:pt idx="444">
                  <c:v>2.3264360776335813E-3</c:v>
                </c:pt>
                <c:pt idx="445">
                  <c:v>2.3161064375832735E-3</c:v>
                </c:pt>
                <c:pt idx="446">
                  <c:v>2.3055920915688879E-3</c:v>
                </c:pt>
                <c:pt idx="447">
                  <c:v>2.2948959760846505E-3</c:v>
                </c:pt>
                <c:pt idx="448">
                  <c:v>2.2840210685507352E-3</c:v>
                </c:pt>
                <c:pt idx="449">
                  <c:v>2.2729703859352339E-3</c:v>
                </c:pt>
                <c:pt idx="450">
                  <c:v>2.2617469833629976E-3</c:v>
                </c:pt>
                <c:pt idx="451">
                  <c:v>2.2503539527119663E-3</c:v>
                </c:pt>
                <c:pt idx="452">
                  <c:v>2.2387944211981052E-3</c:v>
                </c:pt>
                <c:pt idx="453">
                  <c:v>2.2270715499498038E-3</c:v>
                </c:pt>
                <c:pt idx="454">
                  <c:v>2.2151885325725168E-3</c:v>
                </c:pt>
                <c:pt idx="455">
                  <c:v>2.2031485937047484E-3</c:v>
                </c:pt>
                <c:pt idx="456">
                  <c:v>2.1909549875661692E-3</c:v>
                </c:pt>
                <c:pt idx="457">
                  <c:v>2.1786109964987582E-3</c:v>
                </c:pt>
                <c:pt idx="458">
                  <c:v>2.1661199295019812E-3</c:v>
                </c:pt>
                <c:pt idx="459">
                  <c:v>2.15348512076283E-3</c:v>
                </c:pt>
                <c:pt idx="460">
                  <c:v>2.1407099281816823E-3</c:v>
                </c:pt>
                <c:pt idx="461">
                  <c:v>2.1277977318948198E-3</c:v>
                </c:pt>
                <c:pt idx="462">
                  <c:v>2.1147519327945983E-3</c:v>
                </c:pt>
                <c:pt idx="463">
                  <c:v>2.1015759510481253E-3</c:v>
                </c:pt>
                <c:pt idx="464">
                  <c:v>2.0882732246153002E-3</c:v>
                </c:pt>
                <c:pt idx="465">
                  <c:v>2.074847207767158E-3</c:v>
                </c:pt>
                <c:pt idx="466">
                  <c:v>2.0613013696054246E-3</c:v>
                </c:pt>
                <c:pt idx="467">
                  <c:v>2.0476391925840745E-3</c:v>
                </c:pt>
                <c:pt idx="468">
                  <c:v>2.0338641710338566E-3</c:v>
                </c:pt>
                <c:pt idx="469">
                  <c:v>2.0199798096905792E-3</c:v>
                </c:pt>
                <c:pt idx="470">
                  <c:v>2.0059896222280392E-3</c:v>
                </c:pt>
                <c:pt idx="471">
                  <c:v>1.991897129796449E-3</c:v>
                </c:pt>
                <c:pt idx="472">
                  <c:v>1.9777058595671867E-3</c:v>
                </c:pt>
                <c:pt idx="473">
                  <c:v>1.9634193432847141E-3</c:v>
                </c:pt>
                <c:pt idx="474">
                  <c:v>1.9490411158264069E-3</c:v>
                </c:pt>
                <c:pt idx="475">
                  <c:v>1.9345747137712189E-3</c:v>
                </c:pt>
                <c:pt idx="476">
                  <c:v>1.920023673977871E-3</c:v>
                </c:pt>
                <c:pt idx="477">
                  <c:v>1.9053915321733989E-3</c:v>
                </c:pt>
                <c:pt idx="478">
                  <c:v>1.8906818215528058E-3</c:v>
                </c:pt>
                <c:pt idx="479">
                  <c:v>1.8758980713905612E-3</c:v>
                </c:pt>
                <c:pt idx="480">
                  <c:v>1.8610438056647449E-3</c:v>
                </c:pt>
                <c:pt idx="481">
                  <c:v>1.8461225416944714E-3</c:v>
                </c:pt>
                <c:pt idx="482">
                  <c:v>1.8311377887913806E-3</c:v>
                </c:pt>
                <c:pt idx="483">
                  <c:v>1.8160930469258468E-3</c:v>
                </c:pt>
                <c:pt idx="484">
                  <c:v>1.8009918054086066E-3</c:v>
                </c:pt>
                <c:pt idx="485">
                  <c:v>1.7858375415884655E-3</c:v>
                </c:pt>
                <c:pt idx="486">
                  <c:v>1.7706337195666961E-3</c:v>
                </c:pt>
                <c:pt idx="487">
                  <c:v>1.7553837889288317E-3</c:v>
                </c:pt>
                <c:pt idx="488">
                  <c:v>1.7400911834943641E-3</c:v>
                </c:pt>
                <c:pt idx="489">
                  <c:v>1.7247593200850518E-3</c:v>
                </c:pt>
                <c:pt idx="490">
                  <c:v>1.7093915973123116E-3</c:v>
                </c:pt>
                <c:pt idx="491">
                  <c:v>1.6939913943843348E-3</c:v>
                </c:pt>
                <c:pt idx="492">
                  <c:v>1.6785620699334045E-3</c:v>
                </c:pt>
                <c:pt idx="493">
                  <c:v>1.6631069608639569E-3</c:v>
                </c:pt>
                <c:pt idx="494">
                  <c:v>1.6476293812219315E-3</c:v>
                </c:pt>
                <c:pt idx="495">
                  <c:v>1.6321326210858107E-3</c:v>
                </c:pt>
                <c:pt idx="496">
                  <c:v>1.6166199454798456E-3</c:v>
                </c:pt>
                <c:pt idx="497">
                  <c:v>1.6010945933099638E-3</c:v>
                </c:pt>
                <c:pt idx="498">
                  <c:v>1.5855597763226885E-3</c:v>
                </c:pt>
                <c:pt idx="499">
                  <c:v>1.5700186780875348E-3</c:v>
                </c:pt>
                <c:pt idx="500">
                  <c:v>1.5544744530032425E-3</c:v>
                </c:pt>
                <c:pt idx="501">
                  <c:v>1.5389302253282287E-3</c:v>
                </c:pt>
                <c:pt idx="502">
                  <c:v>1.5233890882355621E-3</c:v>
                </c:pt>
                <c:pt idx="503">
                  <c:v>1.5078541028928243E-3</c:v>
                </c:pt>
                <c:pt idx="504">
                  <c:v>1.4923282975671198E-3</c:v>
                </c:pt>
                <c:pt idx="505">
                  <c:v>1.4768146667555519E-3</c:v>
                </c:pt>
                <c:pt idx="506">
                  <c:v>1.4613161703413821E-3</c:v>
                </c:pt>
                <c:pt idx="507">
                  <c:v>1.4458357327761661E-3</c:v>
                </c:pt>
                <c:pt idx="508">
                  <c:v>1.4303762422880231E-3</c:v>
                </c:pt>
                <c:pt idx="509">
                  <c:v>1.4149405501162901E-3</c:v>
                </c:pt>
                <c:pt idx="510">
                  <c:v>1.3995314697726959E-3</c:v>
                </c:pt>
                <c:pt idx="511">
                  <c:v>1.3841517763292508E-3</c:v>
                </c:pt>
                <c:pt idx="512">
                  <c:v>1.3688042057329512E-3</c:v>
                </c:pt>
                <c:pt idx="513">
                  <c:v>1.3534914541474608E-3</c:v>
                </c:pt>
                <c:pt idx="514">
                  <c:v>1.3382161773218028E-3</c:v>
                </c:pt>
                <c:pt idx="515">
                  <c:v>1.3229809899861975E-3</c:v>
                </c:pt>
                <c:pt idx="516">
                  <c:v>1.3077884652750841E-3</c:v>
                </c:pt>
                <c:pt idx="517">
                  <c:v>1.2926411341773582E-3</c:v>
                </c:pt>
                <c:pt idx="518">
                  <c:v>1.2775414850138185E-3</c:v>
                </c:pt>
                <c:pt idx="519">
                  <c:v>1.2624919629418974E-3</c:v>
                </c:pt>
                <c:pt idx="520">
                  <c:v>1.2474949694875521E-3</c:v>
                </c:pt>
                <c:pt idx="521">
                  <c:v>1.2325528621043868E-3</c:v>
                </c:pt>
                <c:pt idx="522">
                  <c:v>1.2176679537598421E-3</c:v>
                </c:pt>
                <c:pt idx="523">
                  <c:v>1.2028425125484713E-3</c:v>
                </c:pt>
                <c:pt idx="524">
                  <c:v>1.1880787613321388E-3</c:v>
                </c:pt>
                <c:pt idx="525">
                  <c:v>1.1733788774070581E-3</c:v>
                </c:pt>
                <c:pt idx="526">
                  <c:v>1.1587449921975769E-3</c:v>
                </c:pt>
                <c:pt idx="527">
                  <c:v>1.1441791909764791E-3</c:v>
                </c:pt>
                <c:pt idx="528">
                  <c:v>1.1296835126117166E-3</c:v>
                </c:pt>
                <c:pt idx="529">
                  <c:v>1.1152599493393681E-3</c:v>
                </c:pt>
                <c:pt idx="530">
                  <c:v>1.1009104465626346E-3</c:v>
                </c:pt>
                <c:pt idx="531">
                  <c:v>1.0866369026766246E-3</c:v>
                </c:pt>
                <c:pt idx="532">
                  <c:v>1.0724411689187786E-3</c:v>
                </c:pt>
                <c:pt idx="533">
                  <c:v>1.0583250492446105E-3</c:v>
                </c:pt>
                <c:pt idx="534">
                  <c:v>1.0442903002285961E-3</c:v>
                </c:pt>
                <c:pt idx="535">
                  <c:v>1.0303386309898387E-3</c:v>
                </c:pt>
                <c:pt idx="536">
                  <c:v>1.0164717031423301E-3</c:v>
                </c:pt>
                <c:pt idx="537">
                  <c:v>1.0026911307694424E-3</c:v>
                </c:pt>
                <c:pt idx="538">
                  <c:v>9.8899848042238139E-4</c:v>
                </c:pt>
                <c:pt idx="539">
                  <c:v>9.7539527114223453E-4</c:v>
                </c:pt>
                <c:pt idx="540">
                  <c:v>9.6188297450535483E-4</c:v>
                </c:pt>
                <c:pt idx="541">
                  <c:v>9.4846301469165564E-4</c:v>
                </c:pt>
                <c:pt idx="542">
                  <c:v>9.3513676857549246E-4</c:v>
                </c:pt>
                <c:pt idx="543">
                  <c:v>9.2190556583879378E-4</c:v>
                </c:pt>
                <c:pt idx="544">
                  <c:v>9.0877068910601242E-4</c:v>
                </c:pt>
                <c:pt idx="545">
                  <c:v>8.9573337410055165E-4</c:v>
                </c:pt>
                <c:pt idx="546">
                  <c:v>8.8279480982224247E-4</c:v>
                </c:pt>
                <c:pt idx="547">
                  <c:v>8.6995613874546864E-4</c:v>
                </c:pt>
                <c:pt idx="548">
                  <c:v>8.572184570375573E-4</c:v>
                </c:pt>
                <c:pt idx="549">
                  <c:v>8.4458281479694863E-4</c:v>
                </c:pt>
                <c:pt idx="550">
                  <c:v>8.3205021631080833E-4</c:v>
                </c:pt>
                <c:pt idx="551">
                  <c:v>8.1962162033152788E-4</c:v>
                </c:pt>
                <c:pt idx="552">
                  <c:v>8.0729794037178446E-4</c:v>
                </c:pt>
                <c:pt idx="553">
                  <c:v>7.950800450176298E-4</c:v>
                </c:pt>
                <c:pt idx="554">
                  <c:v>7.8296875825918611E-4</c:v>
                </c:pt>
                <c:pt idx="555">
                  <c:v>7.7096485983847946E-4</c:v>
                </c:pt>
                <c:pt idx="556">
                  <c:v>7.5906908561394813E-4</c:v>
                </c:pt>
                <c:pt idx="557">
                  <c:v>7.4728212794115934E-4</c:v>
                </c:pt>
                <c:pt idx="558">
                  <c:v>7.3560463606923358E-4</c:v>
                </c:pt>
                <c:pt idx="559">
                  <c:v>7.2403721655252956E-4</c:v>
                </c:pt>
                <c:pt idx="560">
                  <c:v>7.1258043367710127E-4</c:v>
                </c:pt>
                <c:pt idx="561">
                  <c:v>7.012348099014273E-4</c:v>
                </c:pt>
                <c:pt idx="562">
                  <c:v>6.9000082631092449E-4</c:v>
                </c:pt>
                <c:pt idx="563">
                  <c:v>6.7887892308579698E-4</c:v>
                </c:pt>
                <c:pt idx="564">
                  <c:v>6.6786949998167008E-4</c:v>
                </c:pt>
                <c:pt idx="565">
                  <c:v>6.5697291682256808E-4</c:v>
                </c:pt>
                <c:pt idx="566">
                  <c:v>6.4618949400571245E-4</c:v>
                </c:pt>
                <c:pt idx="567">
                  <c:v>6.3551951301767053E-4</c:v>
                </c:pt>
                <c:pt idx="568">
                  <c:v>6.2496321696134502E-4</c:v>
                </c:pt>
                <c:pt idx="569">
                  <c:v>6.1452081109331449E-4</c:v>
                </c:pt>
                <c:pt idx="570">
                  <c:v>6.0419246337105423E-4</c:v>
                </c:pt>
                <c:pt idx="571">
                  <c:v>5.9397830500952545E-4</c:v>
                </c:pt>
                <c:pt idx="572">
                  <c:v>5.8387843104664436E-4</c:v>
                </c:pt>
                <c:pt idx="573">
                  <c:v>5.7389290091717224E-4</c:v>
                </c:pt>
                <c:pt idx="574">
                  <c:v>5.6402173903450129E-4</c:v>
                </c:pt>
                <c:pt idx="575">
                  <c:v>5.5426493537990532E-4</c:v>
                </c:pt>
                <c:pt idx="576">
                  <c:v>5.4462244609872733E-4</c:v>
                </c:pt>
                <c:pt idx="577">
                  <c:v>5.3509419410306832E-4</c:v>
                </c:pt>
                <c:pt idx="578">
                  <c:v>5.2568006968049027E-4</c:v>
                </c:pt>
                <c:pt idx="579">
                  <c:v>5.1637993110825633E-4</c:v>
                </c:pt>
                <c:pt idx="580">
                  <c:v>5.0719360527267472E-4</c:v>
                </c:pt>
                <c:pt idx="581">
                  <c:v>4.9812088829306509E-4</c:v>
                </c:pt>
                <c:pt idx="582">
                  <c:v>4.8916154614988432E-4</c:v>
                </c:pt>
                <c:pt idx="583">
                  <c:v>4.8031531531661937E-4</c:v>
                </c:pt>
                <c:pt idx="584">
                  <c:v>4.715819033949237E-4</c:v>
                </c:pt>
                <c:pt idx="585">
                  <c:v>4.6296098975262935E-4</c:v>
                </c:pt>
                <c:pt idx="586">
                  <c:v>4.5445222616417072E-4</c:v>
                </c:pt>
                <c:pt idx="587">
                  <c:v>4.4605523745299704E-4</c:v>
                </c:pt>
                <c:pt idx="588">
                  <c:v>4.3776962213556823E-4</c:v>
                </c:pt>
                <c:pt idx="589">
                  <c:v>4.2959495306650944E-4</c:v>
                </c:pt>
                <c:pt idx="590">
                  <c:v>4.2153077808452659E-4</c:v>
                </c:pt>
                <c:pt idx="591">
                  <c:v>4.1357662065867682E-4</c:v>
                </c:pt>
                <c:pt idx="592">
                  <c:v>4.0573198053462203E-4</c:v>
                </c:pt>
                <c:pt idx="593">
                  <c:v>3.979963343804546E-4</c:v>
                </c:pt>
                <c:pt idx="594">
                  <c:v>3.9036913643173906E-4</c:v>
                </c:pt>
                <c:pt idx="595">
                  <c:v>3.8284981913539801E-4</c:v>
                </c:pt>
                <c:pt idx="596">
                  <c:v>3.7543779379207987E-4</c:v>
                </c:pt>
                <c:pt idx="597">
                  <c:v>3.6813245119664918E-4</c:v>
                </c:pt>
                <c:pt idx="598">
                  <c:v>3.6093316227646675E-4</c:v>
                </c:pt>
                <c:pt idx="599">
                  <c:v>3.5383927872712086E-4</c:v>
                </c:pt>
                <c:pt idx="600">
                  <c:v>3.4685013364527014E-4</c:v>
                </c:pt>
                <c:pt idx="601">
                  <c:v>3.3996504215829282E-4</c:v>
                </c:pt>
                <c:pt idx="602">
                  <c:v>3.331833020504268E-4</c:v>
                </c:pt>
                <c:pt idx="603">
                  <c:v>3.2650419438509047E-4</c:v>
                </c:pt>
                <c:pt idx="604">
                  <c:v>3.199269841230998E-4</c:v>
                </c:pt>
                <c:pt idx="605">
                  <c:v>3.1345092073649605E-4</c:v>
                </c:pt>
                <c:pt idx="606">
                  <c:v>3.070752388176985E-4</c:v>
                </c:pt>
                <c:pt idx="607">
                  <c:v>3.0079915868372716E-4</c:v>
                </c:pt>
                <c:pt idx="608">
                  <c:v>2.9462188697522022E-4</c:v>
                </c:pt>
                <c:pt idx="609">
                  <c:v>2.8854261725002142E-4</c:v>
                </c:pt>
                <c:pt idx="610">
                  <c:v>2.8256053057106154E-4</c:v>
                </c:pt>
                <c:pt idx="611">
                  <c:v>2.7667479608833916E-4</c:v>
                </c:pt>
                <c:pt idx="612">
                  <c:v>2.7088457161474424E-4</c:v>
                </c:pt>
                <c:pt idx="613">
                  <c:v>2.6518900419553583E-4</c:v>
                </c:pt>
                <c:pt idx="614">
                  <c:v>2.5958723067125015E-4</c:v>
                </c:pt>
                <c:pt idx="615">
                  <c:v>2.5407837823385572E-4</c:v>
                </c:pt>
                <c:pt idx="616">
                  <c:v>2.4866156497594879E-4</c:v>
                </c:pt>
                <c:pt idx="617">
                  <c:v>2.4333590043284042E-4</c:v>
                </c:pt>
                <c:pt idx="618">
                  <c:v>2.3810048611732886E-4</c:v>
                </c:pt>
                <c:pt idx="619">
                  <c:v>2.3295441604702431E-4</c:v>
                </c:pt>
                <c:pt idx="620">
                  <c:v>2.2789677726405648E-4</c:v>
                </c:pt>
                <c:pt idx="621">
                  <c:v>2.229266503470229E-4</c:v>
                </c:pt>
                <c:pt idx="622">
                  <c:v>2.1804310991505637E-4</c:v>
                </c:pt>
                <c:pt idx="623">
                  <c:v>2.1324522512385186E-4</c:v>
                </c:pt>
                <c:pt idx="624">
                  <c:v>2.0853206015357287E-4</c:v>
                </c:pt>
                <c:pt idx="625">
                  <c:v>2.0390267468849187E-4</c:v>
                </c:pt>
                <c:pt idx="626">
                  <c:v>1.9935612438828427E-4</c:v>
                </c:pt>
                <c:pt idx="627">
                  <c:v>1.9489146135087269E-4</c:v>
                </c:pt>
                <c:pt idx="628">
                  <c:v>1.9050773456672878E-4</c:v>
                </c:pt>
                <c:pt idx="629">
                  <c:v>1.8620399036456625E-4</c:v>
                </c:pt>
                <c:pt idx="630">
                  <c:v>1.8197927284834356E-4</c:v>
                </c:pt>
                <c:pt idx="631">
                  <c:v>1.7783262432551628E-4</c:v>
                </c:pt>
                <c:pt idx="632">
                  <c:v>1.7376308572648281E-4</c:v>
                </c:pt>
                <c:pt idx="633">
                  <c:v>1.697696970151731E-4</c:v>
                </c:pt>
                <c:pt idx="634">
                  <c:v>1.6585149759073864E-4</c:v>
                </c:pt>
                <c:pt idx="635">
                  <c:v>1.620075266803142E-4</c:v>
                </c:pt>
                <c:pt idx="636">
                  <c:v>1.5823682372281361E-4</c:v>
                </c:pt>
                <c:pt idx="637">
                  <c:v>1.5453842874375007E-4</c:v>
                </c:pt>
                <c:pt idx="638">
                  <c:v>1.5091138272105707E-4</c:v>
                </c:pt>
                <c:pt idx="639">
                  <c:v>1.4735472794190821E-4</c:v>
                </c:pt>
                <c:pt idx="640">
                  <c:v>1.4386750835053565E-4</c:v>
                </c:pt>
                <c:pt idx="641">
                  <c:v>1.4044876988704655E-4</c:v>
                </c:pt>
                <c:pt idx="642">
                  <c:v>1.3709756081725362E-4</c:v>
                </c:pt>
                <c:pt idx="643">
                  <c:v>1.3381293205353461E-4</c:v>
                </c:pt>
                <c:pt idx="644">
                  <c:v>1.3059393746674662E-4</c:v>
                </c:pt>
                <c:pt idx="645">
                  <c:v>1.2743963418921904E-4</c:v>
                </c:pt>
                <c:pt idx="646">
                  <c:v>1.2434908290886301E-4</c:v>
                </c:pt>
                <c:pt idx="647">
                  <c:v>1.2132134815443547E-4</c:v>
                </c:pt>
                <c:pt idx="648">
                  <c:v>1.1835549857200341E-4</c:v>
                </c:pt>
                <c:pt idx="649">
                  <c:v>1.1545060719265489E-4</c:v>
                </c:pt>
                <c:pt idx="650">
                  <c:v>1.1260575169151568E-4</c:v>
                </c:pt>
                <c:pt idx="651">
                  <c:v>1.0982001463812737E-4</c:v>
                </c:pt>
                <c:pt idx="652">
                  <c:v>1.0709248373825049E-4</c:v>
                </c:pt>
                <c:pt idx="653">
                  <c:v>1.0442225206716507E-4</c:v>
                </c:pt>
                <c:pt idx="654">
                  <c:v>1.0180841829453078E-4</c:v>
                </c:pt>
                <c:pt idx="655">
                  <c:v>9.925008690089841E-5</c:v>
                </c:pt>
                <c:pt idx="656">
                  <c:v>9.6746368385936378E-5</c:v>
                </c:pt>
                <c:pt idx="657">
                  <c:v>9.4296379468466923E-5</c:v>
                </c:pt>
                <c:pt idx="658">
                  <c:v>9.1899243278396826E-5</c:v>
                </c:pt>
                <c:pt idx="659">
                  <c:v>8.9554089540631288E-5</c:v>
                </c:pt>
                <c:pt idx="660">
                  <c:v>8.7260054751065025E-5</c:v>
                </c:pt>
                <c:pt idx="661">
                  <c:v>8.5016282344754063E-5</c:v>
                </c:pt>
                <c:pt idx="662">
                  <c:v>8.2821922856357222E-5</c:v>
                </c:pt>
                <c:pt idx="663">
                  <c:v>8.0676134072960224E-5</c:v>
                </c:pt>
                <c:pt idx="664">
                  <c:v>7.8578081179383466E-5</c:v>
                </c:pt>
                <c:pt idx="665">
                  <c:v>7.6526936896080322E-5</c:v>
                </c:pt>
                <c:pt idx="666">
                  <c:v>7.4521881609738975E-5</c:v>
                </c:pt>
                <c:pt idx="667">
                  <c:v>7.2562103496698693E-5</c:v>
                </c:pt>
                <c:pt idx="668">
                  <c:v>7.0646798639295404E-5</c:v>
                </c:pt>
                <c:pt idx="669">
                  <c:v>6.8775171135252797E-5</c:v>
                </c:pt>
                <c:pt idx="670">
                  <c:v>6.6946433200236919E-5</c:v>
                </c:pt>
                <c:pt idx="671">
                  <c:v>6.5159805263694299E-5</c:v>
                </c:pt>
                <c:pt idx="672">
                  <c:v>6.3414516058096023E-5</c:v>
                </c:pt>
                <c:pt idx="673">
                  <c:v>6.1709802701705779E-5</c:v>
                </c:pt>
                <c:pt idx="674">
                  <c:v>6.0044910775003196E-5</c:v>
                </c:pt>
                <c:pt idx="675">
                  <c:v>5.8419094390878757E-5</c:v>
                </c:pt>
                <c:pt idx="676">
                  <c:v>5.6831616258732872E-5</c:v>
                </c:pt>
                <c:pt idx="677">
                  <c:v>5.5281747742602233E-5</c:v>
                </c:pt>
                <c:pt idx="678">
                  <c:v>5.3768768913442036E-5</c:v>
                </c:pt>
                <c:pt idx="679">
                  <c:v>5.2291968595689614E-5</c:v>
                </c:pt>
                <c:pt idx="680">
                  <c:v>5.0850644408243044E-5</c:v>
                </c:pt>
                <c:pt idx="681">
                  <c:v>4.944410279997619E-5</c:v>
                </c:pt>
                <c:pt idx="682">
                  <c:v>4.8071659079926744E-5</c:v>
                </c:pt>
                <c:pt idx="683">
                  <c:v>4.6732637442279251E-5</c:v>
                </c:pt>
                <c:pt idx="684">
                  <c:v>4.5426370986277629E-5</c:v>
                </c:pt>
                <c:pt idx="685">
                  <c:v>4.4152201731194026E-5</c:v>
                </c:pt>
                <c:pt idx="686">
                  <c:v>4.2909480626481511E-5</c:v>
                </c:pt>
                <c:pt idx="687">
                  <c:v>4.1697567557241958E-5</c:v>
                </c:pt>
                <c:pt idx="688">
                  <c:v>4.0515831345135508E-5</c:v>
                </c:pt>
                <c:pt idx="689">
                  <c:v>3.9363649744859562E-5</c:v>
                </c:pt>
                <c:pt idx="690">
                  <c:v>3.8240409436325413E-5</c:v>
                </c:pt>
                <c:pt idx="691">
                  <c:v>3.7145506012657398E-5</c:v>
                </c:pt>
                <c:pt idx="692">
                  <c:v>3.6078343964142422E-5</c:v>
                </c:pt>
                <c:pt idx="693">
                  <c:v>3.5038336658253499E-5</c:v>
                </c:pt>
                <c:pt idx="694">
                  <c:v>3.4024906315872054E-5</c:v>
                </c:pt>
                <c:pt idx="695">
                  <c:v>3.3037483983832085E-5</c:v>
                </c:pt>
                <c:pt idx="696">
                  <c:v>3.2075509503908851E-5</c:v>
                </c:pt>
                <c:pt idx="697">
                  <c:v>3.113843147837206E-5</c:v>
                </c:pt>
                <c:pt idx="698">
                  <c:v>3.0225707232225921E-5</c:v>
                </c:pt>
                <c:pt idx="699">
                  <c:v>2.9336802772251822E-5</c:v>
                </c:pt>
                <c:pt idx="700">
                  <c:v>2.8471192742974093E-5</c:v>
                </c:pt>
                <c:pt idx="701">
                  <c:v>2.7628360379662873E-5</c:v>
                </c:pt>
                <c:pt idx="702">
                  <c:v>2.6807797458490911E-5</c:v>
                </c:pt>
                <c:pt idx="703">
                  <c:v>2.6009004243955422E-5</c:v>
                </c:pt>
                <c:pt idx="704">
                  <c:v>2.5231489433679968E-5</c:v>
                </c:pt>
                <c:pt idx="705">
                  <c:v>2.4474770100703618E-5</c:v>
                </c:pt>
                <c:pt idx="706">
                  <c:v>2.3738371633368978E-5</c:v>
                </c:pt>
                <c:pt idx="707">
                  <c:v>2.3021827672915219E-5</c:v>
                </c:pt>
                <c:pt idx="708">
                  <c:v>2.2324680048881047E-5</c:v>
                </c:pt>
                <c:pt idx="709">
                  <c:v>2.1646478712424135E-5</c:v>
                </c:pt>
                <c:pt idx="710">
                  <c:v>2.0986781667655681E-5</c:v>
                </c:pt>
                <c:pt idx="711">
                  <c:v>2.0345154901095022E-5</c:v>
                </c:pt>
                <c:pt idx="712">
                  <c:v>1.9721172309339028E-5</c:v>
                </c:pt>
                <c:pt idx="713">
                  <c:v>1.9114415625045987E-5</c:v>
                </c:pt>
                <c:pt idx="714">
                  <c:v>1.8524474341328935E-5</c:v>
                </c:pt>
                <c:pt idx="715">
                  <c:v>1.7950945634650516E-5</c:v>
                </c:pt>
                <c:pt idx="716">
                  <c:v>1.7393434286312638E-5</c:v>
                </c:pt>
                <c:pt idx="717">
                  <c:v>1.6851552602629537E-5</c:v>
                </c:pt>
                <c:pt idx="718">
                  <c:v>1.6324920333872786E-5</c:v>
                </c:pt>
                <c:pt idx="719">
                  <c:v>1.5813164592073927E-5</c:v>
                </c:pt>
                <c:pt idx="720">
                  <c:v>1.5315919767769148E-5</c:v>
                </c:pt>
                <c:pt idx="721">
                  <c:v>1.4832827445767726E-5</c:v>
                </c:pt>
                <c:pt idx="722">
                  <c:v>1.4363536320025133E-5</c:v>
                </c:pt>
                <c:pt idx="723">
                  <c:v>1.3907702107699136E-5</c:v>
                </c:pt>
                <c:pt idx="724">
                  <c:v>1.3464987462464804E-5</c:v>
                </c:pt>
                <c:pt idx="725">
                  <c:v>1.3035061887163813E-5</c:v>
                </c:pt>
                <c:pt idx="726">
                  <c:v>1.2617601645860473E-5</c:v>
                </c:pt>
                <c:pt idx="727">
                  <c:v>1.2212289675374927E-5</c:v>
                </c:pt>
                <c:pt idx="728">
                  <c:v>1.1818815496363203E-5</c:v>
                </c:pt>
                <c:pt idx="729">
                  <c:v>1.1436875124009973E-5</c:v>
                </c:pt>
                <c:pt idx="730">
                  <c:v>1.1066170978400694E-5</c:v>
                </c:pt>
                <c:pt idx="731">
                  <c:v>1.0706411794634803E-5</c:v>
                </c:pt>
                <c:pt idx="732">
                  <c:v>1.0357312532742468E-5</c:v>
                </c:pt>
                <c:pt idx="733">
                  <c:v>1.0018594287464085E-5</c:v>
                </c:pt>
                <c:pt idx="734">
                  <c:v>9.6899841979498633E-6</c:v>
                </c:pt>
                <c:pt idx="735">
                  <c:v>9.3712153574361558E-6</c:v>
                </c:pt>
                <c:pt idx="736">
                  <c:v>9.0620267229519244E-6</c:v>
                </c:pt>
                <c:pt idx="737">
                  <c:v>8.762163025107855E-6</c:v>
                </c:pt>
                <c:pt idx="738">
                  <c:v>8.4713746780187412E-6</c:v>
                </c:pt>
                <c:pt idx="739">
                  <c:v>8.1894176894077371E-6</c:v>
                </c:pt>
                <c:pt idx="740">
                  <c:v>7.9160535709394953E-6</c:v>
                </c:pt>
                <c:pt idx="741">
                  <c:v>7.6510492488276961E-6</c:v>
                </c:pt>
                <c:pt idx="742">
                  <c:v>7.3941769747601917E-6</c:v>
                </c:pt>
                <c:pt idx="743">
                  <c:v>7.1452142371841294E-6</c:v>
                </c:pt>
                <c:pt idx="744">
                  <c:v>6.9039436729909795E-6</c:v>
                </c:pt>
                <c:pt idx="745">
                  <c:v>6.6701529796403509E-6</c:v>
                </c:pt>
                <c:pt idx="746">
                  <c:v>6.4436348277595893E-6</c:v>
                </c:pt>
                <c:pt idx="747">
                  <c:v>6.2241867742545818E-6</c:v>
                </c:pt>
                <c:pt idx="748">
                  <c:v>6.0116111759657486E-6</c:v>
                </c:pt>
                <c:pt idx="749">
                  <c:v>5.8057151039016102E-6</c:v>
                </c:pt>
                <c:pt idx="750">
                  <c:v>5.606310258080888E-6</c:v>
                </c:pt>
                <c:pt idx="751">
                  <c:v>5.4132128830124966E-6</c:v>
                </c:pt>
                <c:pt idx="752">
                  <c:v>5.2262436838413648E-6</c:v>
                </c:pt>
                <c:pt idx="753">
                  <c:v>5.0452277431868131E-6</c:v>
                </c:pt>
                <c:pt idx="754">
                  <c:v>4.8699944386986187E-6</c:v>
                </c:pt>
                <c:pt idx="755">
                  <c:v>4.7003773613544141E-6</c:v>
                </c:pt>
                <c:pt idx="756">
                  <c:v>4.5362142345210841E-6</c:v>
                </c:pt>
                <c:pt idx="757">
                  <c:v>4.3773468338013571E-6</c:v>
                </c:pt>
                <c:pt idx="758">
                  <c:v>4.2236209076853337E-6</c:v>
                </c:pt>
                <c:pt idx="759">
                  <c:v>4.0748860990257119E-6</c:v>
                </c:pt>
                <c:pt idx="760">
                  <c:v>3.9309958673541814E-6</c:v>
                </c:pt>
                <c:pt idx="761">
                  <c:v>3.7918074120550428E-6</c:v>
                </c:pt>
                <c:pt idx="762">
                  <c:v>3.6571815964114573E-6</c:v>
                </c:pt>
                <c:pt idx="763">
                  <c:v>3.5269828725378896E-6</c:v>
                </c:pt>
                <c:pt idx="764">
                  <c:v>3.4010792072119755E-6</c:v>
                </c:pt>
                <c:pt idx="765">
                  <c:v>3.2793420086172444E-6</c:v>
                </c:pt>
                <c:pt idx="766">
                  <c:v>3.1616460540077249E-6</c:v>
                </c:pt>
                <c:pt idx="767">
                  <c:v>3.0478694183039344E-6</c:v>
                </c:pt>
                <c:pt idx="768">
                  <c:v>2.9378934036290962E-6</c:v>
                </c:pt>
                <c:pt idx="769">
                  <c:v>2.8316024697932977E-6</c:v>
                </c:pt>
                <c:pt idx="770">
                  <c:v>2.7288841657324907E-6</c:v>
                </c:pt>
                <c:pt idx="771">
                  <c:v>2.6296290619081278E-6</c:v>
                </c:pt>
                <c:pt idx="772">
                  <c:v>2.5337306836727403E-6</c:v>
                </c:pt>
                <c:pt idx="773">
                  <c:v>2.4410854456053832E-6</c:v>
                </c:pt>
                <c:pt idx="774">
                  <c:v>2.3515925868205831E-6</c:v>
                </c:pt>
                <c:pt idx="775">
                  <c:v>2.2651541072532243E-6</c:v>
                </c:pt>
                <c:pt idx="776">
                  <c:v>2.1816747049213219E-6</c:v>
                </c:pt>
                <c:pt idx="777">
                  <c:v>2.1010617141676866E-6</c:v>
                </c:pt>
                <c:pt idx="778">
                  <c:v>2.0232250448809873E-6</c:v>
                </c:pt>
                <c:pt idx="779">
                  <c:v>1.948077122695743E-6</c:v>
                </c:pt>
                <c:pt idx="780">
                  <c:v>1.8755328301704149E-6</c:v>
                </c:pt>
                <c:pt idx="781">
                  <c:v>1.805509448941985E-6</c:v>
                </c:pt>
                <c:pt idx="782">
                  <c:v>1.7379266028547095E-6</c:v>
                </c:pt>
                <c:pt idx="783">
                  <c:v>1.6727062020603711E-6</c:v>
                </c:pt>
                <c:pt idx="784">
                  <c:v>1.6097723880865998E-6</c:v>
                </c:pt>
                <c:pt idx="785">
                  <c:v>1.5490514798693705E-6</c:v>
                </c:pt>
                <c:pt idx="786">
                  <c:v>1.4904719207452873E-6</c:v>
                </c:pt>
                <c:pt idx="787">
                  <c:v>1.4339642263987033E-6</c:v>
                </c:pt>
                <c:pt idx="788">
                  <c:v>1.3794609337583557E-6</c:v>
                </c:pt>
                <c:pt idx="789">
                  <c:v>1.3268965508375935E-6</c:v>
                </c:pt>
                <c:pt idx="790">
                  <c:v>1.2762075075120704E-6</c:v>
                </c:pt>
                <c:pt idx="791">
                  <c:v>1.2273321072280996E-6</c:v>
                </c:pt>
                <c:pt idx="792">
                  <c:v>1.1802104796347575E-6</c:v>
                </c:pt>
                <c:pt idx="793">
                  <c:v>1.1347845341321966E-6</c:v>
                </c:pt>
                <c:pt idx="794">
                  <c:v>1.0909979143285387E-6</c:v>
                </c:pt>
                <c:pt idx="795">
                  <c:v>1.0487959533971289E-6</c:v>
                </c:pt>
                <c:pt idx="796">
                  <c:v>1.0081256303258901E-6</c:v>
                </c:pt>
                <c:pt idx="797">
                  <c:v>9.6893552704998719E-7</c:v>
                </c:pt>
                <c:pt idx="798">
                  <c:v>9.3117578645891739E-7</c:v>
                </c:pt>
                <c:pt idx="799">
                  <c:v>8.9479807126880292E-7</c:v>
                </c:pt>
                <c:pt idx="800">
                  <c:v>8.5975552375044655E-7</c:v>
                </c:pt>
              </c:numCache>
            </c:numRef>
          </c:yVal>
          <c:smooth val="0"/>
          <c:extLst>
            <c:ext xmlns:c16="http://schemas.microsoft.com/office/drawing/2014/chart" uri="{C3380CC4-5D6E-409C-BE32-E72D297353CC}">
              <c16:uniqueId val="{00000016-1D62-4DE3-8E9D-34C68BC76380}"/>
            </c:ext>
          </c:extLst>
        </c:ser>
        <c:dLbls>
          <c:showLegendKey val="0"/>
          <c:showVal val="0"/>
          <c:showCatName val="0"/>
          <c:showSerName val="0"/>
          <c:showPercent val="0"/>
          <c:showBubbleSize val="0"/>
        </c:dLbls>
        <c:axId val="1455199824"/>
        <c:axId val="1455200912"/>
      </c:scatterChart>
      <c:valAx>
        <c:axId val="1455199824"/>
        <c:scaling>
          <c:orientation val="minMax"/>
          <c:max val="3"/>
          <c:min val="-3"/>
        </c:scaling>
        <c:delete val="0"/>
        <c:axPos val="b"/>
        <c:majorGridlines>
          <c:spPr>
            <a:ln w="3175">
              <a:solidFill>
                <a:srgbClr val="000000"/>
              </a:solidFill>
              <a:prstDash val="sysDash"/>
            </a:ln>
          </c:spPr>
        </c:majorGridlines>
        <c:title>
          <c:tx>
            <c:rich>
              <a:bodyPr/>
              <a:lstStyle/>
              <a:p>
                <a:pPr>
                  <a:defRPr sz="1000" b="1" i="0" u="none" strike="noStrike" baseline="0">
                    <a:solidFill>
                      <a:srgbClr val="000000"/>
                    </a:solidFill>
                    <a:latin typeface="Arial"/>
                    <a:ea typeface="Arial"/>
                    <a:cs typeface="Arial"/>
                  </a:defRPr>
                </a:pPr>
                <a:r>
                  <a:rPr lang="pt-BR"/>
                  <a:t>Habilidade</a:t>
                </a:r>
              </a:p>
            </c:rich>
          </c:tx>
          <c:layout>
            <c:manualLayout>
              <c:xMode val="edge"/>
              <c:yMode val="edge"/>
              <c:x val="0.43300721268109205"/>
              <c:y val="0.91703056768559066"/>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600" b="0" i="0" u="none" strike="noStrike" baseline="0">
                <a:solidFill>
                  <a:srgbClr val="000000"/>
                </a:solidFill>
                <a:latin typeface="Arial"/>
                <a:ea typeface="Arial"/>
                <a:cs typeface="Arial"/>
              </a:defRPr>
            </a:pPr>
            <a:endParaRPr lang="en-US"/>
          </a:p>
        </c:txPr>
        <c:crossAx val="1455200912"/>
        <c:crosses val="autoZero"/>
        <c:crossBetween val="midCat"/>
        <c:majorUnit val="0.25"/>
      </c:valAx>
      <c:valAx>
        <c:axId val="1455200912"/>
        <c:scaling>
          <c:orientation val="minMax"/>
        </c:scaling>
        <c:delete val="0"/>
        <c:axPos val="l"/>
        <c:majorGridlines>
          <c:spPr>
            <a:ln w="3175">
              <a:solidFill>
                <a:srgbClr val="000000"/>
              </a:solidFill>
              <a:prstDash val="sysDash"/>
            </a:ln>
          </c:spPr>
        </c:majorGridlines>
        <c:title>
          <c:tx>
            <c:rich>
              <a:bodyPr/>
              <a:lstStyle/>
              <a:p>
                <a:pPr>
                  <a:defRPr sz="1000" b="1" i="0" u="none" strike="noStrike" baseline="0">
                    <a:solidFill>
                      <a:srgbClr val="000000"/>
                    </a:solidFill>
                    <a:latin typeface="Arial"/>
                    <a:ea typeface="Arial"/>
                    <a:cs typeface="Arial"/>
                  </a:defRPr>
                </a:pPr>
                <a:r>
                  <a:rPr lang="pt-BR"/>
                  <a:t>Verossimilhança</a:t>
                </a:r>
              </a:p>
            </c:rich>
          </c:tx>
          <c:layout>
            <c:manualLayout>
              <c:xMode val="edge"/>
              <c:yMode val="edge"/>
              <c:x val="2.6143716287432592E-2"/>
              <c:y val="0.38646288209607088"/>
            </c:manualLayout>
          </c:layout>
          <c:overlay val="0"/>
          <c:spPr>
            <a:noFill/>
            <a:ln w="25400">
              <a:noFill/>
            </a:ln>
          </c:spPr>
        </c:title>
        <c:numFmt formatCode="000,000,000" sourceLinked="1"/>
        <c:majorTickMark val="out"/>
        <c:minorTickMark val="none"/>
        <c:tickLblPos val="none"/>
        <c:spPr>
          <a:ln w="3175">
            <a:solidFill>
              <a:srgbClr val="000000"/>
            </a:solidFill>
            <a:prstDash val="solid"/>
          </a:ln>
        </c:spPr>
        <c:crossAx val="1455199824"/>
        <c:crosses val="autoZero"/>
        <c:crossBetween val="midCat"/>
      </c:valAx>
      <c:spPr>
        <a:solidFill>
          <a:srgbClr val="CCFFFF"/>
        </a:solidFill>
        <a:ln w="12700">
          <a:solidFill>
            <a:srgbClr val="808080"/>
          </a:solidFill>
          <a:prstDash val="solid"/>
        </a:ln>
      </c:spPr>
    </c:plotArea>
    <c:legend>
      <c:legendPos val="tr"/>
      <c:layout>
        <c:manualLayout>
          <c:xMode val="edge"/>
          <c:yMode val="edge"/>
          <c:x val="0.93791009982019968"/>
          <c:y val="0.13537117903930132"/>
          <c:w val="6.2089900179800324E-2"/>
          <c:h val="0.8228678838725948"/>
        </c:manualLayout>
      </c:layout>
      <c:overlay val="0"/>
      <c:spPr>
        <a:solidFill>
          <a:srgbClr val="FFFFFF"/>
        </a:solidFill>
        <a:ln w="3175">
          <a:solidFill>
            <a:srgbClr val="000000"/>
          </a:solidFill>
          <a:prstDash val="solid"/>
        </a:ln>
      </c:spPr>
      <c:txPr>
        <a:bodyPr/>
        <a:lstStyle/>
        <a:p>
          <a:pPr>
            <a:defRPr sz="675" b="0" i="0" u="none" strike="noStrike" baseline="0">
              <a:solidFill>
                <a:srgbClr val="000000"/>
              </a:solidFill>
              <a:latin typeface="Arial"/>
              <a:ea typeface="Arial"/>
              <a:cs typeface="Arial"/>
            </a:defRPr>
          </a:pPr>
          <a:endParaRPr lang="en-US"/>
        </a:p>
      </c:txPr>
    </c:legend>
    <c:plotVisOnly val="1"/>
    <c:dispBlanksAs val="gap"/>
    <c:showDLblsOverMax val="0"/>
  </c:chart>
  <c:spPr>
    <a:solidFill>
      <a:srgbClr val="FFFFFF"/>
    </a:solidFill>
    <a:ln w="3175">
      <a:solidFill>
        <a:srgbClr val="000000"/>
      </a:solidFill>
      <a:prstDash val="solid"/>
    </a:ln>
  </c:spPr>
  <c:txPr>
    <a:bodyPr/>
    <a:lstStyle/>
    <a:p>
      <a:pPr>
        <a:defRPr sz="1000" b="0" i="0" u="none" strike="noStrike" baseline="0">
          <a:solidFill>
            <a:srgbClr val="000000"/>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LPEF4Densidade!$J$12</c:f>
              <c:strCache>
                <c:ptCount val="1"/>
                <c:pt idx="0">
                  <c:v>Itens SARESP 2011</c:v>
                </c:pt>
              </c:strCache>
            </c:strRef>
          </c:tx>
          <c:spPr>
            <a:solidFill>
              <a:schemeClr val="accent6">
                <a:lumMod val="75000"/>
              </a:schemeClr>
            </a:solidFill>
          </c:spPr>
          <c:invertIfNegative val="0"/>
          <c:cat>
            <c:multiLvlStrRef>
              <c:f>LPEF4Densidade!$H$13:$I$15</c:f>
              <c:multiLvlStrCache>
                <c:ptCount val="3"/>
                <c:lvl>
                  <c:pt idx="0">
                    <c:v>Observar</c:v>
                  </c:pt>
                  <c:pt idx="1">
                    <c:v>Realizar</c:v>
                  </c:pt>
                  <c:pt idx="2">
                    <c:v>Compreender</c:v>
                  </c:pt>
                </c:lvl>
                <c:lvl>
                  <c:pt idx="0">
                    <c:v>GI</c:v>
                  </c:pt>
                  <c:pt idx="1">
                    <c:v>GII</c:v>
                  </c:pt>
                  <c:pt idx="2">
                    <c:v>GIII</c:v>
                  </c:pt>
                </c:lvl>
              </c:multiLvlStrCache>
            </c:multiLvlStrRef>
          </c:cat>
          <c:val>
            <c:numRef>
              <c:f>LPEF4Densidade!$J$13:$J$15</c:f>
              <c:numCache>
                <c:formatCode>General</c:formatCode>
                <c:ptCount val="3"/>
                <c:pt idx="0">
                  <c:v>65</c:v>
                </c:pt>
                <c:pt idx="1">
                  <c:v>17</c:v>
                </c:pt>
                <c:pt idx="2">
                  <c:v>22</c:v>
                </c:pt>
              </c:numCache>
            </c:numRef>
          </c:val>
          <c:extLst>
            <c:ext xmlns:c16="http://schemas.microsoft.com/office/drawing/2014/chart" uri="{C3380CC4-5D6E-409C-BE32-E72D297353CC}">
              <c16:uniqueId val="{00000000-94D0-4D2F-8E3D-E023C906B680}"/>
            </c:ext>
          </c:extLst>
        </c:ser>
        <c:ser>
          <c:idx val="1"/>
          <c:order val="1"/>
          <c:tx>
            <c:strRef>
              <c:f>LPEF4Densidade!$K$12</c:f>
              <c:strCache>
                <c:ptCount val="1"/>
                <c:pt idx="0">
                  <c:v>Habilidades na Matriz</c:v>
                </c:pt>
              </c:strCache>
            </c:strRef>
          </c:tx>
          <c:spPr>
            <a:solidFill>
              <a:schemeClr val="bg2">
                <a:lumMod val="75000"/>
              </a:schemeClr>
            </a:solidFill>
          </c:spPr>
          <c:invertIfNegative val="0"/>
          <c:cat>
            <c:multiLvlStrRef>
              <c:f>LPEF4Densidade!$H$13:$I$15</c:f>
              <c:multiLvlStrCache>
                <c:ptCount val="3"/>
                <c:lvl>
                  <c:pt idx="0">
                    <c:v>Observar</c:v>
                  </c:pt>
                  <c:pt idx="1">
                    <c:v>Realizar</c:v>
                  </c:pt>
                  <c:pt idx="2">
                    <c:v>Compreender</c:v>
                  </c:pt>
                </c:lvl>
                <c:lvl>
                  <c:pt idx="0">
                    <c:v>GI</c:v>
                  </c:pt>
                  <c:pt idx="1">
                    <c:v>GII</c:v>
                  </c:pt>
                  <c:pt idx="2">
                    <c:v>GIII</c:v>
                  </c:pt>
                </c:lvl>
              </c:multiLvlStrCache>
            </c:multiLvlStrRef>
          </c:cat>
          <c:val>
            <c:numRef>
              <c:f>LPEF4Densidade!$K$13:$K$15</c:f>
              <c:numCache>
                <c:formatCode>General</c:formatCode>
                <c:ptCount val="3"/>
                <c:pt idx="0">
                  <c:v>27</c:v>
                </c:pt>
                <c:pt idx="1">
                  <c:v>6</c:v>
                </c:pt>
                <c:pt idx="2">
                  <c:v>7</c:v>
                </c:pt>
              </c:numCache>
            </c:numRef>
          </c:val>
          <c:extLst>
            <c:ext xmlns:c16="http://schemas.microsoft.com/office/drawing/2014/chart" uri="{C3380CC4-5D6E-409C-BE32-E72D297353CC}">
              <c16:uniqueId val="{00000001-94D0-4D2F-8E3D-E023C906B680}"/>
            </c:ext>
          </c:extLst>
        </c:ser>
        <c:dLbls>
          <c:showLegendKey val="0"/>
          <c:showVal val="0"/>
          <c:showCatName val="0"/>
          <c:showSerName val="0"/>
          <c:showPercent val="0"/>
          <c:showBubbleSize val="0"/>
        </c:dLbls>
        <c:gapWidth val="150"/>
        <c:axId val="558531656"/>
        <c:axId val="558541064"/>
      </c:barChart>
      <c:catAx>
        <c:axId val="558531656"/>
        <c:scaling>
          <c:orientation val="minMax"/>
        </c:scaling>
        <c:delete val="0"/>
        <c:axPos val="b"/>
        <c:numFmt formatCode="General" sourceLinked="0"/>
        <c:majorTickMark val="out"/>
        <c:minorTickMark val="none"/>
        <c:tickLblPos val="nextTo"/>
        <c:txPr>
          <a:bodyPr/>
          <a:lstStyle/>
          <a:p>
            <a:pPr>
              <a:defRPr sz="900"/>
            </a:pPr>
            <a:endParaRPr lang="en-US"/>
          </a:p>
        </c:txPr>
        <c:crossAx val="558541064"/>
        <c:crosses val="autoZero"/>
        <c:auto val="1"/>
        <c:lblAlgn val="ctr"/>
        <c:lblOffset val="100"/>
        <c:noMultiLvlLbl val="0"/>
      </c:catAx>
      <c:valAx>
        <c:axId val="558541064"/>
        <c:scaling>
          <c:orientation val="minMax"/>
        </c:scaling>
        <c:delete val="0"/>
        <c:axPos val="l"/>
        <c:numFmt formatCode="General" sourceLinked="1"/>
        <c:majorTickMark val="out"/>
        <c:minorTickMark val="none"/>
        <c:tickLblPos val="nextTo"/>
        <c:txPr>
          <a:bodyPr/>
          <a:lstStyle/>
          <a:p>
            <a:pPr>
              <a:defRPr sz="900"/>
            </a:pPr>
            <a:endParaRPr lang="en-US"/>
          </a:p>
        </c:txPr>
        <c:crossAx val="558531656"/>
        <c:crosses val="autoZero"/>
        <c:crossBetween val="between"/>
      </c:valAx>
    </c:plotArea>
    <c:legend>
      <c:legendPos val="t"/>
      <c:overlay val="0"/>
    </c:legend>
    <c:plotVisOnly val="1"/>
    <c:dispBlanksAs val="gap"/>
    <c:showDLblsOverMax val="0"/>
  </c:chart>
  <c:spPr>
    <a:ln>
      <a:solidFill>
        <a:schemeClr val="accent6">
          <a:lumMod val="75000"/>
        </a:schemeClr>
      </a:solid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LPEF4Densidade!$N$57</c:f>
              <c:strCache>
                <c:ptCount val="1"/>
                <c:pt idx="0">
                  <c:v>Itens SARESP 2011</c:v>
                </c:pt>
              </c:strCache>
            </c:strRef>
          </c:tx>
          <c:spPr>
            <a:solidFill>
              <a:schemeClr val="accent6">
                <a:lumMod val="75000"/>
              </a:schemeClr>
            </a:solidFill>
          </c:spPr>
          <c:invertIfNegative val="0"/>
          <c:cat>
            <c:strRef>
              <c:f>LPEF4Densidade!$L$58:$M$63</c:f>
              <c:strCache>
                <c:ptCount val="6"/>
                <c:pt idx="0">
                  <c:v>CA1</c:v>
                </c:pt>
                <c:pt idx="1">
                  <c:v>CA2</c:v>
                </c:pt>
                <c:pt idx="2">
                  <c:v>CA3</c:v>
                </c:pt>
                <c:pt idx="3">
                  <c:v>CA4</c:v>
                </c:pt>
                <c:pt idx="4">
                  <c:v>CA5</c:v>
                </c:pt>
                <c:pt idx="5">
                  <c:v>CA6</c:v>
                </c:pt>
              </c:strCache>
            </c:strRef>
          </c:cat>
          <c:val>
            <c:numRef>
              <c:f>LPEF4Densidade!$N$58:$N$63</c:f>
              <c:numCache>
                <c:formatCode>General</c:formatCode>
                <c:ptCount val="6"/>
                <c:pt idx="0">
                  <c:v>9</c:v>
                </c:pt>
                <c:pt idx="1">
                  <c:v>30</c:v>
                </c:pt>
                <c:pt idx="2">
                  <c:v>15</c:v>
                </c:pt>
                <c:pt idx="3">
                  <c:v>7</c:v>
                </c:pt>
                <c:pt idx="4">
                  <c:v>5</c:v>
                </c:pt>
                <c:pt idx="5">
                  <c:v>38</c:v>
                </c:pt>
              </c:numCache>
            </c:numRef>
          </c:val>
          <c:extLst>
            <c:ext xmlns:c16="http://schemas.microsoft.com/office/drawing/2014/chart" uri="{C3380CC4-5D6E-409C-BE32-E72D297353CC}">
              <c16:uniqueId val="{00000000-4367-47E6-A1BB-F5604C9F402A}"/>
            </c:ext>
          </c:extLst>
        </c:ser>
        <c:ser>
          <c:idx val="1"/>
          <c:order val="1"/>
          <c:tx>
            <c:strRef>
              <c:f>LPEF4Densidade!$O$57</c:f>
              <c:strCache>
                <c:ptCount val="1"/>
                <c:pt idx="0">
                  <c:v>Habilidades na Matriz</c:v>
                </c:pt>
              </c:strCache>
            </c:strRef>
          </c:tx>
          <c:spPr>
            <a:solidFill>
              <a:schemeClr val="bg2">
                <a:lumMod val="75000"/>
              </a:schemeClr>
            </a:solidFill>
          </c:spPr>
          <c:invertIfNegative val="0"/>
          <c:cat>
            <c:strRef>
              <c:f>LPEF4Densidade!$L$58:$M$63</c:f>
              <c:strCache>
                <c:ptCount val="6"/>
                <c:pt idx="0">
                  <c:v>CA1</c:v>
                </c:pt>
                <c:pt idx="1">
                  <c:v>CA2</c:v>
                </c:pt>
                <c:pt idx="2">
                  <c:v>CA3</c:v>
                </c:pt>
                <c:pt idx="3">
                  <c:v>CA4</c:v>
                </c:pt>
                <c:pt idx="4">
                  <c:v>CA5</c:v>
                </c:pt>
                <c:pt idx="5">
                  <c:v>CA6</c:v>
                </c:pt>
              </c:strCache>
            </c:strRef>
          </c:cat>
          <c:val>
            <c:numRef>
              <c:f>LPEF4Densidade!$O$58:$O$63</c:f>
              <c:numCache>
                <c:formatCode>General</c:formatCode>
                <c:ptCount val="6"/>
                <c:pt idx="0">
                  <c:v>3</c:v>
                </c:pt>
                <c:pt idx="1">
                  <c:v>11</c:v>
                </c:pt>
                <c:pt idx="2">
                  <c:v>6</c:v>
                </c:pt>
                <c:pt idx="3">
                  <c:v>2</c:v>
                </c:pt>
                <c:pt idx="4">
                  <c:v>2</c:v>
                </c:pt>
                <c:pt idx="5">
                  <c:v>16</c:v>
                </c:pt>
              </c:numCache>
            </c:numRef>
          </c:val>
          <c:extLst>
            <c:ext xmlns:c16="http://schemas.microsoft.com/office/drawing/2014/chart" uri="{C3380CC4-5D6E-409C-BE32-E72D297353CC}">
              <c16:uniqueId val="{00000001-4367-47E6-A1BB-F5604C9F402A}"/>
            </c:ext>
          </c:extLst>
        </c:ser>
        <c:dLbls>
          <c:showLegendKey val="0"/>
          <c:showVal val="0"/>
          <c:showCatName val="0"/>
          <c:showSerName val="0"/>
          <c:showPercent val="0"/>
          <c:showBubbleSize val="0"/>
        </c:dLbls>
        <c:gapWidth val="150"/>
        <c:axId val="558547728"/>
        <c:axId val="558549688"/>
      </c:barChart>
      <c:catAx>
        <c:axId val="558547728"/>
        <c:scaling>
          <c:orientation val="minMax"/>
        </c:scaling>
        <c:delete val="0"/>
        <c:axPos val="b"/>
        <c:numFmt formatCode="General" sourceLinked="0"/>
        <c:majorTickMark val="out"/>
        <c:minorTickMark val="none"/>
        <c:tickLblPos val="nextTo"/>
        <c:txPr>
          <a:bodyPr/>
          <a:lstStyle/>
          <a:p>
            <a:pPr>
              <a:defRPr sz="900"/>
            </a:pPr>
            <a:endParaRPr lang="en-US"/>
          </a:p>
        </c:txPr>
        <c:crossAx val="558549688"/>
        <c:crosses val="autoZero"/>
        <c:auto val="1"/>
        <c:lblAlgn val="ctr"/>
        <c:lblOffset val="100"/>
        <c:noMultiLvlLbl val="0"/>
      </c:catAx>
      <c:valAx>
        <c:axId val="558549688"/>
        <c:scaling>
          <c:orientation val="minMax"/>
        </c:scaling>
        <c:delete val="0"/>
        <c:axPos val="l"/>
        <c:numFmt formatCode="General" sourceLinked="1"/>
        <c:majorTickMark val="out"/>
        <c:minorTickMark val="none"/>
        <c:tickLblPos val="nextTo"/>
        <c:txPr>
          <a:bodyPr/>
          <a:lstStyle/>
          <a:p>
            <a:pPr>
              <a:defRPr sz="900"/>
            </a:pPr>
            <a:endParaRPr lang="en-US"/>
          </a:p>
        </c:txPr>
        <c:crossAx val="558547728"/>
        <c:crosses val="autoZero"/>
        <c:crossBetween val="between"/>
      </c:valAx>
    </c:plotArea>
    <c:legend>
      <c:legendPos val="t"/>
      <c:overlay val="0"/>
    </c:legend>
    <c:plotVisOnly val="1"/>
    <c:dispBlanksAs val="gap"/>
    <c:showDLblsOverMax val="0"/>
  </c:chart>
  <c:spPr>
    <a:ln>
      <a:solidFill>
        <a:schemeClr val="accent6">
          <a:lumMod val="75000"/>
        </a:schemeClr>
      </a:solid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4.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84.wmf"/><Relationship Id="rId1" Type="http://schemas.openxmlformats.org/officeDocument/2006/relationships/image" Target="../media/image83.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87.wmf"/><Relationship Id="rId1" Type="http://schemas.openxmlformats.org/officeDocument/2006/relationships/image" Target="../media/image86.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9.png"/></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95.wmf"/><Relationship Id="rId2" Type="http://schemas.openxmlformats.org/officeDocument/2006/relationships/image" Target="../media/image94.wmf"/><Relationship Id="rId1" Type="http://schemas.openxmlformats.org/officeDocument/2006/relationships/image" Target="../media/image93.wmf"/><Relationship Id="rId6" Type="http://schemas.openxmlformats.org/officeDocument/2006/relationships/image" Target="../media/image98.wmf"/><Relationship Id="rId5" Type="http://schemas.openxmlformats.org/officeDocument/2006/relationships/image" Target="../media/image97.wmf"/><Relationship Id="rId4" Type="http://schemas.openxmlformats.org/officeDocument/2006/relationships/image" Target="../media/image96.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w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102.wmf"/><Relationship Id="rId2" Type="http://schemas.openxmlformats.org/officeDocument/2006/relationships/image" Target="../media/image101.wmf"/><Relationship Id="rId1" Type="http://schemas.openxmlformats.org/officeDocument/2006/relationships/image" Target="../media/image100.w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105.wmf"/><Relationship Id="rId2" Type="http://schemas.openxmlformats.org/officeDocument/2006/relationships/image" Target="../media/image104.wmf"/><Relationship Id="rId1" Type="http://schemas.openxmlformats.org/officeDocument/2006/relationships/image" Target="../media/image103.w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17.wmf"/><Relationship Id="rId1" Type="http://schemas.openxmlformats.org/officeDocument/2006/relationships/image" Target="../media/image11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0.w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53.wmf"/><Relationship Id="rId2" Type="http://schemas.openxmlformats.org/officeDocument/2006/relationships/image" Target="../media/image52.wmf"/><Relationship Id="rId1" Type="http://schemas.openxmlformats.org/officeDocument/2006/relationships/image" Target="../media/image51.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latinLnBrk="0">
              <a:defRPr lang="pt-BR" sz="1200"/>
            </a:lvl1pPr>
          </a:lstStyle>
          <a:p>
            <a:endParaRPr lang="pt-B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latinLnBrk="0">
              <a:defRPr lang="pt-BR" sz="1200"/>
            </a:lvl1pPr>
          </a:lstStyle>
          <a:p>
            <a:fld id="{00F830A1-3891-4B82-A120-081866556DA0}" type="datetimeFigureOut">
              <a:rPr lang="pt-BR"/>
              <a:pPr/>
              <a:t>15/04/2019</a:t>
            </a:fld>
            <a:endParaRPr lang="pt-B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latinLnBrk="0">
              <a:defRPr lang="pt-BR" sz="1200"/>
            </a:lvl1pPr>
          </a:lstStyle>
          <a:p>
            <a:endParaRPr lang="pt-B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latinLnBrk="0">
              <a:defRPr lang="pt-BR" sz="1200"/>
            </a:lvl1pPr>
          </a:lstStyle>
          <a:p>
            <a:fld id="{58CC9574-A819-4FE4-99A7-1E27AD09ADC2}" type="slidenum">
              <a:rPr/>
              <a:pPr/>
              <a:t>‹nº›</a:t>
            </a:fld>
            <a:endParaRPr lang="pt-BR"/>
          </a:p>
        </p:txBody>
      </p:sp>
    </p:spTree>
    <p:extLst>
      <p:ext uri="{BB962C8B-B14F-4D97-AF65-F5344CB8AC3E}">
        <p14:creationId xmlns:p14="http://schemas.microsoft.com/office/powerpoint/2010/main" val="246797113"/>
      </p:ext>
    </p:extLst>
  </p:cSld>
  <p:clrMap bg1="lt1" tx1="dk1" bg2="lt2" tx2="dk2" accent1="accent1" accent2="accent2" accent3="accent3" accent4="accent4" accent5="accent5" accent6="accent6" hlink="hlink" folHlink="folHlink"/>
  <p:notesStyle>
    <a:lvl1pPr marL="0" algn="l" defTabSz="914400" rtl="0" eaLnBrk="1" latinLnBrk="0" hangingPunct="1">
      <a:defRPr lang="pt-BR" sz="1200" kern="1200">
        <a:solidFill>
          <a:schemeClr val="tx1"/>
        </a:solidFill>
        <a:latin typeface="+mn-lt"/>
        <a:ea typeface="+mn-ea"/>
        <a:cs typeface="+mn-cs"/>
      </a:defRPr>
    </a:lvl1pPr>
    <a:lvl2pPr marL="457200" algn="l" defTabSz="914400" rtl="0" eaLnBrk="1" latinLnBrk="0" hangingPunct="1">
      <a:defRPr lang="pt-BR" sz="1200" kern="1200">
        <a:solidFill>
          <a:schemeClr val="tx1"/>
        </a:solidFill>
        <a:latin typeface="+mn-lt"/>
        <a:ea typeface="+mn-ea"/>
        <a:cs typeface="+mn-cs"/>
      </a:defRPr>
    </a:lvl2pPr>
    <a:lvl3pPr marL="914400" algn="l" defTabSz="914400" rtl="0" eaLnBrk="1" latinLnBrk="0" hangingPunct="1">
      <a:defRPr lang="pt-BR" sz="1200" kern="1200">
        <a:solidFill>
          <a:schemeClr val="tx1"/>
        </a:solidFill>
        <a:latin typeface="+mn-lt"/>
        <a:ea typeface="+mn-ea"/>
        <a:cs typeface="+mn-cs"/>
      </a:defRPr>
    </a:lvl3pPr>
    <a:lvl4pPr marL="1371600" algn="l" defTabSz="914400" rtl="0" eaLnBrk="1" latinLnBrk="0" hangingPunct="1">
      <a:defRPr lang="pt-BR" sz="1200" kern="1200">
        <a:solidFill>
          <a:schemeClr val="tx1"/>
        </a:solidFill>
        <a:latin typeface="+mn-lt"/>
        <a:ea typeface="+mn-ea"/>
        <a:cs typeface="+mn-cs"/>
      </a:defRPr>
    </a:lvl4pPr>
    <a:lvl5pPr marL="1828800" algn="l" defTabSz="914400" rtl="0" eaLnBrk="1" latinLnBrk="0" hangingPunct="1">
      <a:defRPr lang="pt-BR" sz="1200" kern="1200">
        <a:solidFill>
          <a:schemeClr val="tx1"/>
        </a:solidFill>
        <a:latin typeface="+mn-lt"/>
        <a:ea typeface="+mn-ea"/>
        <a:cs typeface="+mn-cs"/>
      </a:defRPr>
    </a:lvl5pPr>
    <a:lvl6pPr marL="2286000" algn="l" defTabSz="914400" rtl="0" eaLnBrk="1" latinLnBrk="0" hangingPunct="1">
      <a:defRPr lang="pt-BR" sz="1200" kern="1200">
        <a:solidFill>
          <a:schemeClr val="tx1"/>
        </a:solidFill>
        <a:latin typeface="+mn-lt"/>
        <a:ea typeface="+mn-ea"/>
        <a:cs typeface="+mn-cs"/>
      </a:defRPr>
    </a:lvl6pPr>
    <a:lvl7pPr marL="2743200" algn="l" defTabSz="914400" rtl="0" eaLnBrk="1" latinLnBrk="0" hangingPunct="1">
      <a:defRPr lang="pt-BR" sz="1200" kern="1200">
        <a:solidFill>
          <a:schemeClr val="tx1"/>
        </a:solidFill>
        <a:latin typeface="+mn-lt"/>
        <a:ea typeface="+mn-ea"/>
        <a:cs typeface="+mn-cs"/>
      </a:defRPr>
    </a:lvl7pPr>
    <a:lvl8pPr marL="3200400" algn="l" defTabSz="914400" rtl="0" eaLnBrk="1" latinLnBrk="0" hangingPunct="1">
      <a:defRPr lang="pt-BR" sz="1200" kern="1200">
        <a:solidFill>
          <a:schemeClr val="tx1"/>
        </a:solidFill>
        <a:latin typeface="+mn-lt"/>
        <a:ea typeface="+mn-ea"/>
        <a:cs typeface="+mn-cs"/>
      </a:defRPr>
    </a:lvl8pPr>
    <a:lvl9pPr marL="3657600" algn="l" defTabSz="914400" rtl="0" eaLnBrk="1" latinLnBrk="0" hangingPunct="1">
      <a:defRPr lang="pt-B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Esta </a:t>
            </a:r>
            <a:r>
              <a:rPr lang="pt-BR" dirty="0"/>
              <a:t>apresentação demonstra os novos recursos do PowerPoint e é visualizada com melhor resolução no modo Apresentação de Slides. Esses slides foram projetados para fornecer a você idéias excelentes de criação de apresentações no PowerPoint 2010.</a:t>
            </a:r>
          </a:p>
          <a:p>
            <a:endParaRPr lang="pt-BR" dirty="0"/>
          </a:p>
          <a:p>
            <a:r>
              <a:rPr lang="pt-BR" dirty="0"/>
              <a:t>Para obter mais exemplos de modelos, clique na guia Arquivo e, na guia Novo, clique em Exemplos de Modelos.</a:t>
            </a:r>
          </a:p>
        </p:txBody>
      </p:sp>
      <p:sp>
        <p:nvSpPr>
          <p:cNvPr id="4" name="Slide Number Placeholder 3"/>
          <p:cNvSpPr>
            <a:spLocks noGrp="1"/>
          </p:cNvSpPr>
          <p:nvPr>
            <p:ph type="sldNum" sz="quarter" idx="10"/>
          </p:nvPr>
        </p:nvSpPr>
        <p:spPr/>
        <p:txBody>
          <a:bodyPr/>
          <a:lstStyle/>
          <a:p>
            <a:fld id="{58CC9574-A819-4FE4-99A7-1E27AD09ADC2}" type="slidenum">
              <a:rPr lang="pt-BR" smtClean="0"/>
              <a:pPr/>
              <a:t>1</a:t>
            </a:fld>
            <a:endParaRPr lang="pt-BR" dirty="0"/>
          </a:p>
        </p:txBody>
      </p:sp>
    </p:spTree>
    <p:extLst>
      <p:ext uri="{BB962C8B-B14F-4D97-AF65-F5344CB8AC3E}">
        <p14:creationId xmlns:p14="http://schemas.microsoft.com/office/powerpoint/2010/main" val="2049927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Espaço Reservado para Imagem de Slide 1"/>
          <p:cNvSpPr>
            <a:spLocks noGrp="1" noRot="1" noChangeAspect="1" noTextEdit="1"/>
          </p:cNvSpPr>
          <p:nvPr>
            <p:ph type="sldImg"/>
          </p:nvPr>
        </p:nvSpPr>
        <p:spPr>
          <a:ln/>
        </p:spPr>
      </p:sp>
      <p:sp>
        <p:nvSpPr>
          <p:cNvPr id="11571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571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BA4369C-3E35-4AA8-B7D3-5330D6D9F4FB}" type="slidenum">
              <a:rPr lang="pt-BR" altLang="pt-BR">
                <a:latin typeface="Arial" panose="020B0604020202020204" pitchFamily="34" charset="0"/>
              </a:rPr>
              <a:pPr eaLnBrk="1" hangingPunct="1"/>
              <a:t>17</a:t>
            </a:fld>
            <a:endParaRPr lang="pt-BR" altLang="pt-BR">
              <a:latin typeface="Arial" panose="020B0604020202020204" pitchFamily="34" charset="0"/>
            </a:endParaRPr>
          </a:p>
        </p:txBody>
      </p:sp>
    </p:spTree>
    <p:extLst>
      <p:ext uri="{BB962C8B-B14F-4D97-AF65-F5344CB8AC3E}">
        <p14:creationId xmlns:p14="http://schemas.microsoft.com/office/powerpoint/2010/main" val="2062285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ço Reservado para Imagem de Slide 1"/>
          <p:cNvSpPr>
            <a:spLocks noGrp="1" noRot="1" noChangeAspect="1" noTextEdit="1"/>
          </p:cNvSpPr>
          <p:nvPr>
            <p:ph type="sldImg"/>
          </p:nvPr>
        </p:nvSpPr>
        <p:spPr>
          <a:ln/>
        </p:spPr>
      </p:sp>
      <p:sp>
        <p:nvSpPr>
          <p:cNvPr id="11673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674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2862A9DC-AB4F-464A-873E-9544815FAA9E}" type="slidenum">
              <a:rPr lang="pt-BR" altLang="pt-BR">
                <a:latin typeface="Arial" panose="020B0604020202020204" pitchFamily="34" charset="0"/>
              </a:rPr>
              <a:pPr eaLnBrk="1" hangingPunct="1"/>
              <a:t>19</a:t>
            </a:fld>
            <a:endParaRPr lang="pt-BR" altLang="pt-BR">
              <a:latin typeface="Arial" panose="020B0604020202020204" pitchFamily="34" charset="0"/>
            </a:endParaRPr>
          </a:p>
        </p:txBody>
      </p:sp>
    </p:spTree>
    <p:extLst>
      <p:ext uri="{BB962C8B-B14F-4D97-AF65-F5344CB8AC3E}">
        <p14:creationId xmlns:p14="http://schemas.microsoft.com/office/powerpoint/2010/main" val="2233428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Espaço Reservado para Imagem de Slide 1"/>
          <p:cNvSpPr>
            <a:spLocks noGrp="1" noRot="1" noChangeAspect="1" noTextEdit="1"/>
          </p:cNvSpPr>
          <p:nvPr>
            <p:ph type="sldImg"/>
          </p:nvPr>
        </p:nvSpPr>
        <p:spPr>
          <a:ln/>
        </p:spPr>
      </p:sp>
      <p:sp>
        <p:nvSpPr>
          <p:cNvPr id="11776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776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161242E6-CEBE-4477-9C4C-F616C1643240}" type="slidenum">
              <a:rPr lang="pt-BR" altLang="pt-BR">
                <a:latin typeface="Arial" panose="020B0604020202020204" pitchFamily="34" charset="0"/>
              </a:rPr>
              <a:pPr eaLnBrk="1" hangingPunct="1"/>
              <a:t>20</a:t>
            </a:fld>
            <a:endParaRPr lang="pt-BR" altLang="pt-BR">
              <a:latin typeface="Arial" panose="020B0604020202020204" pitchFamily="34" charset="0"/>
            </a:endParaRPr>
          </a:p>
        </p:txBody>
      </p:sp>
    </p:spTree>
    <p:extLst>
      <p:ext uri="{BB962C8B-B14F-4D97-AF65-F5344CB8AC3E}">
        <p14:creationId xmlns:p14="http://schemas.microsoft.com/office/powerpoint/2010/main" val="1792930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Espaço Reservado para Imagem de Slide 1"/>
          <p:cNvSpPr>
            <a:spLocks noGrp="1" noRot="1" noChangeAspect="1" noTextEdit="1"/>
          </p:cNvSpPr>
          <p:nvPr>
            <p:ph type="sldImg"/>
          </p:nvPr>
        </p:nvSpPr>
        <p:spPr>
          <a:ln/>
        </p:spPr>
      </p:sp>
      <p:sp>
        <p:nvSpPr>
          <p:cNvPr id="11878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878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F30F0CE-D6FA-4B11-8525-BE6BE63BD0C6}" type="slidenum">
              <a:rPr lang="pt-BR" altLang="pt-BR">
                <a:latin typeface="Arial" panose="020B0604020202020204" pitchFamily="34" charset="0"/>
              </a:rPr>
              <a:pPr eaLnBrk="1" hangingPunct="1"/>
              <a:t>21</a:t>
            </a:fld>
            <a:endParaRPr lang="pt-BR" altLang="pt-BR">
              <a:latin typeface="Arial" panose="020B0604020202020204" pitchFamily="34" charset="0"/>
            </a:endParaRPr>
          </a:p>
        </p:txBody>
      </p:sp>
    </p:spTree>
    <p:extLst>
      <p:ext uri="{BB962C8B-B14F-4D97-AF65-F5344CB8AC3E}">
        <p14:creationId xmlns:p14="http://schemas.microsoft.com/office/powerpoint/2010/main" val="3950420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Espaço Reservado para Imagem de Slide 1"/>
          <p:cNvSpPr>
            <a:spLocks noGrp="1" noRot="1" noChangeAspect="1" noTextEdit="1"/>
          </p:cNvSpPr>
          <p:nvPr>
            <p:ph type="sldImg"/>
          </p:nvPr>
        </p:nvSpPr>
        <p:spPr>
          <a:ln/>
        </p:spPr>
      </p:sp>
      <p:sp>
        <p:nvSpPr>
          <p:cNvPr id="11981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981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92CF84E-1211-4BF4-BE67-6EB0405C4760}" type="slidenum">
              <a:rPr lang="pt-BR" altLang="pt-BR">
                <a:latin typeface="Arial" panose="020B0604020202020204" pitchFamily="34" charset="0"/>
              </a:rPr>
              <a:pPr eaLnBrk="1" hangingPunct="1"/>
              <a:t>22</a:t>
            </a:fld>
            <a:endParaRPr lang="pt-BR" altLang="pt-BR">
              <a:latin typeface="Arial" panose="020B0604020202020204" pitchFamily="34" charset="0"/>
            </a:endParaRPr>
          </a:p>
        </p:txBody>
      </p:sp>
    </p:spTree>
    <p:extLst>
      <p:ext uri="{BB962C8B-B14F-4D97-AF65-F5344CB8AC3E}">
        <p14:creationId xmlns:p14="http://schemas.microsoft.com/office/powerpoint/2010/main" val="22281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Espaço Reservado para Imagem de Slide 1"/>
          <p:cNvSpPr>
            <a:spLocks noGrp="1" noRot="1" noChangeAspect="1" noTextEdit="1"/>
          </p:cNvSpPr>
          <p:nvPr>
            <p:ph type="sldImg"/>
          </p:nvPr>
        </p:nvSpPr>
        <p:spPr>
          <a:ln/>
        </p:spPr>
      </p:sp>
      <p:sp>
        <p:nvSpPr>
          <p:cNvPr id="12083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083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A617B56-EEEE-44D7-A2E2-C83C8FEFC2E6}" type="slidenum">
              <a:rPr lang="pt-BR" altLang="pt-BR">
                <a:latin typeface="Arial" panose="020B0604020202020204" pitchFamily="34" charset="0"/>
              </a:rPr>
              <a:pPr eaLnBrk="1" hangingPunct="1"/>
              <a:t>23</a:t>
            </a:fld>
            <a:endParaRPr lang="pt-BR" altLang="pt-BR">
              <a:latin typeface="Arial" panose="020B0604020202020204" pitchFamily="34" charset="0"/>
            </a:endParaRPr>
          </a:p>
        </p:txBody>
      </p:sp>
    </p:spTree>
    <p:extLst>
      <p:ext uri="{BB962C8B-B14F-4D97-AF65-F5344CB8AC3E}">
        <p14:creationId xmlns:p14="http://schemas.microsoft.com/office/powerpoint/2010/main" val="3622263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Espaço Reservado para Imagem de Slide 1"/>
          <p:cNvSpPr>
            <a:spLocks noGrp="1" noRot="1" noChangeAspect="1" noTextEdit="1"/>
          </p:cNvSpPr>
          <p:nvPr>
            <p:ph type="sldImg"/>
          </p:nvPr>
        </p:nvSpPr>
        <p:spPr>
          <a:ln/>
        </p:spPr>
      </p:sp>
      <p:sp>
        <p:nvSpPr>
          <p:cNvPr id="12185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186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9DC6C413-D91E-43D8-9563-5413D4AACFA3}" type="slidenum">
              <a:rPr lang="pt-BR" altLang="pt-BR">
                <a:latin typeface="Arial" panose="020B0604020202020204" pitchFamily="34" charset="0"/>
              </a:rPr>
              <a:pPr eaLnBrk="1" hangingPunct="1"/>
              <a:t>24</a:t>
            </a:fld>
            <a:endParaRPr lang="pt-BR" altLang="pt-BR">
              <a:latin typeface="Arial" panose="020B0604020202020204" pitchFamily="34" charset="0"/>
            </a:endParaRPr>
          </a:p>
        </p:txBody>
      </p:sp>
    </p:spTree>
    <p:extLst>
      <p:ext uri="{BB962C8B-B14F-4D97-AF65-F5344CB8AC3E}">
        <p14:creationId xmlns:p14="http://schemas.microsoft.com/office/powerpoint/2010/main" val="3179756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Espaço Reservado para Imagem de Slide 1"/>
          <p:cNvSpPr>
            <a:spLocks noGrp="1" noRot="1" noChangeAspect="1" noTextEdit="1"/>
          </p:cNvSpPr>
          <p:nvPr>
            <p:ph type="sldImg"/>
          </p:nvPr>
        </p:nvSpPr>
        <p:spPr>
          <a:ln/>
        </p:spPr>
      </p:sp>
      <p:sp>
        <p:nvSpPr>
          <p:cNvPr id="12288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288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0E8550B9-3139-43AB-8A25-30C86A7D0CF1}" type="slidenum">
              <a:rPr lang="pt-BR" altLang="pt-BR">
                <a:latin typeface="Arial" panose="020B0604020202020204" pitchFamily="34" charset="0"/>
              </a:rPr>
              <a:pPr eaLnBrk="1" hangingPunct="1"/>
              <a:t>25</a:t>
            </a:fld>
            <a:endParaRPr lang="pt-BR" altLang="pt-BR">
              <a:latin typeface="Arial" panose="020B0604020202020204" pitchFamily="34" charset="0"/>
            </a:endParaRPr>
          </a:p>
        </p:txBody>
      </p:sp>
    </p:spTree>
    <p:extLst>
      <p:ext uri="{BB962C8B-B14F-4D97-AF65-F5344CB8AC3E}">
        <p14:creationId xmlns:p14="http://schemas.microsoft.com/office/powerpoint/2010/main" val="1396781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Espaço Reservado para Imagem de Slide 1"/>
          <p:cNvSpPr>
            <a:spLocks noGrp="1" noRot="1" noChangeAspect="1" noTextEdit="1"/>
          </p:cNvSpPr>
          <p:nvPr>
            <p:ph type="sldImg"/>
          </p:nvPr>
        </p:nvSpPr>
        <p:spPr>
          <a:ln/>
        </p:spPr>
      </p:sp>
      <p:sp>
        <p:nvSpPr>
          <p:cNvPr id="12390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390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B4E18DFB-DCBA-454C-9BA4-4CF5E4A6A54E}" type="slidenum">
              <a:rPr lang="pt-BR" altLang="pt-BR">
                <a:latin typeface="Arial" panose="020B0604020202020204" pitchFamily="34" charset="0"/>
              </a:rPr>
              <a:pPr eaLnBrk="1" hangingPunct="1"/>
              <a:t>26</a:t>
            </a:fld>
            <a:endParaRPr lang="pt-BR" altLang="pt-BR">
              <a:latin typeface="Arial" panose="020B0604020202020204" pitchFamily="34" charset="0"/>
            </a:endParaRPr>
          </a:p>
        </p:txBody>
      </p:sp>
    </p:spTree>
    <p:extLst>
      <p:ext uri="{BB962C8B-B14F-4D97-AF65-F5344CB8AC3E}">
        <p14:creationId xmlns:p14="http://schemas.microsoft.com/office/powerpoint/2010/main" val="39503262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Espaço Reservado para Imagem de Slide 1"/>
          <p:cNvSpPr>
            <a:spLocks noGrp="1" noRot="1" noChangeAspect="1" noTextEdit="1"/>
          </p:cNvSpPr>
          <p:nvPr>
            <p:ph type="sldImg"/>
          </p:nvPr>
        </p:nvSpPr>
        <p:spPr>
          <a:ln/>
        </p:spPr>
      </p:sp>
      <p:sp>
        <p:nvSpPr>
          <p:cNvPr id="12493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493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993617F-815D-4667-AB0F-5B7D4AD8FAFB}" type="slidenum">
              <a:rPr lang="pt-BR" altLang="pt-BR">
                <a:latin typeface="Arial" panose="020B0604020202020204" pitchFamily="34" charset="0"/>
              </a:rPr>
              <a:pPr eaLnBrk="1" hangingPunct="1"/>
              <a:t>27</a:t>
            </a:fld>
            <a:endParaRPr lang="pt-BR" altLang="pt-BR">
              <a:latin typeface="Arial" panose="020B0604020202020204" pitchFamily="34" charset="0"/>
            </a:endParaRPr>
          </a:p>
        </p:txBody>
      </p:sp>
    </p:spTree>
    <p:extLst>
      <p:ext uri="{BB962C8B-B14F-4D97-AF65-F5344CB8AC3E}">
        <p14:creationId xmlns:p14="http://schemas.microsoft.com/office/powerpoint/2010/main" val="2514075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a:t>
            </a:fld>
            <a:endParaRPr lang="pt-BR" dirty="0">
              <a:solidFill>
                <a:prstClr val="black"/>
              </a:solidFill>
            </a:endParaRPr>
          </a:p>
        </p:txBody>
      </p:sp>
    </p:spTree>
    <p:extLst>
      <p:ext uri="{BB962C8B-B14F-4D97-AF65-F5344CB8AC3E}">
        <p14:creationId xmlns:p14="http://schemas.microsoft.com/office/powerpoint/2010/main" val="371554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Espaço Reservado para Imagem de Slide 1"/>
          <p:cNvSpPr>
            <a:spLocks noGrp="1" noRot="1" noChangeAspect="1" noTextEdit="1"/>
          </p:cNvSpPr>
          <p:nvPr>
            <p:ph type="sldImg"/>
          </p:nvPr>
        </p:nvSpPr>
        <p:spPr>
          <a:ln/>
        </p:spPr>
      </p:sp>
      <p:sp>
        <p:nvSpPr>
          <p:cNvPr id="12595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595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E0A3BC63-8A90-427C-96B6-3170774C668C}" type="slidenum">
              <a:rPr lang="pt-BR" altLang="pt-BR">
                <a:latin typeface="Arial" panose="020B0604020202020204" pitchFamily="34" charset="0"/>
              </a:rPr>
              <a:pPr eaLnBrk="1" hangingPunct="1"/>
              <a:t>28</a:t>
            </a:fld>
            <a:endParaRPr lang="pt-BR" altLang="pt-BR">
              <a:latin typeface="Arial" panose="020B0604020202020204" pitchFamily="34" charset="0"/>
            </a:endParaRPr>
          </a:p>
        </p:txBody>
      </p:sp>
    </p:spTree>
    <p:extLst>
      <p:ext uri="{BB962C8B-B14F-4D97-AF65-F5344CB8AC3E}">
        <p14:creationId xmlns:p14="http://schemas.microsoft.com/office/powerpoint/2010/main" val="277362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Espaço Reservado para Imagem de Slide 1"/>
          <p:cNvSpPr>
            <a:spLocks noGrp="1" noRot="1" noChangeAspect="1" noTextEdit="1"/>
          </p:cNvSpPr>
          <p:nvPr>
            <p:ph type="sldImg"/>
          </p:nvPr>
        </p:nvSpPr>
        <p:spPr>
          <a:ln/>
        </p:spPr>
      </p:sp>
      <p:sp>
        <p:nvSpPr>
          <p:cNvPr id="12697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698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54A5FC70-B32F-45CE-A660-00A9EBF518A3}" type="slidenum">
              <a:rPr lang="pt-BR" altLang="pt-BR">
                <a:latin typeface="Arial" panose="020B0604020202020204" pitchFamily="34" charset="0"/>
              </a:rPr>
              <a:pPr eaLnBrk="1" hangingPunct="1"/>
              <a:t>33</a:t>
            </a:fld>
            <a:endParaRPr lang="pt-BR" altLang="pt-BR">
              <a:latin typeface="Arial" panose="020B0604020202020204" pitchFamily="34" charset="0"/>
            </a:endParaRPr>
          </a:p>
        </p:txBody>
      </p:sp>
    </p:spTree>
    <p:extLst>
      <p:ext uri="{BB962C8B-B14F-4D97-AF65-F5344CB8AC3E}">
        <p14:creationId xmlns:p14="http://schemas.microsoft.com/office/powerpoint/2010/main" val="502189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0</a:t>
            </a:fld>
            <a:endParaRPr lang="pt-BR" dirty="0">
              <a:solidFill>
                <a:prstClr val="black"/>
              </a:solidFill>
            </a:endParaRPr>
          </a:p>
        </p:txBody>
      </p:sp>
    </p:spTree>
    <p:extLst>
      <p:ext uri="{BB962C8B-B14F-4D97-AF65-F5344CB8AC3E}">
        <p14:creationId xmlns:p14="http://schemas.microsoft.com/office/powerpoint/2010/main" val="2957791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Espaço Reservado para Imagem de Slide 1"/>
          <p:cNvSpPr>
            <a:spLocks noGrp="1" noRot="1" noChangeAspect="1" noTextEdit="1"/>
          </p:cNvSpPr>
          <p:nvPr>
            <p:ph type="sldImg"/>
          </p:nvPr>
        </p:nvSpPr>
        <p:spPr>
          <a:ln/>
        </p:spPr>
      </p:sp>
      <p:sp>
        <p:nvSpPr>
          <p:cNvPr id="13209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210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40B20691-C71E-49C7-8F0E-0820F9228B62}" type="slidenum">
              <a:rPr lang="pt-BR" altLang="pt-BR">
                <a:latin typeface="Arial" panose="020B0604020202020204" pitchFamily="34" charset="0"/>
              </a:rPr>
              <a:pPr eaLnBrk="1" hangingPunct="1"/>
              <a:t>41</a:t>
            </a:fld>
            <a:endParaRPr lang="pt-BR" altLang="pt-BR">
              <a:latin typeface="Arial" panose="020B0604020202020204" pitchFamily="34" charset="0"/>
            </a:endParaRPr>
          </a:p>
        </p:txBody>
      </p:sp>
    </p:spTree>
    <p:extLst>
      <p:ext uri="{BB962C8B-B14F-4D97-AF65-F5344CB8AC3E}">
        <p14:creationId xmlns:p14="http://schemas.microsoft.com/office/powerpoint/2010/main" val="1848927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5C3CD30-71D9-4D80-AC0A-488F05107E17}" type="slidenum">
              <a:rPr lang="pt-BR" altLang="pt-BR">
                <a:latin typeface="Arial" panose="020B0604020202020204" pitchFamily="34" charset="0"/>
              </a:rPr>
              <a:pPr eaLnBrk="1" hangingPunct="1"/>
              <a:t>42</a:t>
            </a:fld>
            <a:endParaRPr lang="pt-BR" altLang="pt-BR">
              <a:latin typeface="Arial" panose="020B0604020202020204" pitchFamily="34" charset="0"/>
            </a:endParaRPr>
          </a:p>
        </p:txBody>
      </p:sp>
      <p:sp>
        <p:nvSpPr>
          <p:cNvPr id="133123" name="Rectangle 2"/>
          <p:cNvSpPr>
            <a:spLocks noGrp="1" noRot="1" noChangeAspect="1" noChangeArrowheads="1" noTextEdit="1"/>
          </p:cNvSpPr>
          <p:nvPr>
            <p:ph type="sldImg"/>
          </p:nvPr>
        </p:nvSpPr>
        <p:spPr>
          <a:ln/>
        </p:spPr>
      </p:sp>
      <p:sp>
        <p:nvSpPr>
          <p:cNvPr id="133124"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2029887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5C3CD30-71D9-4D80-AC0A-488F05107E17}" type="slidenum">
              <a:rPr lang="pt-BR" altLang="pt-BR">
                <a:latin typeface="Arial" panose="020B0604020202020204" pitchFamily="34" charset="0"/>
              </a:rPr>
              <a:pPr eaLnBrk="1" hangingPunct="1"/>
              <a:t>43</a:t>
            </a:fld>
            <a:endParaRPr lang="pt-BR" altLang="pt-BR">
              <a:latin typeface="Arial" panose="020B0604020202020204" pitchFamily="34" charset="0"/>
            </a:endParaRPr>
          </a:p>
        </p:txBody>
      </p:sp>
      <p:sp>
        <p:nvSpPr>
          <p:cNvPr id="133123" name="Rectangle 2"/>
          <p:cNvSpPr>
            <a:spLocks noGrp="1" noRot="1" noChangeAspect="1" noChangeArrowheads="1" noTextEdit="1"/>
          </p:cNvSpPr>
          <p:nvPr>
            <p:ph type="sldImg"/>
          </p:nvPr>
        </p:nvSpPr>
        <p:spPr>
          <a:ln/>
        </p:spPr>
      </p:sp>
      <p:sp>
        <p:nvSpPr>
          <p:cNvPr id="133124"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2419591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4</a:t>
            </a:fld>
            <a:endParaRPr lang="pt-BR" dirty="0">
              <a:solidFill>
                <a:prstClr val="black"/>
              </a:solidFill>
            </a:endParaRPr>
          </a:p>
        </p:txBody>
      </p:sp>
    </p:spTree>
    <p:extLst>
      <p:ext uri="{BB962C8B-B14F-4D97-AF65-F5344CB8AC3E}">
        <p14:creationId xmlns:p14="http://schemas.microsoft.com/office/powerpoint/2010/main" val="16650684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5</a:t>
            </a:fld>
            <a:endParaRPr lang="pt-BR" dirty="0">
              <a:solidFill>
                <a:prstClr val="black"/>
              </a:solidFill>
            </a:endParaRPr>
          </a:p>
        </p:txBody>
      </p:sp>
    </p:spTree>
    <p:extLst>
      <p:ext uri="{BB962C8B-B14F-4D97-AF65-F5344CB8AC3E}">
        <p14:creationId xmlns:p14="http://schemas.microsoft.com/office/powerpoint/2010/main" val="9200818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Espaço Reservado para Imagem de Slide 1"/>
          <p:cNvSpPr>
            <a:spLocks noGrp="1" noRot="1" noChangeAspect="1" noTextEdit="1"/>
          </p:cNvSpPr>
          <p:nvPr>
            <p:ph type="sldImg"/>
          </p:nvPr>
        </p:nvSpPr>
        <p:spPr>
          <a:ln/>
        </p:spPr>
      </p:sp>
      <p:sp>
        <p:nvSpPr>
          <p:cNvPr id="13619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atin typeface="Arial" pitchFamily="34" charset="0"/>
            </a:endParaRPr>
          </a:p>
        </p:txBody>
      </p:sp>
      <p:sp>
        <p:nvSpPr>
          <p:cNvPr id="13619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fld id="{729F5185-C50A-4B57-AC52-BD83848A8874}" type="slidenum">
              <a:rPr lang="pt-BR">
                <a:latin typeface="Arial" pitchFamily="34" charset="0"/>
              </a:rPr>
              <a:pPr eaLnBrk="1" hangingPunct="1"/>
              <a:t>46</a:t>
            </a:fld>
            <a:endParaRPr lang="pt-BR">
              <a:latin typeface="Arial" pitchFamily="34" charset="0"/>
            </a:endParaRPr>
          </a:p>
        </p:txBody>
      </p:sp>
    </p:spTree>
    <p:extLst>
      <p:ext uri="{BB962C8B-B14F-4D97-AF65-F5344CB8AC3E}">
        <p14:creationId xmlns:p14="http://schemas.microsoft.com/office/powerpoint/2010/main" val="4277295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Espaço Reservado para Imagem de Slide 1"/>
          <p:cNvSpPr>
            <a:spLocks noGrp="1" noRot="1" noChangeAspect="1" noTextEdit="1"/>
          </p:cNvSpPr>
          <p:nvPr>
            <p:ph type="sldImg"/>
          </p:nvPr>
        </p:nvSpPr>
        <p:spPr>
          <a:ln/>
        </p:spPr>
      </p:sp>
      <p:sp>
        <p:nvSpPr>
          <p:cNvPr id="13619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atin typeface="Arial" pitchFamily="34" charset="0"/>
            </a:endParaRPr>
          </a:p>
        </p:txBody>
      </p:sp>
      <p:sp>
        <p:nvSpPr>
          <p:cNvPr id="13619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fld id="{729F5185-C50A-4B57-AC52-BD83848A8874}" type="slidenum">
              <a:rPr lang="pt-BR">
                <a:latin typeface="Arial" pitchFamily="34" charset="0"/>
              </a:rPr>
              <a:pPr eaLnBrk="1" hangingPunct="1"/>
              <a:t>47</a:t>
            </a:fld>
            <a:endParaRPr lang="pt-BR">
              <a:latin typeface="Arial" pitchFamily="34" charset="0"/>
            </a:endParaRPr>
          </a:p>
        </p:txBody>
      </p:sp>
    </p:spTree>
    <p:extLst>
      <p:ext uri="{BB962C8B-B14F-4D97-AF65-F5344CB8AC3E}">
        <p14:creationId xmlns:p14="http://schemas.microsoft.com/office/powerpoint/2010/main" val="3916185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8CC9574-A819-4FE4-99A7-1E27AD09ADC2}" type="slidenum">
              <a:rPr lang="pt-BR" smtClean="0"/>
              <a:pPr/>
              <a:t>5</a:t>
            </a:fld>
            <a:endParaRPr lang="pt-BR" dirty="0"/>
          </a:p>
        </p:txBody>
      </p:sp>
    </p:spTree>
    <p:extLst>
      <p:ext uri="{BB962C8B-B14F-4D97-AF65-F5344CB8AC3E}">
        <p14:creationId xmlns:p14="http://schemas.microsoft.com/office/powerpoint/2010/main" val="8294132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Espaço Reservado para Imagem de Slide 1"/>
          <p:cNvSpPr>
            <a:spLocks noGrp="1" noRot="1" noChangeAspect="1" noTextEdit="1"/>
          </p:cNvSpPr>
          <p:nvPr>
            <p:ph type="sldImg"/>
          </p:nvPr>
        </p:nvSpPr>
        <p:spPr>
          <a:ln/>
        </p:spPr>
      </p:sp>
      <p:sp>
        <p:nvSpPr>
          <p:cNvPr id="13721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722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4750E72-E626-4A0B-873E-0D6338082816}" type="slidenum">
              <a:rPr lang="pt-BR" altLang="pt-BR">
                <a:latin typeface="Arial" panose="020B0604020202020204" pitchFamily="34" charset="0"/>
              </a:rPr>
              <a:pPr eaLnBrk="1" hangingPunct="1"/>
              <a:t>63</a:t>
            </a:fld>
            <a:endParaRPr lang="pt-BR" altLang="pt-BR">
              <a:latin typeface="Arial" panose="020B0604020202020204" pitchFamily="34" charset="0"/>
            </a:endParaRPr>
          </a:p>
        </p:txBody>
      </p:sp>
    </p:spTree>
    <p:extLst>
      <p:ext uri="{BB962C8B-B14F-4D97-AF65-F5344CB8AC3E}">
        <p14:creationId xmlns:p14="http://schemas.microsoft.com/office/powerpoint/2010/main" val="11108198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Espaço Reservado para Imagem de Slide 1"/>
          <p:cNvSpPr>
            <a:spLocks noGrp="1" noRot="1" noChangeAspect="1" noTextEdit="1"/>
          </p:cNvSpPr>
          <p:nvPr>
            <p:ph type="sldImg"/>
          </p:nvPr>
        </p:nvSpPr>
        <p:spPr>
          <a:ln/>
        </p:spPr>
      </p:sp>
      <p:sp>
        <p:nvSpPr>
          <p:cNvPr id="13824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824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FBA3609-2D6E-4358-B3A9-9359620125E6}" type="slidenum">
              <a:rPr lang="pt-BR" altLang="pt-BR">
                <a:latin typeface="Arial" panose="020B0604020202020204" pitchFamily="34" charset="0"/>
              </a:rPr>
              <a:pPr eaLnBrk="1" hangingPunct="1"/>
              <a:t>64</a:t>
            </a:fld>
            <a:endParaRPr lang="pt-BR" altLang="pt-BR">
              <a:latin typeface="Arial" panose="020B0604020202020204" pitchFamily="34" charset="0"/>
            </a:endParaRPr>
          </a:p>
        </p:txBody>
      </p:sp>
    </p:spTree>
    <p:extLst>
      <p:ext uri="{BB962C8B-B14F-4D97-AF65-F5344CB8AC3E}">
        <p14:creationId xmlns:p14="http://schemas.microsoft.com/office/powerpoint/2010/main" val="32441983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Espaço Reservado para Imagem de Slide 1"/>
          <p:cNvSpPr>
            <a:spLocks noGrp="1" noRot="1" noChangeAspect="1" noTextEdit="1"/>
          </p:cNvSpPr>
          <p:nvPr>
            <p:ph type="sldImg"/>
          </p:nvPr>
        </p:nvSpPr>
        <p:spPr>
          <a:ln/>
        </p:spPr>
      </p:sp>
      <p:sp>
        <p:nvSpPr>
          <p:cNvPr id="13926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926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87891DE-5C09-4E94-AF5F-1FD9DDFC52D3}" type="slidenum">
              <a:rPr lang="pt-BR" altLang="pt-BR">
                <a:latin typeface="Arial" panose="020B0604020202020204" pitchFamily="34" charset="0"/>
              </a:rPr>
              <a:pPr eaLnBrk="1" hangingPunct="1"/>
              <a:t>65</a:t>
            </a:fld>
            <a:endParaRPr lang="pt-BR" altLang="pt-BR">
              <a:latin typeface="Arial" panose="020B0604020202020204" pitchFamily="34" charset="0"/>
            </a:endParaRPr>
          </a:p>
        </p:txBody>
      </p:sp>
    </p:spTree>
    <p:extLst>
      <p:ext uri="{BB962C8B-B14F-4D97-AF65-F5344CB8AC3E}">
        <p14:creationId xmlns:p14="http://schemas.microsoft.com/office/powerpoint/2010/main" val="4675941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Espaço Reservado para Imagem de Slide 1"/>
          <p:cNvSpPr>
            <a:spLocks noGrp="1" noRot="1" noChangeAspect="1" noTextEdit="1"/>
          </p:cNvSpPr>
          <p:nvPr>
            <p:ph type="sldImg"/>
          </p:nvPr>
        </p:nvSpPr>
        <p:spPr>
          <a:ln/>
        </p:spPr>
      </p:sp>
      <p:sp>
        <p:nvSpPr>
          <p:cNvPr id="14029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029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59C2C7A-1D5B-432B-A8BE-5B9925295861}" type="slidenum">
              <a:rPr lang="pt-BR" altLang="pt-BR">
                <a:latin typeface="Arial" panose="020B0604020202020204" pitchFamily="34" charset="0"/>
              </a:rPr>
              <a:pPr eaLnBrk="1" hangingPunct="1"/>
              <a:t>66</a:t>
            </a:fld>
            <a:endParaRPr lang="pt-BR" altLang="pt-BR">
              <a:latin typeface="Arial" panose="020B0604020202020204" pitchFamily="34" charset="0"/>
            </a:endParaRPr>
          </a:p>
        </p:txBody>
      </p:sp>
    </p:spTree>
    <p:extLst>
      <p:ext uri="{BB962C8B-B14F-4D97-AF65-F5344CB8AC3E}">
        <p14:creationId xmlns:p14="http://schemas.microsoft.com/office/powerpoint/2010/main" val="26779822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Espaço Reservado para Imagem de Slide 1"/>
          <p:cNvSpPr>
            <a:spLocks noGrp="1" noRot="1" noChangeAspect="1" noTextEdit="1"/>
          </p:cNvSpPr>
          <p:nvPr>
            <p:ph type="sldImg"/>
          </p:nvPr>
        </p:nvSpPr>
        <p:spPr>
          <a:ln/>
        </p:spPr>
      </p:sp>
      <p:sp>
        <p:nvSpPr>
          <p:cNvPr id="14131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131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3E64831-6D7B-4EBE-87B3-D01E97CC75BF}" type="slidenum">
              <a:rPr lang="pt-BR" altLang="pt-BR">
                <a:latin typeface="Arial" panose="020B0604020202020204" pitchFamily="34" charset="0"/>
              </a:rPr>
              <a:pPr eaLnBrk="1" hangingPunct="1"/>
              <a:t>67</a:t>
            </a:fld>
            <a:endParaRPr lang="pt-BR" altLang="pt-BR">
              <a:latin typeface="Arial" panose="020B0604020202020204" pitchFamily="34" charset="0"/>
            </a:endParaRPr>
          </a:p>
        </p:txBody>
      </p:sp>
    </p:spTree>
    <p:extLst>
      <p:ext uri="{BB962C8B-B14F-4D97-AF65-F5344CB8AC3E}">
        <p14:creationId xmlns:p14="http://schemas.microsoft.com/office/powerpoint/2010/main" val="18370478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Espaço Reservado para Imagem de Slide 1"/>
          <p:cNvSpPr>
            <a:spLocks noGrp="1" noRot="1" noChangeAspect="1" noTextEdit="1"/>
          </p:cNvSpPr>
          <p:nvPr>
            <p:ph type="sldImg"/>
          </p:nvPr>
        </p:nvSpPr>
        <p:spPr>
          <a:ln/>
        </p:spPr>
      </p:sp>
      <p:sp>
        <p:nvSpPr>
          <p:cNvPr id="14233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234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50795830-1520-47AD-97A8-0CC0EFD8E3B3}" type="slidenum">
              <a:rPr lang="pt-BR" altLang="pt-BR">
                <a:latin typeface="Arial" panose="020B0604020202020204" pitchFamily="34" charset="0"/>
              </a:rPr>
              <a:pPr eaLnBrk="1" hangingPunct="1"/>
              <a:t>68</a:t>
            </a:fld>
            <a:endParaRPr lang="pt-BR" altLang="pt-BR">
              <a:latin typeface="Arial" panose="020B0604020202020204" pitchFamily="34" charset="0"/>
            </a:endParaRPr>
          </a:p>
        </p:txBody>
      </p:sp>
    </p:spTree>
    <p:extLst>
      <p:ext uri="{BB962C8B-B14F-4D97-AF65-F5344CB8AC3E}">
        <p14:creationId xmlns:p14="http://schemas.microsoft.com/office/powerpoint/2010/main" val="26873906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72</a:t>
            </a:fld>
            <a:endParaRPr lang="pt-BR" dirty="0">
              <a:solidFill>
                <a:prstClr val="black"/>
              </a:solidFill>
            </a:endParaRPr>
          </a:p>
        </p:txBody>
      </p:sp>
    </p:spTree>
    <p:extLst>
      <p:ext uri="{BB962C8B-B14F-4D97-AF65-F5344CB8AC3E}">
        <p14:creationId xmlns:p14="http://schemas.microsoft.com/office/powerpoint/2010/main" val="1169143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76</a:t>
            </a:fld>
            <a:endParaRPr dirty="0">
              <a:solidFill>
                <a:prstClr val="black"/>
              </a:solidFill>
            </a:endParaRPr>
          </a:p>
        </p:txBody>
      </p:sp>
    </p:spTree>
    <p:extLst>
      <p:ext uri="{BB962C8B-B14F-4D97-AF65-F5344CB8AC3E}">
        <p14:creationId xmlns:p14="http://schemas.microsoft.com/office/powerpoint/2010/main" val="10640752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78</a:t>
            </a:fld>
            <a:endParaRPr dirty="0">
              <a:solidFill>
                <a:prstClr val="black"/>
              </a:solidFill>
            </a:endParaRPr>
          </a:p>
        </p:txBody>
      </p:sp>
    </p:spTree>
    <p:extLst>
      <p:ext uri="{BB962C8B-B14F-4D97-AF65-F5344CB8AC3E}">
        <p14:creationId xmlns:p14="http://schemas.microsoft.com/office/powerpoint/2010/main" val="8111963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79</a:t>
            </a:fld>
            <a:endParaRPr dirty="0">
              <a:solidFill>
                <a:prstClr val="black"/>
              </a:solidFill>
            </a:endParaRPr>
          </a:p>
        </p:txBody>
      </p:sp>
    </p:spTree>
    <p:extLst>
      <p:ext uri="{BB962C8B-B14F-4D97-AF65-F5344CB8AC3E}">
        <p14:creationId xmlns:p14="http://schemas.microsoft.com/office/powerpoint/2010/main" val="1587169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6</a:t>
            </a:fld>
            <a:endParaRPr lang="pt-BR" dirty="0">
              <a:solidFill>
                <a:prstClr val="black"/>
              </a:solidFill>
            </a:endParaRPr>
          </a:p>
        </p:txBody>
      </p:sp>
    </p:spTree>
    <p:extLst>
      <p:ext uri="{BB962C8B-B14F-4D97-AF65-F5344CB8AC3E}">
        <p14:creationId xmlns:p14="http://schemas.microsoft.com/office/powerpoint/2010/main" val="32015074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Espaço Reservado para Imagem de Slide 1"/>
          <p:cNvSpPr>
            <a:spLocks noGrp="1" noRot="1" noChangeAspect="1" noTextEdit="1"/>
          </p:cNvSpPr>
          <p:nvPr>
            <p:ph type="sldImg"/>
          </p:nvPr>
        </p:nvSpPr>
        <p:spPr>
          <a:ln/>
        </p:spPr>
      </p:sp>
      <p:sp>
        <p:nvSpPr>
          <p:cNvPr id="15257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258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D8799E2-28BA-4B8A-9927-7FB5BDB0C059}" type="slidenum">
              <a:rPr lang="pt-BR" altLang="pt-BR">
                <a:latin typeface="Arial" panose="020B0604020202020204" pitchFamily="34" charset="0"/>
              </a:rPr>
              <a:pPr eaLnBrk="1" hangingPunct="1"/>
              <a:t>82</a:t>
            </a:fld>
            <a:endParaRPr lang="pt-BR" altLang="pt-BR">
              <a:latin typeface="Arial" panose="020B0604020202020204" pitchFamily="34" charset="0"/>
            </a:endParaRPr>
          </a:p>
        </p:txBody>
      </p:sp>
    </p:spTree>
    <p:extLst>
      <p:ext uri="{BB962C8B-B14F-4D97-AF65-F5344CB8AC3E}">
        <p14:creationId xmlns:p14="http://schemas.microsoft.com/office/powerpoint/2010/main" val="20006404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Espaço Reservado para Imagem de Slide 1"/>
          <p:cNvSpPr>
            <a:spLocks noGrp="1" noRot="1" noChangeAspect="1" noTextEdit="1"/>
          </p:cNvSpPr>
          <p:nvPr>
            <p:ph type="sldImg"/>
          </p:nvPr>
        </p:nvSpPr>
        <p:spPr>
          <a:ln/>
        </p:spPr>
      </p:sp>
      <p:sp>
        <p:nvSpPr>
          <p:cNvPr id="15360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360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0DBC4AE-82C2-4451-B47B-AD78F36695A7}" type="slidenum">
              <a:rPr lang="pt-BR" altLang="pt-BR">
                <a:latin typeface="Arial" panose="020B0604020202020204" pitchFamily="34" charset="0"/>
              </a:rPr>
              <a:pPr eaLnBrk="1" hangingPunct="1"/>
              <a:t>83</a:t>
            </a:fld>
            <a:endParaRPr lang="pt-BR" altLang="pt-BR">
              <a:latin typeface="Arial" panose="020B0604020202020204" pitchFamily="34" charset="0"/>
            </a:endParaRPr>
          </a:p>
        </p:txBody>
      </p:sp>
    </p:spTree>
    <p:extLst>
      <p:ext uri="{BB962C8B-B14F-4D97-AF65-F5344CB8AC3E}">
        <p14:creationId xmlns:p14="http://schemas.microsoft.com/office/powerpoint/2010/main" val="32438126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746E1B3-CC49-464A-A50F-C2DFF25A7CB1}" type="slidenum">
              <a:rPr lang="pt-BR"/>
              <a:pPr/>
              <a:t>85</a:t>
            </a:fld>
            <a:endParaRPr lang="pt-BR"/>
          </a:p>
        </p:txBody>
      </p:sp>
      <p:sp>
        <p:nvSpPr>
          <p:cNvPr id="709634" name="Rectangle 2"/>
          <p:cNvSpPr>
            <a:spLocks noGrp="1" noRot="1" noChangeAspect="1" noChangeArrowheads="1" noTextEdit="1"/>
          </p:cNvSpPr>
          <p:nvPr>
            <p:ph type="sldImg"/>
          </p:nvPr>
        </p:nvSpPr>
        <p:spPr>
          <a:ln/>
        </p:spPr>
      </p:sp>
      <p:sp>
        <p:nvSpPr>
          <p:cNvPr id="709635" name="Rectangle 3"/>
          <p:cNvSpPr>
            <a:spLocks noGrp="1" noChangeArrowheads="1"/>
          </p:cNvSpPr>
          <p:nvPr>
            <p:ph type="body" idx="1"/>
          </p:nvPr>
        </p:nvSpPr>
        <p:spPr/>
        <p:txBody>
          <a:bodyPr/>
          <a:lstStyle/>
          <a:p>
            <a:endParaRPr lang="pt-BR"/>
          </a:p>
        </p:txBody>
      </p:sp>
    </p:spTree>
    <p:extLst>
      <p:ext uri="{BB962C8B-B14F-4D97-AF65-F5344CB8AC3E}">
        <p14:creationId xmlns:p14="http://schemas.microsoft.com/office/powerpoint/2010/main" val="32858093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Espaço Reservado para Imagem de Slide 1"/>
          <p:cNvSpPr>
            <a:spLocks noGrp="1" noRot="1" noChangeAspect="1" noTextEdit="1"/>
          </p:cNvSpPr>
          <p:nvPr>
            <p:ph type="sldImg"/>
          </p:nvPr>
        </p:nvSpPr>
        <p:spPr>
          <a:ln/>
        </p:spPr>
      </p:sp>
      <p:sp>
        <p:nvSpPr>
          <p:cNvPr id="15462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462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2F9269F2-58A9-4C61-86B1-DB0BD8DDF516}" type="slidenum">
              <a:rPr lang="pt-BR" altLang="pt-BR">
                <a:latin typeface="Arial" panose="020B0604020202020204" pitchFamily="34" charset="0"/>
              </a:rPr>
              <a:pPr eaLnBrk="1" hangingPunct="1"/>
              <a:t>86</a:t>
            </a:fld>
            <a:endParaRPr lang="pt-BR" altLang="pt-BR">
              <a:latin typeface="Arial" panose="020B0604020202020204" pitchFamily="34" charset="0"/>
            </a:endParaRPr>
          </a:p>
        </p:txBody>
      </p:sp>
    </p:spTree>
    <p:extLst>
      <p:ext uri="{BB962C8B-B14F-4D97-AF65-F5344CB8AC3E}">
        <p14:creationId xmlns:p14="http://schemas.microsoft.com/office/powerpoint/2010/main" val="34301439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8</a:t>
            </a:fld>
            <a:endParaRPr lang="pt-BR" dirty="0">
              <a:solidFill>
                <a:prstClr val="black"/>
              </a:solidFill>
            </a:endParaRPr>
          </a:p>
        </p:txBody>
      </p:sp>
    </p:spTree>
    <p:extLst>
      <p:ext uri="{BB962C8B-B14F-4D97-AF65-F5344CB8AC3E}">
        <p14:creationId xmlns:p14="http://schemas.microsoft.com/office/powerpoint/2010/main" val="31608563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9</a:t>
            </a:fld>
            <a:endParaRPr lang="pt-BR" dirty="0">
              <a:solidFill>
                <a:prstClr val="black"/>
              </a:solidFill>
            </a:endParaRPr>
          </a:p>
        </p:txBody>
      </p:sp>
    </p:spTree>
    <p:extLst>
      <p:ext uri="{BB962C8B-B14F-4D97-AF65-F5344CB8AC3E}">
        <p14:creationId xmlns:p14="http://schemas.microsoft.com/office/powerpoint/2010/main" val="28463875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87D77045-401A-4D5E-BFE3-54C21A8A6634}" type="slidenum">
              <a:rPr lang="pt-BR" smtClean="0">
                <a:solidFill>
                  <a:prstClr val="black"/>
                </a:solidFill>
              </a:rPr>
              <a:pPr/>
              <a:t>90</a:t>
            </a:fld>
            <a:endParaRPr lang="pt-BR" dirty="0">
              <a:solidFill>
                <a:prstClr val="black"/>
              </a:solidFill>
            </a:endParaRPr>
          </a:p>
        </p:txBody>
      </p:sp>
    </p:spTree>
    <p:extLst>
      <p:ext uri="{BB962C8B-B14F-4D97-AF65-F5344CB8AC3E}">
        <p14:creationId xmlns:p14="http://schemas.microsoft.com/office/powerpoint/2010/main" val="19294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93</a:t>
            </a:fld>
            <a:endParaRPr lang="pt-BR" dirty="0">
              <a:solidFill>
                <a:prstClr val="black"/>
              </a:solidFill>
            </a:endParaRPr>
          </a:p>
        </p:txBody>
      </p:sp>
    </p:spTree>
    <p:extLst>
      <p:ext uri="{BB962C8B-B14F-4D97-AF65-F5344CB8AC3E}">
        <p14:creationId xmlns:p14="http://schemas.microsoft.com/office/powerpoint/2010/main" val="7048241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07</a:t>
            </a:fld>
            <a:endParaRPr lang="pt-BR" dirty="0">
              <a:solidFill>
                <a:prstClr val="black"/>
              </a:solidFill>
            </a:endParaRPr>
          </a:p>
        </p:txBody>
      </p:sp>
    </p:spTree>
    <p:extLst>
      <p:ext uri="{BB962C8B-B14F-4D97-AF65-F5344CB8AC3E}">
        <p14:creationId xmlns:p14="http://schemas.microsoft.com/office/powerpoint/2010/main" val="602704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a:t>
            </a:fld>
            <a:endParaRPr lang="pt-BR" dirty="0">
              <a:solidFill>
                <a:prstClr val="black"/>
              </a:solidFill>
            </a:endParaRPr>
          </a:p>
        </p:txBody>
      </p:sp>
    </p:spTree>
    <p:extLst>
      <p:ext uri="{BB962C8B-B14F-4D97-AF65-F5344CB8AC3E}">
        <p14:creationId xmlns:p14="http://schemas.microsoft.com/office/powerpoint/2010/main" val="3120320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9</a:t>
            </a:fld>
            <a:endParaRPr lang="pt-BR" dirty="0">
              <a:solidFill>
                <a:prstClr val="black"/>
              </a:solidFill>
            </a:endParaRPr>
          </a:p>
        </p:txBody>
      </p:sp>
    </p:spTree>
    <p:extLst>
      <p:ext uri="{BB962C8B-B14F-4D97-AF65-F5344CB8AC3E}">
        <p14:creationId xmlns:p14="http://schemas.microsoft.com/office/powerpoint/2010/main" val="4132374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ço Reservado para Imagem de Slide 1"/>
          <p:cNvSpPr>
            <a:spLocks noGrp="1" noRot="1" noChangeAspect="1" noTextEdit="1"/>
          </p:cNvSpPr>
          <p:nvPr>
            <p:ph type="sldImg"/>
          </p:nvPr>
        </p:nvSpPr>
        <p:spPr>
          <a:ln/>
        </p:spPr>
      </p:sp>
      <p:sp>
        <p:nvSpPr>
          <p:cNvPr id="9728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9728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A1E2084-0BE5-4180-9B64-4899A5DD5E29}" type="slidenum">
              <a:rPr lang="pt-BR" altLang="pt-BR">
                <a:latin typeface="Arial" panose="020B0604020202020204" pitchFamily="34" charset="0"/>
              </a:rPr>
              <a:pPr eaLnBrk="1" hangingPunct="1"/>
              <a:t>10</a:t>
            </a:fld>
            <a:endParaRPr lang="pt-BR" altLang="pt-BR">
              <a:latin typeface="Arial" panose="020B0604020202020204" pitchFamily="34" charset="0"/>
            </a:endParaRPr>
          </a:p>
        </p:txBody>
      </p:sp>
    </p:spTree>
    <p:extLst>
      <p:ext uri="{BB962C8B-B14F-4D97-AF65-F5344CB8AC3E}">
        <p14:creationId xmlns:p14="http://schemas.microsoft.com/office/powerpoint/2010/main" val="2446539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4</a:t>
            </a:fld>
            <a:endParaRPr lang="pt-BR" dirty="0">
              <a:solidFill>
                <a:prstClr val="black"/>
              </a:solidFill>
            </a:endParaRPr>
          </a:p>
        </p:txBody>
      </p:sp>
    </p:spTree>
    <p:extLst>
      <p:ext uri="{BB962C8B-B14F-4D97-AF65-F5344CB8AC3E}">
        <p14:creationId xmlns:p14="http://schemas.microsoft.com/office/powerpoint/2010/main" val="2997527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5</a:t>
            </a:fld>
            <a:endParaRPr lang="pt-BR" dirty="0">
              <a:solidFill>
                <a:prstClr val="black"/>
              </a:solidFill>
            </a:endParaRPr>
          </a:p>
        </p:txBody>
      </p:sp>
    </p:spTree>
    <p:extLst>
      <p:ext uri="{BB962C8B-B14F-4D97-AF65-F5344CB8AC3E}">
        <p14:creationId xmlns:p14="http://schemas.microsoft.com/office/powerpoint/2010/main" val="2593908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20.jpeg"/><Relationship Id="rId4" Type="http://schemas.openxmlformats.org/officeDocument/2006/relationships/tags" Target="../tags/tag3.xml"/><Relationship Id="rId9" Type="http://schemas.openxmlformats.org/officeDocument/2006/relationships/image" Target="../media/image19.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lide de Títul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stretch>
            <a:fillRect/>
          </a:stretch>
        </p:blipFill>
        <p:spPr>
          <a:xfrm>
            <a:off x="20548" y="20547"/>
            <a:ext cx="3498527" cy="2825393"/>
          </a:xfrm>
          <a:prstGeom prst="rect">
            <a:avLst/>
          </a:prstGeom>
        </p:spPr>
      </p:pic>
      <p:pic>
        <p:nvPicPr>
          <p:cNvPr id="8" name="Picture 7"/>
          <p:cNvPicPr>
            <a:picLocks noChangeAspect="1"/>
          </p:cNvPicPr>
          <p:nvPr userDrawn="1"/>
        </p:nvPicPr>
        <p:blipFill>
          <a:blip r:embed="rId3" cstate="print"/>
          <a:stretch>
            <a:fillRect/>
          </a:stretch>
        </p:blipFill>
        <p:spPr>
          <a:xfrm>
            <a:off x="3503486" y="20548"/>
            <a:ext cx="5624418" cy="2825496"/>
          </a:xfrm>
          <a:prstGeom prst="rect">
            <a:avLst/>
          </a:prstGeom>
        </p:spPr>
      </p:pic>
      <p:pic>
        <p:nvPicPr>
          <p:cNvPr id="9" name="Picture 8"/>
          <p:cNvPicPr>
            <a:picLocks noChangeAspect="1"/>
          </p:cNvPicPr>
          <p:nvPr userDrawn="1"/>
        </p:nvPicPr>
        <p:blipFill>
          <a:blip r:embed="rId4" cstate="print"/>
          <a:stretch>
            <a:fillRect/>
          </a:stretch>
        </p:blipFill>
        <p:spPr>
          <a:xfrm>
            <a:off x="20923" y="2818500"/>
            <a:ext cx="7668994" cy="2296266"/>
          </a:xfrm>
          <a:prstGeom prst="rect">
            <a:avLst/>
          </a:prstGeom>
        </p:spPr>
      </p:pic>
      <p:pic>
        <p:nvPicPr>
          <p:cNvPr id="10" name="Picture 9"/>
          <p:cNvPicPr>
            <a:picLocks noChangeAspect="1"/>
          </p:cNvPicPr>
          <p:nvPr userDrawn="1"/>
        </p:nvPicPr>
        <p:blipFill>
          <a:blip r:embed="rId5" cstate="print"/>
          <a:stretch>
            <a:fillRect/>
          </a:stretch>
        </p:blipFill>
        <p:spPr>
          <a:xfrm>
            <a:off x="7662119" y="2819400"/>
            <a:ext cx="1461333" cy="2293850"/>
          </a:xfrm>
          <a:prstGeom prst="rect">
            <a:avLst/>
          </a:prstGeom>
        </p:spPr>
      </p:pic>
      <p:pic>
        <p:nvPicPr>
          <p:cNvPr id="11" name="Picture 10"/>
          <p:cNvPicPr>
            <a:picLocks/>
          </p:cNvPicPr>
          <p:nvPr userDrawn="1"/>
        </p:nvPicPr>
        <p:blipFill>
          <a:blip r:embed="rId6" cstate="print"/>
          <a:stretch>
            <a:fillRect/>
          </a:stretch>
        </p:blipFill>
        <p:spPr>
          <a:xfrm>
            <a:off x="20548" y="5089818"/>
            <a:ext cx="9098280" cy="1737360"/>
          </a:xfrm>
          <a:prstGeom prst="rect">
            <a:avLst/>
          </a:prstGeom>
        </p:spPr>
      </p:pic>
      <p:sp>
        <p:nvSpPr>
          <p:cNvPr id="14" name="Rectangle 13"/>
          <p:cNvSpPr/>
          <p:nvPr userDrawn="1"/>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a:solidFill>
                <a:srgbClr val="F47F28"/>
              </a:solidFill>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5" name="Footer Placeholder 4"/>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15" name="Text Placeholder 15"/>
          <p:cNvSpPr>
            <a:spLocks noGrp="1"/>
          </p:cNvSpPr>
          <p:nvPr>
            <p:ph type="body" sz="quarter" idx="14" hasCustomPrompt="1"/>
          </p:nvPr>
        </p:nvSpPr>
        <p:spPr>
          <a:xfrm>
            <a:off x="3581400" y="1295400"/>
            <a:ext cx="5105400" cy="1416269"/>
          </a:xfrm>
        </p:spPr>
        <p:txBody>
          <a:bodyPr anchor="b">
            <a:normAutofit/>
          </a:bodyPr>
          <a:lstStyle>
            <a:lvl1pPr algn="r" eaLnBrk="1" latinLnBrk="0" hangingPunct="1">
              <a:buNone/>
              <a:defRPr kumimoji="0" lang="pt-BR" sz="2200" kern="1200">
                <a:solidFill>
                  <a:schemeClr val="tx1">
                    <a:lumMod val="75000"/>
                    <a:lumOff val="25000"/>
                  </a:schemeClr>
                </a:solidFill>
                <a:latin typeface="Calibri" pitchFamily="34" charset="0"/>
                <a:ea typeface="+mn-ea"/>
                <a:cs typeface="+mn-cs"/>
              </a:defRPr>
            </a:lvl1pPr>
          </a:lstStyle>
          <a:p>
            <a:pPr lvl="0"/>
            <a:r>
              <a:rPr kumimoji="0" lang="pt-BR"/>
              <a:t>Clique para editar o estilo do subtítulo mestre</a:t>
            </a:r>
          </a:p>
        </p:txBody>
      </p:sp>
      <p:sp>
        <p:nvSpPr>
          <p:cNvPr id="2" name="Title 1"/>
          <p:cNvSpPr>
            <a:spLocks noGrp="1"/>
          </p:cNvSpPr>
          <p:nvPr>
            <p:ph type="title"/>
          </p:nvPr>
        </p:nvSpPr>
        <p:spPr>
          <a:xfrm>
            <a:off x="106344" y="4114800"/>
            <a:ext cx="7315200" cy="914400"/>
          </a:xfrm>
        </p:spPr>
        <p:txBody>
          <a:bodyPr anchor="b" anchorCtr="0">
            <a:normAutofit/>
          </a:bodyPr>
          <a:lstStyle>
            <a:lvl1pPr marL="0" indent="0" eaLnBrk="1" latinLnBrk="0" hangingPunct="1">
              <a:defRPr kumimoji="0" lang="pt-BR" sz="3600" b="1" kern="1200" baseline="0">
                <a:solidFill>
                  <a:schemeClr val="bg1"/>
                </a:solidFill>
                <a:latin typeface="Arial" pitchFamily="34" charset="0"/>
                <a:ea typeface="+mn-ea"/>
                <a:cs typeface="Arial" pitchFamily="34" charset="0"/>
              </a:defRPr>
            </a:lvl1pPr>
          </a:lstStyle>
          <a:p>
            <a:pPr marL="342900" lvl="0" indent="-342900" algn="l" defTabSz="914400" eaLnBrk="1" latinLnBrk="0" hangingPunct="1"/>
            <a:r>
              <a:rPr lang="pt-BR"/>
              <a:t>Clique para editar o estilo do título mestre</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 calcmode="lin" valueType="num">
                                      <p:cBhvr additive="base">
                                        <p:cTn id="15"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15">
                                            <p:txEl>
                                              <p:pRg st="0" end="0"/>
                                            </p:txEl>
                                          </p:spTgt>
                                        </p:tgtEl>
                                        <p:attrNameLst>
                                          <p:attrName>ppt_y</p:attrName>
                                        </p:attrNameLst>
                                      </p:cBhvr>
                                      <p:tavLst>
                                        <p:tav tm="0">
                                          <p:val>
                                            <p:strVal val="#ppt_y"/>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anim calcmode="lin" valueType="num">
                                      <p:cBhvr>
                                        <p:cTn id="20" dur="500" fill="hold"/>
                                        <p:tgtEl>
                                          <p:spTgt spid="11"/>
                                        </p:tgtEl>
                                        <p:attrNameLst>
                                          <p:attrName>ppt_x</p:attrName>
                                        </p:attrNameLst>
                                      </p:cBhvr>
                                      <p:tavLst>
                                        <p:tav tm="0">
                                          <p:val>
                                            <p:strVal val="#ppt_x"/>
                                          </p:val>
                                        </p:tav>
                                        <p:tav tm="100000">
                                          <p:val>
                                            <p:strVal val="#ppt_x"/>
                                          </p:val>
                                        </p:tav>
                                      </p:tavLst>
                                    </p:anim>
                                    <p:anim calcmode="lin" valueType="num">
                                      <p:cBhvr>
                                        <p:cTn id="21" dur="500" fill="hold"/>
                                        <p:tgtEl>
                                          <p:spTgt spid="11"/>
                                        </p:tgtEl>
                                        <p:attrNameLst>
                                          <p:attrName>ppt_y</p:attrName>
                                        </p:attrNameLst>
                                      </p:cBhvr>
                                      <p:tavLst>
                                        <p:tav tm="0">
                                          <p:val>
                                            <p:strVal val="#ppt_y+.1"/>
                                          </p:val>
                                        </p:tav>
                                        <p:tav tm="100000">
                                          <p:val>
                                            <p:strVal val="#ppt_y"/>
                                          </p:val>
                                        </p:tav>
                                      </p:tavLst>
                                    </p:anim>
                                  </p:childTnLst>
                                </p:cTn>
                              </p:par>
                              <p:par>
                                <p:cTn id="22" presetID="2" presetClass="entr" presetSubtype="8"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additive="base">
                                        <p:cTn id="24" dur="500" fill="hold"/>
                                        <p:tgtEl>
                                          <p:spTgt spid="9"/>
                                        </p:tgtEl>
                                        <p:attrNameLst>
                                          <p:attrName>ppt_x</p:attrName>
                                        </p:attrNameLst>
                                      </p:cBhvr>
                                      <p:tavLst>
                                        <p:tav tm="0">
                                          <p:val>
                                            <p:strVal val="0-#ppt_w/2"/>
                                          </p:val>
                                        </p:tav>
                                        <p:tav tm="100000">
                                          <p:val>
                                            <p:strVal val="#ppt_x"/>
                                          </p:val>
                                        </p:tav>
                                      </p:tavLst>
                                    </p:anim>
                                    <p:anim calcmode="lin" valueType="num">
                                      <p:cBhvr additive="base">
                                        <p:cTn id="25" dur="500" fill="hold"/>
                                        <p:tgtEl>
                                          <p:spTgt spid="9"/>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1+#ppt_w/2"/>
                                          </p:val>
                                        </p:tav>
                                        <p:tav tm="100000">
                                          <p:val>
                                            <p:strVal val="#ppt_x"/>
                                          </p:val>
                                        </p:tav>
                                      </p:tavLst>
                                    </p:anim>
                                    <p:anim calcmode="lin" valueType="num">
                                      <p:cBhvr additive="base">
                                        <p:cTn id="29" dur="500" fill="hold"/>
                                        <p:tgtEl>
                                          <p:spTgt spid="10"/>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build="p">
        <p:tmplLst>
          <p:tmpl lvl="1">
            <p:tnLst>
              <p:par>
                <p:cTn presetID="2" presetClass="entr" presetSubtype="2"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1+#ppt_w/2"/>
                          </p:val>
                        </p:tav>
                        <p:tav tm="100000">
                          <p:val>
                            <p:strVal val="#ppt_x"/>
                          </p:val>
                        </p:tav>
                      </p:tavLst>
                    </p:anim>
                    <p:anim calcmode="lin" valueType="num">
                      <p:cBhvr additive="base">
                        <p:cTn dur="500" fill="hold"/>
                        <p:tgtEl>
                          <p:spTgt spid="1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ídia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6" name="Rectangle 5"/>
          <p:cNvSpPr/>
          <p:nvPr userDrawn="1"/>
        </p:nvSpPr>
        <p:spPr>
          <a:xfrm>
            <a:off x="595263" y="4800600"/>
            <a:ext cx="4873752"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b="1">
              <a:latin typeface="Georgia" pitchFamily="18" charset="0"/>
            </a:endParaRPr>
          </a:p>
        </p:txBody>
      </p:sp>
      <p:sp>
        <p:nvSpPr>
          <p:cNvPr id="7" name="Title 1"/>
          <p:cNvSpPr>
            <a:spLocks noGrp="1"/>
          </p:cNvSpPr>
          <p:nvPr>
            <p:ph type="title"/>
          </p:nvPr>
        </p:nvSpPr>
        <p:spPr>
          <a:xfrm>
            <a:off x="606552" y="4800600"/>
            <a:ext cx="4809244" cy="566738"/>
          </a:xfrm>
        </p:spPr>
        <p:txBody>
          <a:bodyPr anchor="b">
            <a:normAutofit/>
          </a:bodyPr>
          <a:lstStyle>
            <a:lvl1pPr algn="ctr" eaLnBrk="1" latinLnBrk="0" hangingPunct="1">
              <a:defRPr kumimoji="0" lang="pt-BR" sz="1800" b="0" i="1">
                <a:solidFill>
                  <a:schemeClr val="bg1">
                    <a:lumMod val="85000"/>
                  </a:schemeClr>
                </a:solidFill>
                <a:latin typeface="Georgia" pitchFamily="18" charset="0"/>
              </a:defRPr>
            </a:lvl1pPr>
          </a:lstStyle>
          <a:p>
            <a:pPr eaLnBrk="1" latinLnBrk="0" hangingPunct="1"/>
            <a:r>
              <a:rPr lang="pt-BR"/>
              <a:t>Clique para editar o estilo do título mestre</a:t>
            </a:r>
            <a:endParaRPr/>
          </a:p>
        </p:txBody>
      </p:sp>
      <p:sp>
        <p:nvSpPr>
          <p:cNvPr id="9" name="Media Placeholder 8"/>
          <p:cNvSpPr>
            <a:spLocks noGrp="1"/>
          </p:cNvSpPr>
          <p:nvPr>
            <p:ph type="media" sz="quarter" idx="13"/>
          </p:nvPr>
        </p:nvSpPr>
        <p:spPr>
          <a:xfrm>
            <a:off x="587022" y="838200"/>
            <a:ext cx="4873752" cy="3812822"/>
          </a:xfrm>
        </p:spPr>
        <p:txBody>
          <a:bodyPr/>
          <a:lstStyle>
            <a:lvl1pPr eaLnBrk="1" latinLnBrk="0" hangingPunct="1">
              <a:buNone/>
              <a:defRPr kumimoji="0" lang="pt-BR"/>
            </a:lvl1pPr>
          </a:lstStyle>
          <a:p>
            <a:pPr eaLnBrk="1" latinLnBrk="0" hangingPunct="1"/>
            <a:r>
              <a:rPr lang="pt-BR"/>
              <a:t>Clique no ícone para adicionar mídia</a:t>
            </a:r>
            <a:endParaRPr/>
          </a:p>
        </p:txBody>
      </p:sp>
      <p:sp>
        <p:nvSpPr>
          <p:cNvPr id="11" name="Text Placeholder 10"/>
          <p:cNvSpPr>
            <a:spLocks noGrp="1"/>
          </p:cNvSpPr>
          <p:nvPr>
            <p:ph type="body" sz="quarter" idx="14"/>
          </p:nvPr>
        </p:nvSpPr>
        <p:spPr>
          <a:xfrm>
            <a:off x="5776863" y="838200"/>
            <a:ext cx="2819400" cy="4636911"/>
          </a:xfrm>
        </p:spPr>
        <p:txBody>
          <a:bodyPr>
            <a:normAutofit/>
          </a:bodyPr>
          <a:lstStyle>
            <a:lvl1pPr marL="0" indent="0" algn="l" eaLnBrk="1" latinLnBrk="0" hangingPunct="1">
              <a:buNone/>
              <a:defRPr kumimoji="0" lang="pt-BR" sz="2400">
                <a:solidFill>
                  <a:schemeClr val="bg1"/>
                </a:solidFill>
              </a:defRPr>
            </a:lvl1pPr>
          </a:lstStyle>
          <a:p>
            <a:pPr lvl="0" eaLnBrk="1" latinLnBrk="0" hangingPunct="1"/>
            <a:r>
              <a:rPr lang="pt-BR"/>
              <a:t>Clique para editar os estilos do texto mestre</a:t>
            </a:r>
          </a:p>
        </p:txBody>
      </p:sp>
    </p:spTree>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Imagem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792800" y="4800600"/>
            <a:ext cx="5500800"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b="1">
              <a:latin typeface="Georgia" pitchFamily="18" charset="0"/>
            </a:endParaRPr>
          </a:p>
        </p:txBody>
      </p:sp>
      <p:sp>
        <p:nvSpPr>
          <p:cNvPr id="2" name="Title 1"/>
          <p:cNvSpPr>
            <a:spLocks noGrp="1"/>
          </p:cNvSpPr>
          <p:nvPr>
            <p:ph type="title"/>
          </p:nvPr>
        </p:nvSpPr>
        <p:spPr>
          <a:xfrm>
            <a:off x="1792288" y="4800600"/>
            <a:ext cx="5486400" cy="566738"/>
          </a:xfrm>
        </p:spPr>
        <p:txBody>
          <a:bodyPr anchor="b">
            <a:normAutofit/>
          </a:bodyPr>
          <a:lstStyle>
            <a:lvl1pPr algn="ctr" eaLnBrk="1" latinLnBrk="0" hangingPunct="1">
              <a:defRPr kumimoji="0" lang="pt-BR" sz="1800" b="0" i="1">
                <a:solidFill>
                  <a:schemeClr val="bg1">
                    <a:lumMod val="85000"/>
                  </a:schemeClr>
                </a:solidFill>
                <a:latin typeface="Georgia" pitchFamily="18" charset="0"/>
              </a:defRPr>
            </a:lvl1pPr>
          </a:lstStyle>
          <a:p>
            <a:pPr eaLnBrk="1" latinLnBrk="0" hangingPunct="1"/>
            <a:r>
              <a:rPr lang="pt-BR"/>
              <a:t>Clique para editar o estilo do título mestre</a:t>
            </a:r>
            <a:endParaRPr/>
          </a:p>
        </p:txBody>
      </p:sp>
      <p:sp>
        <p:nvSpPr>
          <p:cNvPr id="3" name="Picture Placeholder 2"/>
          <p:cNvSpPr>
            <a:spLocks noGrp="1"/>
          </p:cNvSpPr>
          <p:nvPr>
            <p:ph type="pic" idx="1"/>
          </p:nvPr>
        </p:nvSpPr>
        <p:spPr>
          <a:xfrm>
            <a:off x="1792288" y="612775"/>
            <a:ext cx="5486400" cy="4114800"/>
          </a:xfrm>
        </p:spPr>
        <p:txBody>
          <a:bodyPr/>
          <a:lstStyle>
            <a:lvl1pPr marL="0" indent="0" eaLnBrk="1" latinLnBrk="0" hangingPunct="1">
              <a:buNone/>
              <a:defRPr kumimoji="0" lang="pt-BR" sz="3200"/>
            </a:lvl1pPr>
            <a:lvl2pPr marL="457200" indent="0" eaLnBrk="1" latinLnBrk="0" hangingPunct="1">
              <a:buNone/>
              <a:defRPr kumimoji="0" lang="pt-BR" sz="2800"/>
            </a:lvl2pPr>
            <a:lvl3pPr marL="914400" indent="0" eaLnBrk="1" latinLnBrk="0" hangingPunct="1">
              <a:buNone/>
              <a:defRPr kumimoji="0" lang="pt-BR" sz="2400"/>
            </a:lvl3pPr>
            <a:lvl4pPr marL="1371600" indent="0" eaLnBrk="1" latinLnBrk="0" hangingPunct="1">
              <a:buNone/>
              <a:defRPr kumimoji="0" lang="pt-BR" sz="2000"/>
            </a:lvl4pPr>
            <a:lvl5pPr marL="1828800" indent="0" eaLnBrk="1" latinLnBrk="0" hangingPunct="1">
              <a:buNone/>
              <a:defRPr kumimoji="0" lang="pt-BR" sz="2000"/>
            </a:lvl5pPr>
            <a:lvl6pPr marL="2286000" indent="0" eaLnBrk="1" latinLnBrk="0" hangingPunct="1">
              <a:buNone/>
              <a:defRPr kumimoji="0" lang="pt-BR" sz="2000"/>
            </a:lvl6pPr>
            <a:lvl7pPr marL="2743200" indent="0" eaLnBrk="1" latinLnBrk="0" hangingPunct="1">
              <a:buNone/>
              <a:defRPr kumimoji="0" lang="pt-BR" sz="2000"/>
            </a:lvl7pPr>
            <a:lvl8pPr marL="3200400" indent="0" eaLnBrk="1" latinLnBrk="0" hangingPunct="1">
              <a:buNone/>
              <a:defRPr kumimoji="0" lang="pt-BR" sz="2000"/>
            </a:lvl8pPr>
            <a:lvl9pPr marL="3657600" indent="0" eaLnBrk="1" latinLnBrk="0" hangingPunct="1">
              <a:buNone/>
              <a:defRPr kumimoji="0" lang="pt-BR" sz="2000"/>
            </a:lvl9pPr>
          </a:lstStyle>
          <a:p>
            <a:pPr eaLnBrk="1" latinLnBrk="0" hangingPunct="1"/>
            <a:r>
              <a:rPr lang="pt-BR"/>
              <a:t>Clique no ícone para adicionar uma imagem</a:t>
            </a:r>
            <a:endParaRPr/>
          </a:p>
        </p:txBody>
      </p:sp>
      <p:sp>
        <p:nvSpPr>
          <p:cNvPr id="4" name="Text Placeholder 3"/>
          <p:cNvSpPr>
            <a:spLocks noGrp="1"/>
          </p:cNvSpPr>
          <p:nvPr>
            <p:ph type="body" sz="half" idx="2"/>
          </p:nvPr>
        </p:nvSpPr>
        <p:spPr>
          <a:xfrm>
            <a:off x="1792288" y="5562600"/>
            <a:ext cx="5486400" cy="609600"/>
          </a:xfrm>
        </p:spPr>
        <p:txBody>
          <a:bodyPr/>
          <a:lstStyle>
            <a:lvl1pPr marL="0" indent="0" algn="ctr" eaLnBrk="1" latinLnBrk="0" hangingPunct="1">
              <a:buNone/>
              <a:defRPr kumimoji="0" lang="pt-BR" sz="1400"/>
            </a:lvl1pPr>
            <a:lvl2pPr marL="457200" indent="0" eaLnBrk="1" latinLnBrk="0" hangingPunct="1">
              <a:buNone/>
              <a:defRPr kumimoji="0" lang="pt-BR" sz="1200"/>
            </a:lvl2pPr>
            <a:lvl3pPr marL="914400" indent="0" eaLnBrk="1" latinLnBrk="0" hangingPunct="1">
              <a:buNone/>
              <a:defRPr kumimoji="0" lang="pt-BR" sz="1000"/>
            </a:lvl3pPr>
            <a:lvl4pPr marL="1371600" indent="0" eaLnBrk="1" latinLnBrk="0" hangingPunct="1">
              <a:buNone/>
              <a:defRPr kumimoji="0" lang="pt-BR" sz="900"/>
            </a:lvl4pPr>
            <a:lvl5pPr marL="1828800" indent="0" eaLnBrk="1" latinLnBrk="0" hangingPunct="1">
              <a:buNone/>
              <a:defRPr kumimoji="0" lang="pt-BR" sz="900"/>
            </a:lvl5pPr>
            <a:lvl6pPr marL="2286000" indent="0" eaLnBrk="1" latinLnBrk="0" hangingPunct="1">
              <a:buNone/>
              <a:defRPr kumimoji="0" lang="pt-BR" sz="900"/>
            </a:lvl6pPr>
            <a:lvl7pPr marL="2743200" indent="0" eaLnBrk="1" latinLnBrk="0" hangingPunct="1">
              <a:buNone/>
              <a:defRPr kumimoji="0" lang="pt-BR" sz="900"/>
            </a:lvl7pPr>
            <a:lvl8pPr marL="3200400" indent="0" eaLnBrk="1" latinLnBrk="0" hangingPunct="1">
              <a:buNone/>
              <a:defRPr kumimoji="0" lang="pt-BR" sz="900"/>
            </a:lvl8pPr>
            <a:lvl9pPr marL="3657600" indent="0" eaLnBrk="1" latinLnBrk="0" hangingPunct="1">
              <a:buNone/>
              <a:defRPr kumimoji="0" lang="pt-BR" sz="900"/>
            </a:lvl9pPr>
          </a:lstStyle>
          <a:p>
            <a:pPr lvl="0" eaLnBrk="1" latinLnBrk="0" hangingPunct="1"/>
            <a:r>
              <a:rPr lang="pt-BR"/>
              <a:t>Clique para editar os estilos do texto mestre</a:t>
            </a:r>
          </a:p>
        </p:txBody>
      </p:sp>
      <p:sp>
        <p:nvSpPr>
          <p:cNvPr id="5" name="Date Placeholder 4"/>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6" name="Footer Placeholder 5"/>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7" name="Slide Number Placeholder 6"/>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ítulo e Texto Vertica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p>
            <a:fld id="{A258050E-B668-4FA7-85AD-C750C80A6E9B}" type="datetimeFigureOut">
              <a:rPr lang="pt-BR"/>
              <a:pPr/>
              <a:t>15/04/2019</a:t>
            </a:fld>
            <a:endParaRPr kumimoji="0" lang="pt-BR"/>
          </a:p>
        </p:txBody>
      </p:sp>
      <p:sp>
        <p:nvSpPr>
          <p:cNvPr id="5" name="Footer Placeholder 4"/>
          <p:cNvSpPr>
            <a:spLocks noGrp="1"/>
          </p:cNvSpPr>
          <p:nvPr>
            <p:ph type="ftr" sz="quarter" idx="11"/>
          </p:nvPr>
        </p:nvSpPr>
        <p:spPr/>
        <p:txBody>
          <a:bodyPr/>
          <a:lstStyle/>
          <a:p>
            <a:endParaRPr kumimoji="0" lang="pt-BR"/>
          </a:p>
        </p:txBody>
      </p:sp>
      <p:sp>
        <p:nvSpPr>
          <p:cNvPr id="6" name="Slide Number Placeholder 5"/>
          <p:cNvSpPr>
            <a:spLocks noGrp="1"/>
          </p:cNvSpPr>
          <p:nvPr>
            <p:ph type="sldNum" sz="quarter" idx="12"/>
          </p:nvPr>
        </p:nvSpPr>
        <p:spPr/>
        <p:txBody>
          <a:bodyPr/>
          <a:lstStyle/>
          <a:p>
            <a:fld id="{240D5ECE-8B49-45CD-BE81-EF81920D1969}" type="slidenum">
              <a:rPr/>
              <a:pPr/>
              <a:t>‹nº›</a:t>
            </a:fld>
            <a:endParaRPr kumimoji="0" lang="pt-BR"/>
          </a:p>
        </p:txBody>
      </p:sp>
      <p:sp>
        <p:nvSpPr>
          <p:cNvPr id="14" name="Title 1"/>
          <p:cNvSpPr>
            <a:spLocks noGrp="1"/>
          </p:cNvSpPr>
          <p:nvPr>
            <p:ph type="title" hasCustomPrompt="1"/>
          </p:nvPr>
        </p:nvSpPr>
        <p:spPr>
          <a:xfrm>
            <a:off x="0" y="414867"/>
            <a:ext cx="5029200" cy="457200"/>
          </a:xfrm>
          <a:solidFill>
            <a:schemeClr val="tx1">
              <a:lumMod val="50000"/>
              <a:lumOff val="50000"/>
            </a:schemeClr>
          </a:solidFill>
        </p:spPr>
        <p:txBody>
          <a:bodyPr>
            <a:normAutofit/>
          </a:bodyPr>
          <a:lstStyle>
            <a:lvl1pPr algn="l" eaLnBrk="1" latinLnBrk="0" hangingPunct="1">
              <a:defRPr kumimoji="0" lang="pt-BR" sz="2800" b="1" kern="1200" baseline="0">
                <a:solidFill>
                  <a:schemeClr val="bg1"/>
                </a:solidFill>
                <a:latin typeface="+mn-lt"/>
                <a:ea typeface="+mn-ea"/>
                <a:cs typeface="+mn-cs"/>
              </a:defRPr>
            </a:lvl1pPr>
          </a:lstStyle>
          <a:p>
            <a:r>
              <a:rPr kumimoji="0" lang="pt-BR"/>
              <a:t>    Clique para editar o título Mes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Título e Texto Verticai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715000" y="274638"/>
            <a:ext cx="2057400" cy="5851525"/>
          </a:xfrm>
        </p:spPr>
        <p:txBody>
          <a:bodyPr vert="eaVert"/>
          <a:lstStyle/>
          <a:p>
            <a:pPr eaLnBrk="1" latinLnBrk="0" hangingPunct="1"/>
            <a:r>
              <a:rPr lang="pt-BR"/>
              <a:t>Clique para editar o estilo do título mestre</a:t>
            </a:r>
            <a:endParaRPr/>
          </a:p>
        </p:txBody>
      </p:sp>
      <p:sp>
        <p:nvSpPr>
          <p:cNvPr id="3" name="Vertical Text Placeholder 2"/>
          <p:cNvSpPr>
            <a:spLocks noGrp="1"/>
          </p:cNvSpPr>
          <p:nvPr>
            <p:ph type="body" orient="vert" idx="1"/>
          </p:nvPr>
        </p:nvSpPr>
        <p:spPr>
          <a:xfrm>
            <a:off x="457200" y="274638"/>
            <a:ext cx="5105400" cy="5851525"/>
          </a:xfrm>
        </p:spPr>
        <p:txBody>
          <a:bodyPr vert="eaVert"/>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5/04/2019</a:t>
            </a:fld>
            <a:endParaRPr kumimoji="0" lang="pt-BR"/>
          </a:p>
        </p:txBody>
      </p:sp>
      <p:sp>
        <p:nvSpPr>
          <p:cNvPr id="5" name="Footer Placeholder 4"/>
          <p:cNvSpPr>
            <a:spLocks noGrp="1"/>
          </p:cNvSpPr>
          <p:nvPr>
            <p:ph type="ftr" sz="quarter" idx="11"/>
          </p:nvPr>
        </p:nvSpPr>
        <p:spPr/>
        <p:txBody>
          <a:body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Em Branco">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2599" r="5874" b="5262"/>
          <a:stretch/>
        </p:blipFill>
        <p:spPr>
          <a:xfrm>
            <a:off x="3530" y="5867400"/>
            <a:ext cx="9144000" cy="1053694"/>
          </a:xfrm>
          <a:prstGeom prst="rect">
            <a:avLst/>
          </a:prstGeom>
        </p:spPr>
      </p:pic>
      <p:sp>
        <p:nvSpPr>
          <p:cNvPr id="2" name="Date Placeholder 1"/>
          <p:cNvSpPr>
            <a:spLocks noGrp="1"/>
          </p:cNvSpPr>
          <p:nvPr>
            <p:ph type="dt" sz="half" idx="10"/>
          </p:nvPr>
        </p:nvSpPr>
        <p:spPr/>
        <p:txBody>
          <a:bodyPr/>
          <a:lstStyle/>
          <a:p>
            <a:fld id="{2FF934E2-BBB6-4D34-BB01-078E9AA25260}" type="datetimeFigureOut">
              <a:rPr lang="pt-BR"/>
              <a:pPr/>
              <a:t>15/04/2019</a:t>
            </a:fld>
            <a:endParaRPr kumimoji="0" lang="pt-BR"/>
          </a:p>
        </p:txBody>
      </p:sp>
      <p:sp>
        <p:nvSpPr>
          <p:cNvPr id="3" name="Footer Placeholder 2"/>
          <p:cNvSpPr>
            <a:spLocks noGrp="1"/>
          </p:cNvSpPr>
          <p:nvPr>
            <p:ph type="ftr" sz="quarter" idx="11"/>
          </p:nvPr>
        </p:nvSpPr>
        <p:spPr/>
        <p:txBody>
          <a:bodyPr/>
          <a:lstStyle/>
          <a:p>
            <a:endParaRPr kumimoji="0" lang="pt-BR"/>
          </a:p>
        </p:txBody>
      </p:sp>
      <p:sp>
        <p:nvSpPr>
          <p:cNvPr id="4" name="Slide Number Placeholder 3"/>
          <p:cNvSpPr>
            <a:spLocks noGrp="1"/>
          </p:cNvSpPr>
          <p:nvPr>
            <p:ph type="sldNum" sz="quarter" idx="12"/>
          </p:nvPr>
        </p:nvSpPr>
        <p:spPr/>
        <p:txBody>
          <a:bodyPr/>
          <a:lstStyle/>
          <a:p>
            <a:fld id="{73820FCD-5F4C-4989-BE05-0A8208BCBC21}" type="slidenum">
              <a:rPr/>
              <a:pPr/>
              <a:t>‹nº›</a:t>
            </a:fld>
            <a:endParaRPr kumimoji="0" lang="pt-B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ítulo e tabel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Tabela 2"/>
          <p:cNvSpPr>
            <a:spLocks noGrp="1"/>
          </p:cNvSpPr>
          <p:nvPr>
            <p:ph type="tbl" idx="1"/>
          </p:nvPr>
        </p:nvSpPr>
        <p:spPr>
          <a:xfrm>
            <a:off x="457200" y="1600200"/>
            <a:ext cx="8229600" cy="4495800"/>
          </a:xfrm>
        </p:spPr>
        <p:txBody>
          <a:bodyPr/>
          <a:lstStyle/>
          <a:p>
            <a:pPr lvl="0"/>
            <a:endParaRPr lang="pt-BR" noProof="0"/>
          </a:p>
        </p:txBody>
      </p:sp>
      <p:sp>
        <p:nvSpPr>
          <p:cNvPr id="4" name="Rectangle 19"/>
          <p:cNvSpPr>
            <a:spLocks noGrp="1" noChangeArrowheads="1"/>
          </p:cNvSpPr>
          <p:nvPr>
            <p:ph type="dt" sz="half" idx="10"/>
          </p:nvPr>
        </p:nvSpPr>
        <p:spPr>
          <a:ln/>
        </p:spPr>
        <p:txBody>
          <a:bodyPr/>
          <a:lstStyle>
            <a:lvl1pPr>
              <a:defRPr/>
            </a:lvl1pPr>
          </a:lstStyle>
          <a:p>
            <a:pPr>
              <a:defRPr/>
            </a:pPr>
            <a:endParaRPr lang="pt-BR"/>
          </a:p>
        </p:txBody>
      </p:sp>
      <p:sp>
        <p:nvSpPr>
          <p:cNvPr id="5" name="Rectangle 20"/>
          <p:cNvSpPr>
            <a:spLocks noGrp="1" noChangeArrowheads="1"/>
          </p:cNvSpPr>
          <p:nvPr>
            <p:ph type="ftr" sz="quarter" idx="11"/>
          </p:nvPr>
        </p:nvSpPr>
        <p:spPr>
          <a:ln/>
        </p:spPr>
        <p:txBody>
          <a:bodyPr/>
          <a:lstStyle>
            <a:lvl1pPr>
              <a:defRPr/>
            </a:lvl1pPr>
          </a:lstStyle>
          <a:p>
            <a:pPr>
              <a:defRPr/>
            </a:pPr>
            <a:endParaRPr lang="pt-BR"/>
          </a:p>
        </p:txBody>
      </p:sp>
      <p:sp>
        <p:nvSpPr>
          <p:cNvPr id="6" name="Rectangle 21"/>
          <p:cNvSpPr>
            <a:spLocks noGrp="1" noChangeArrowheads="1"/>
          </p:cNvSpPr>
          <p:nvPr>
            <p:ph type="sldNum" sz="quarter" idx="12"/>
          </p:nvPr>
        </p:nvSpPr>
        <p:spPr>
          <a:ln/>
        </p:spPr>
        <p:txBody>
          <a:bodyPr/>
          <a:lstStyle>
            <a:lvl1pPr>
              <a:defRPr/>
            </a:lvl1pPr>
          </a:lstStyle>
          <a:p>
            <a:fld id="{D5EFE396-AA0E-4D14-81F2-B31719BF85E0}" type="slidenum">
              <a:rPr lang="pt-BR" altLang="pt-BR"/>
              <a:pPr/>
              <a:t>‹nº›</a:t>
            </a:fld>
            <a:endParaRPr lang="pt-BR" altLang="pt-BR"/>
          </a:p>
        </p:txBody>
      </p:sp>
    </p:spTree>
    <p:extLst>
      <p:ext uri="{BB962C8B-B14F-4D97-AF65-F5344CB8AC3E}">
        <p14:creationId xmlns:p14="http://schemas.microsoft.com/office/powerpoint/2010/main" val="41084855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cSld name="Título e gráfic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Gráfico 2"/>
          <p:cNvSpPr>
            <a:spLocks noGrp="1"/>
          </p:cNvSpPr>
          <p:nvPr>
            <p:ph type="chart" idx="1"/>
          </p:nvPr>
        </p:nvSpPr>
        <p:spPr>
          <a:xfrm>
            <a:off x="457200" y="1600200"/>
            <a:ext cx="8229600" cy="4495800"/>
          </a:xfrm>
        </p:spPr>
        <p:txBody>
          <a:bodyPr/>
          <a:lstStyle/>
          <a:p>
            <a:pPr lvl="0"/>
            <a:endParaRPr lang="pt-BR" noProof="0"/>
          </a:p>
        </p:txBody>
      </p:sp>
      <p:sp>
        <p:nvSpPr>
          <p:cNvPr id="4" name="Rectangle 19"/>
          <p:cNvSpPr>
            <a:spLocks noGrp="1" noChangeArrowheads="1"/>
          </p:cNvSpPr>
          <p:nvPr>
            <p:ph type="dt" sz="half" idx="10"/>
          </p:nvPr>
        </p:nvSpPr>
        <p:spPr>
          <a:ln/>
        </p:spPr>
        <p:txBody>
          <a:bodyPr/>
          <a:lstStyle>
            <a:lvl1pPr>
              <a:defRPr/>
            </a:lvl1pPr>
          </a:lstStyle>
          <a:p>
            <a:pPr>
              <a:defRPr/>
            </a:pPr>
            <a:endParaRPr lang="pt-BR"/>
          </a:p>
        </p:txBody>
      </p:sp>
      <p:sp>
        <p:nvSpPr>
          <p:cNvPr id="5" name="Rectangle 20"/>
          <p:cNvSpPr>
            <a:spLocks noGrp="1" noChangeArrowheads="1"/>
          </p:cNvSpPr>
          <p:nvPr>
            <p:ph type="ftr" sz="quarter" idx="11"/>
          </p:nvPr>
        </p:nvSpPr>
        <p:spPr>
          <a:ln/>
        </p:spPr>
        <p:txBody>
          <a:bodyPr/>
          <a:lstStyle>
            <a:lvl1pPr>
              <a:defRPr/>
            </a:lvl1pPr>
          </a:lstStyle>
          <a:p>
            <a:pPr>
              <a:defRPr/>
            </a:pPr>
            <a:endParaRPr lang="pt-BR"/>
          </a:p>
        </p:txBody>
      </p:sp>
      <p:sp>
        <p:nvSpPr>
          <p:cNvPr id="6" name="Rectangle 21"/>
          <p:cNvSpPr>
            <a:spLocks noGrp="1" noChangeArrowheads="1"/>
          </p:cNvSpPr>
          <p:nvPr>
            <p:ph type="sldNum" sz="quarter" idx="12"/>
          </p:nvPr>
        </p:nvSpPr>
        <p:spPr>
          <a:ln/>
        </p:spPr>
        <p:txBody>
          <a:bodyPr/>
          <a:lstStyle>
            <a:lvl1pPr>
              <a:defRPr/>
            </a:lvl1pPr>
          </a:lstStyle>
          <a:p>
            <a:fld id="{E3B9DCA1-6B11-40F7-BE8B-11557E80790E}" type="slidenum">
              <a:rPr lang="pt-BR" altLang="pt-BR"/>
              <a:pPr/>
              <a:t>‹nº›</a:t>
            </a:fld>
            <a:endParaRPr lang="pt-BR" altLang="pt-BR"/>
          </a:p>
        </p:txBody>
      </p:sp>
    </p:spTree>
    <p:extLst>
      <p:ext uri="{BB962C8B-B14F-4D97-AF65-F5344CB8AC3E}">
        <p14:creationId xmlns:p14="http://schemas.microsoft.com/office/powerpoint/2010/main" val="3103494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4958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4958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Rectangle 19"/>
          <p:cNvSpPr>
            <a:spLocks noGrp="1" noChangeArrowheads="1"/>
          </p:cNvSpPr>
          <p:nvPr>
            <p:ph type="dt" sz="half" idx="10"/>
          </p:nvPr>
        </p:nvSpPr>
        <p:spPr>
          <a:ln/>
        </p:spPr>
        <p:txBody>
          <a:bodyPr/>
          <a:lstStyle>
            <a:lvl1pPr>
              <a:defRPr/>
            </a:lvl1pPr>
          </a:lstStyle>
          <a:p>
            <a:pPr>
              <a:defRPr/>
            </a:pPr>
            <a:endParaRPr lang="pt-BR"/>
          </a:p>
        </p:txBody>
      </p:sp>
      <p:sp>
        <p:nvSpPr>
          <p:cNvPr id="6" name="Rectangle 20"/>
          <p:cNvSpPr>
            <a:spLocks noGrp="1" noChangeArrowheads="1"/>
          </p:cNvSpPr>
          <p:nvPr>
            <p:ph type="ftr" sz="quarter" idx="11"/>
          </p:nvPr>
        </p:nvSpPr>
        <p:spPr>
          <a:ln/>
        </p:spPr>
        <p:txBody>
          <a:bodyPr/>
          <a:lstStyle>
            <a:lvl1pPr>
              <a:defRPr/>
            </a:lvl1pPr>
          </a:lstStyle>
          <a:p>
            <a:pPr>
              <a:defRPr/>
            </a:pPr>
            <a:endParaRPr lang="pt-BR"/>
          </a:p>
        </p:txBody>
      </p:sp>
      <p:sp>
        <p:nvSpPr>
          <p:cNvPr id="7" name="Rectangle 21"/>
          <p:cNvSpPr>
            <a:spLocks noGrp="1" noChangeArrowheads="1"/>
          </p:cNvSpPr>
          <p:nvPr>
            <p:ph type="sldNum" sz="quarter" idx="12"/>
          </p:nvPr>
        </p:nvSpPr>
        <p:spPr>
          <a:ln/>
        </p:spPr>
        <p:txBody>
          <a:bodyPr/>
          <a:lstStyle>
            <a:lvl1pPr>
              <a:defRPr/>
            </a:lvl1pPr>
          </a:lstStyle>
          <a:p>
            <a:fld id="{9DF86A00-D00C-40D7-BFF2-18FCFF524CEA}" type="slidenum">
              <a:rPr lang="pt-BR" altLang="pt-BR"/>
              <a:pPr/>
              <a:t>‹nº›</a:t>
            </a:fld>
            <a:endParaRPr lang="pt-BR" altLang="pt-BR"/>
          </a:p>
        </p:txBody>
      </p:sp>
    </p:spTree>
    <p:extLst>
      <p:ext uri="{BB962C8B-B14F-4D97-AF65-F5344CB8AC3E}">
        <p14:creationId xmlns:p14="http://schemas.microsoft.com/office/powerpoint/2010/main" val="10303967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Layout TEXT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
                  <p:embed/>
                </p:oleObj>
              </mc:Choice>
              <mc:Fallback>
                <p:oleObj name="think-cell Slide" r:id="rId8" imgW="270" imgH="270" progId="">
                  <p:embed/>
                  <p:pic>
                    <p:nvPicPr>
                      <p:cNvPr id="3" name="Objeto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2118"/>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Imagem 1"/>
          <p:cNvPicPr>
            <a:picLocks noChangeAspect="1"/>
          </p:cNvPicPr>
          <p:nvPr userDrawn="1">
            <p:custDataLst>
              <p:tags r:id="rId3"/>
            </p:custDataLst>
          </p:nvPr>
        </p:nvPicPr>
        <p:blipFill>
          <a:blip r:embed="rId10" cstate="email">
            <a:extLst>
              <a:ext uri="{28A0092B-C50C-407E-A947-70E740481C1C}">
                <a14:useLocalDpi xmlns:a14="http://schemas.microsoft.com/office/drawing/2010/main" val="0"/>
              </a:ext>
            </a:extLst>
          </a:blip>
          <a:stretch>
            <a:fillRect/>
          </a:stretch>
        </p:blipFill>
        <p:spPr>
          <a:xfrm>
            <a:off x="1355" y="1016"/>
            <a:ext cx="9141291" cy="6856984"/>
          </a:xfrm>
          <a:prstGeom prst="rect">
            <a:avLst/>
          </a:prstGeom>
        </p:spPr>
      </p:pic>
      <p:sp>
        <p:nvSpPr>
          <p:cNvPr id="8" name="Espaço Reservado para Título 1"/>
          <p:cNvSpPr>
            <a:spLocks noGrp="1"/>
          </p:cNvSpPr>
          <p:nvPr>
            <p:ph type="title" hasCustomPrompt="1"/>
            <p:custDataLst>
              <p:tags r:id="rId4"/>
            </p:custDataLst>
          </p:nvPr>
        </p:nvSpPr>
        <p:spPr>
          <a:xfrm>
            <a:off x="457200" y="274639"/>
            <a:ext cx="8229600" cy="374756"/>
          </a:xfrm>
          <a:prstGeom prst="rect">
            <a:avLst/>
          </a:prstGeom>
        </p:spPr>
        <p:txBody>
          <a:bodyPr vert="horz" lIns="91440" tIns="45720" rIns="91440" bIns="45720" rtlCol="0" anchor="ctr">
            <a:noAutofit/>
          </a:bodyPr>
          <a:lstStyle>
            <a:lvl1pPr algn="l">
              <a:defRPr sz="2800" baseline="0">
                <a:solidFill>
                  <a:srgbClr val="C00000"/>
                </a:solidFill>
                <a:latin typeface="+mj-lt"/>
                <a:cs typeface="Century Gothic"/>
              </a:defRPr>
            </a:lvl1pPr>
          </a:lstStyle>
          <a:p>
            <a:r>
              <a:rPr lang="pt-BR" dirty="0"/>
              <a:t>Título – Franklin </a:t>
            </a:r>
            <a:r>
              <a:rPr lang="pt-BR" dirty="0" err="1"/>
              <a:t>Gothic</a:t>
            </a:r>
            <a:r>
              <a:rPr lang="pt-BR" dirty="0"/>
              <a:t> </a:t>
            </a:r>
            <a:r>
              <a:rPr lang="pt-BR" dirty="0" err="1"/>
              <a:t>Medium</a:t>
            </a:r>
            <a:r>
              <a:rPr lang="pt-BR" dirty="0"/>
              <a:t> 28pts.</a:t>
            </a:r>
          </a:p>
        </p:txBody>
      </p:sp>
      <p:sp>
        <p:nvSpPr>
          <p:cNvPr id="11" name="Espaço Reservado para Texto 2"/>
          <p:cNvSpPr>
            <a:spLocks noGrp="1"/>
          </p:cNvSpPr>
          <p:nvPr>
            <p:ph idx="1" hasCustomPrompt="1"/>
            <p:custDataLst>
              <p:tags r:id="rId5"/>
            </p:custDataLst>
          </p:nvPr>
        </p:nvSpPr>
        <p:spPr>
          <a:xfrm>
            <a:off x="457200" y="836713"/>
            <a:ext cx="8229600" cy="3816424"/>
          </a:xfrm>
          <a:prstGeom prst="rect">
            <a:avLst/>
          </a:prstGeom>
        </p:spPr>
        <p:txBody>
          <a:bodyPr vert="horz" lIns="91440" tIns="45720" rIns="91440" bIns="45720" rtlCol="0">
            <a:normAutofit/>
          </a:bodyPr>
          <a:lstStyle>
            <a:lvl1pPr>
              <a:buClr>
                <a:srgbClr val="C00000"/>
              </a:buClr>
              <a:defRPr sz="2400" baseline="0">
                <a:solidFill>
                  <a:schemeClr val="tx1">
                    <a:lumMod val="75000"/>
                    <a:lumOff val="25000"/>
                  </a:schemeClr>
                </a:solidFill>
                <a:latin typeface="+mn-lt"/>
              </a:defRPr>
            </a:lvl1pPr>
            <a:lvl2pPr>
              <a:buClr>
                <a:srgbClr val="C00000"/>
              </a:buClr>
              <a:defRPr sz="2200">
                <a:solidFill>
                  <a:schemeClr val="tx1">
                    <a:lumMod val="75000"/>
                    <a:lumOff val="25000"/>
                  </a:schemeClr>
                </a:solidFill>
                <a:latin typeface="+mn-lt"/>
              </a:defRPr>
            </a:lvl2pPr>
            <a:lvl3pPr>
              <a:buClr>
                <a:srgbClr val="C00000"/>
              </a:buClr>
              <a:defRPr sz="2000">
                <a:solidFill>
                  <a:schemeClr val="tx1">
                    <a:lumMod val="75000"/>
                    <a:lumOff val="25000"/>
                  </a:schemeClr>
                </a:solidFill>
                <a:latin typeface="+mn-lt"/>
              </a:defRPr>
            </a:lvl3pPr>
            <a:lvl4pPr>
              <a:buClr>
                <a:srgbClr val="C00000"/>
              </a:buClr>
              <a:defRPr sz="1800">
                <a:solidFill>
                  <a:schemeClr val="tx1">
                    <a:lumMod val="75000"/>
                    <a:lumOff val="25000"/>
                  </a:schemeClr>
                </a:solidFill>
                <a:latin typeface="+mn-lt"/>
              </a:defRPr>
            </a:lvl4pPr>
            <a:lvl5pPr>
              <a:buClr>
                <a:srgbClr val="C00000"/>
              </a:buClr>
              <a:defRPr sz="1600" baseline="0">
                <a:solidFill>
                  <a:schemeClr val="tx1">
                    <a:lumMod val="75000"/>
                    <a:lumOff val="25000"/>
                  </a:schemeClr>
                </a:solidFill>
                <a:latin typeface="+mn-lt"/>
              </a:defRPr>
            </a:lvl5pPr>
          </a:lstStyle>
          <a:p>
            <a:pPr lvl="0"/>
            <a:r>
              <a:rPr lang="pt-BR" dirty="0"/>
              <a:t>Texto - Franklin </a:t>
            </a:r>
            <a:r>
              <a:rPr lang="pt-BR" dirty="0" err="1"/>
              <a:t>Gothic</a:t>
            </a:r>
            <a:r>
              <a:rPr lang="pt-BR" dirty="0"/>
              <a:t> Book 24 pts.</a:t>
            </a:r>
          </a:p>
          <a:p>
            <a:pPr lvl="1"/>
            <a:r>
              <a:rPr lang="pt-BR" dirty="0"/>
              <a:t>Segundo nível – Franklin </a:t>
            </a:r>
            <a:r>
              <a:rPr lang="pt-BR" dirty="0" err="1"/>
              <a:t>Gothic</a:t>
            </a:r>
            <a:r>
              <a:rPr lang="pt-BR" dirty="0"/>
              <a:t> Book 22 pts.</a:t>
            </a:r>
          </a:p>
          <a:p>
            <a:pPr lvl="2"/>
            <a:r>
              <a:rPr lang="pt-BR" dirty="0"/>
              <a:t>Terceiro nível – Franklin </a:t>
            </a:r>
            <a:r>
              <a:rPr lang="pt-BR" dirty="0" err="1"/>
              <a:t>Gothic</a:t>
            </a:r>
            <a:r>
              <a:rPr lang="pt-BR" dirty="0"/>
              <a:t> </a:t>
            </a:r>
            <a:r>
              <a:rPr lang="pt-BR" dirty="0" err="1"/>
              <a:t>Booka</a:t>
            </a:r>
            <a:r>
              <a:rPr lang="pt-BR" dirty="0"/>
              <a:t> 20 </a:t>
            </a:r>
            <a:r>
              <a:rPr lang="pt-BR" dirty="0" err="1"/>
              <a:t>pts</a:t>
            </a:r>
            <a:endParaRPr lang="pt-BR" dirty="0"/>
          </a:p>
          <a:p>
            <a:pPr lvl="3"/>
            <a:r>
              <a:rPr lang="pt-BR" dirty="0"/>
              <a:t>Quarto nível – NÃO USAR</a:t>
            </a:r>
          </a:p>
          <a:p>
            <a:pPr lvl="4"/>
            <a:r>
              <a:rPr lang="pt-BR" dirty="0"/>
              <a:t>Quinto nível – NÃO USAR.</a:t>
            </a:r>
          </a:p>
        </p:txBody>
      </p:sp>
      <p:sp>
        <p:nvSpPr>
          <p:cNvPr id="12" name="Espaço Reservado para Número de Slide 5"/>
          <p:cNvSpPr txBox="1">
            <a:spLocks/>
          </p:cNvSpPr>
          <p:nvPr userDrawn="1">
            <p:custDataLst>
              <p:tags r:id="rId6"/>
            </p:custDataLst>
          </p:nvPr>
        </p:nvSpPr>
        <p:spPr>
          <a:xfrm>
            <a:off x="6052" y="6489303"/>
            <a:ext cx="2133600" cy="365125"/>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tx1">
                    <a:lumMod val="75000"/>
                    <a:lumOff val="25000"/>
                  </a:schemeClr>
                </a:solidFill>
                <a:latin typeface="Helvetica-Normal"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45B1F494-E999-4F2F-9966-3356AAEBF124}" type="slidenum">
              <a:rPr lang="pt-BR" smtClean="0">
                <a:solidFill>
                  <a:srgbClr val="FFFFFF"/>
                </a:solidFill>
              </a:rPr>
              <a:pPr algn="l"/>
              <a:t>‹nº›</a:t>
            </a:fld>
            <a:endParaRPr lang="pt-BR" dirty="0">
              <a:solidFill>
                <a:srgbClr val="FFFFFF"/>
              </a:solidFill>
            </a:endParaRPr>
          </a:p>
        </p:txBody>
      </p:sp>
    </p:spTree>
    <p:extLst>
      <p:ext uri="{BB962C8B-B14F-4D97-AF65-F5344CB8AC3E}">
        <p14:creationId xmlns:p14="http://schemas.microsoft.com/office/powerpoint/2010/main" val="1668142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1800" y="1992354"/>
            <a:ext cx="5867400" cy="1970046"/>
          </a:xfrm>
        </p:spPr>
        <p:txBody>
          <a:bodyPr anchor="ctr">
            <a:normAutofit/>
          </a:bodyPr>
          <a:lstStyle>
            <a:lvl1pPr algn="l" eaLnBrk="1" latinLnBrk="0" hangingPunct="1">
              <a:defRPr kumimoji="0" lang="pt-BR" sz="3000" b="1" cap="all"/>
            </a:lvl1pPr>
          </a:lstStyle>
          <a:p>
            <a:pPr eaLnBrk="1" latinLnBrk="0" hangingPunct="1"/>
            <a:r>
              <a:rPr lang="pt-BR"/>
              <a:t>Clique para editar o estilo do título mestre</a:t>
            </a:r>
            <a:endParaRPr/>
          </a:p>
        </p:txBody>
      </p:sp>
      <p:sp>
        <p:nvSpPr>
          <p:cNvPr id="3" name="Text Placeholder 2"/>
          <p:cNvSpPr>
            <a:spLocks noGrp="1"/>
          </p:cNvSpPr>
          <p:nvPr>
            <p:ph type="body" idx="1"/>
          </p:nvPr>
        </p:nvSpPr>
        <p:spPr>
          <a:xfrm>
            <a:off x="381000" y="5105400"/>
            <a:ext cx="8229601" cy="375787"/>
          </a:xfrm>
        </p:spPr>
        <p:txBody>
          <a:bodyPr anchor="b">
            <a:normAutofit/>
          </a:bodyPr>
          <a:lstStyle>
            <a:lvl1pPr marL="0" indent="0" algn="r" eaLnBrk="1" latinLnBrk="0" hangingPunct="1">
              <a:buNone/>
              <a:defRPr kumimoji="0" lang="pt-BR" sz="1800">
                <a:solidFill>
                  <a:schemeClr val="tx1">
                    <a:lumMod val="65000"/>
                    <a:lumOff val="35000"/>
                  </a:schemeClr>
                </a:solidFill>
              </a:defRPr>
            </a:lvl1pPr>
            <a:lvl2pPr marL="457200" indent="0" eaLnBrk="1" latinLnBrk="0" hangingPunct="1">
              <a:buNone/>
              <a:defRPr kumimoji="0" lang="pt-BR" sz="1800">
                <a:solidFill>
                  <a:schemeClr val="tx1">
                    <a:tint val="75000"/>
                  </a:schemeClr>
                </a:solidFill>
              </a:defRPr>
            </a:lvl2pPr>
            <a:lvl3pPr marL="914400" indent="0" eaLnBrk="1" latinLnBrk="0" hangingPunct="1">
              <a:buNone/>
              <a:defRPr kumimoji="0" lang="pt-BR" sz="1600">
                <a:solidFill>
                  <a:schemeClr val="tx1">
                    <a:tint val="75000"/>
                  </a:schemeClr>
                </a:solidFill>
              </a:defRPr>
            </a:lvl3pPr>
            <a:lvl4pPr marL="1371600" indent="0" eaLnBrk="1" latinLnBrk="0" hangingPunct="1">
              <a:buNone/>
              <a:defRPr kumimoji="0" lang="pt-BR" sz="1400">
                <a:solidFill>
                  <a:schemeClr val="tx1">
                    <a:tint val="75000"/>
                  </a:schemeClr>
                </a:solidFill>
              </a:defRPr>
            </a:lvl4pPr>
            <a:lvl5pPr marL="1828800" indent="0" eaLnBrk="1" latinLnBrk="0" hangingPunct="1">
              <a:buNone/>
              <a:defRPr kumimoji="0" lang="pt-BR" sz="1400">
                <a:solidFill>
                  <a:schemeClr val="tx1">
                    <a:tint val="75000"/>
                  </a:schemeClr>
                </a:solidFill>
              </a:defRPr>
            </a:lvl5pPr>
            <a:lvl6pPr marL="2286000" indent="0" eaLnBrk="1" latinLnBrk="0" hangingPunct="1">
              <a:buNone/>
              <a:defRPr kumimoji="0" lang="pt-BR" sz="1400">
                <a:solidFill>
                  <a:schemeClr val="tx1">
                    <a:tint val="75000"/>
                  </a:schemeClr>
                </a:solidFill>
              </a:defRPr>
            </a:lvl6pPr>
            <a:lvl7pPr marL="2743200" indent="0" eaLnBrk="1" latinLnBrk="0" hangingPunct="1">
              <a:buNone/>
              <a:defRPr kumimoji="0" lang="pt-BR" sz="1400">
                <a:solidFill>
                  <a:schemeClr val="tx1">
                    <a:tint val="75000"/>
                  </a:schemeClr>
                </a:solidFill>
              </a:defRPr>
            </a:lvl7pPr>
            <a:lvl8pPr marL="3200400" indent="0" eaLnBrk="1" latinLnBrk="0" hangingPunct="1">
              <a:buNone/>
              <a:defRPr kumimoji="0" lang="pt-BR" sz="1400">
                <a:solidFill>
                  <a:schemeClr val="tx1">
                    <a:tint val="75000"/>
                  </a:schemeClr>
                </a:solidFill>
              </a:defRPr>
            </a:lvl8pPr>
            <a:lvl9pPr marL="3657600" indent="0" eaLnBrk="1" latinLnBrk="0" hangingPunct="1">
              <a:buNone/>
              <a:defRPr kumimoji="0" lang="pt-BR" sz="1400">
                <a:solidFill>
                  <a:schemeClr val="tx1">
                    <a:tint val="75000"/>
                  </a:schemeClr>
                </a:solidFill>
              </a:defRPr>
            </a:lvl9pPr>
          </a:lstStyle>
          <a:p>
            <a:pPr lvl="0" eaLnBrk="1" latinLnBrk="0" hangingPunct="1"/>
            <a:r>
              <a:rPr lang="pt-BR"/>
              <a:t>Clique para editar os estilos do texto mestre</a:t>
            </a:r>
          </a:p>
        </p:txBody>
      </p:sp>
      <p:sp>
        <p:nvSpPr>
          <p:cNvPr id="5" name="Footer Placeholder 4"/>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
        <p:nvSpPr>
          <p:cNvPr id="7" name="Oval 6"/>
          <p:cNvSpPr/>
          <p:nvPr userDrawn="1"/>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t>             </a:t>
            </a:r>
          </a:p>
        </p:txBody>
      </p:sp>
      <p:sp>
        <p:nvSpPr>
          <p:cNvPr id="8" name="Rectangle 7"/>
          <p:cNvSpPr/>
          <p:nvPr userDrawn="1"/>
        </p:nvSpPr>
        <p:spPr>
          <a:xfrm>
            <a:off x="8686800" y="5265376"/>
            <a:ext cx="457200" cy="9667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solidFill>
                  <a:srgbClr val="FF6600"/>
                </a:solidFill>
              </a:rPr>
              <a:t>           </a:t>
            </a:r>
          </a:p>
        </p:txBody>
      </p:sp>
      <p:sp>
        <p:nvSpPr>
          <p:cNvPr id="9" name="Oval 8"/>
          <p:cNvSpPr/>
          <p:nvPr userDrawn="1"/>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ítulo e Conteú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print"/>
          <a:srcRect l="2599" r="5874" b="5262"/>
          <a:stretch/>
        </p:blipFill>
        <p:spPr>
          <a:xfrm>
            <a:off x="3530" y="5867400"/>
            <a:ext cx="9144000" cy="1053694"/>
          </a:xfrm>
          <a:prstGeom prst="rect">
            <a:avLst/>
          </a:prstGeom>
        </p:spPr>
      </p:pic>
      <p:sp>
        <p:nvSpPr>
          <p:cNvPr id="2" name="Title 1"/>
          <p:cNvSpPr>
            <a:spLocks noGrp="1"/>
          </p:cNvSpPr>
          <p:nvPr>
            <p:ph type="title"/>
          </p:nvPr>
        </p:nvSpPr>
        <p:spPr>
          <a:xfrm>
            <a:off x="436180" y="76200"/>
            <a:ext cx="8403020" cy="685800"/>
          </a:xfrm>
        </p:spPr>
        <p:txBody>
          <a:bodyPr anchor="ctr" anchorCtr="0">
            <a:normAutofit/>
          </a:bodyPr>
          <a:lstStyle>
            <a:lvl1pPr algn="l" eaLnBrk="1" latinLnBrk="0" hangingPunct="1">
              <a:defRPr kumimoji="0" lang="pt-BR" sz="3000" b="0">
                <a:solidFill>
                  <a:schemeClr val="tx1">
                    <a:lumMod val="85000"/>
                    <a:lumOff val="15000"/>
                  </a:schemeClr>
                </a:solidFill>
              </a:defRPr>
            </a:lvl1pPr>
          </a:lstStyle>
          <a:p>
            <a:pPr eaLnBrk="1" latinLnBrk="0" hangingPunct="1"/>
            <a:r>
              <a:rPr lang="pt-BR"/>
              <a:t>Clique para editar o estilo do título mestre</a:t>
            </a:r>
            <a:endParaRPr/>
          </a:p>
        </p:txBody>
      </p:sp>
      <p:sp>
        <p:nvSpPr>
          <p:cNvPr id="3" name="Content Placeholder 2"/>
          <p:cNvSpPr>
            <a:spLocks noGrp="1"/>
          </p:cNvSpPr>
          <p:nvPr>
            <p:ph idx="1"/>
          </p:nvPr>
        </p:nvSpPr>
        <p:spPr/>
        <p:txBody>
          <a:bodyPr/>
          <a:lstStyle>
            <a:lvl1pPr eaLnBrk="1" latinLnBrk="0" hangingPunct="1">
              <a:defRPr kumimoji="0" lang="pt-BR">
                <a:solidFill>
                  <a:schemeClr val="tx1">
                    <a:lumMod val="85000"/>
                    <a:lumOff val="15000"/>
                  </a:schemeClr>
                </a:solidFill>
              </a:defRPr>
            </a:lvl1pPr>
            <a:lvl2pPr eaLnBrk="1" latinLnBrk="0" hangingPunct="1">
              <a:defRPr kumimoji="0" lang="pt-BR">
                <a:solidFill>
                  <a:schemeClr val="tx1">
                    <a:lumMod val="85000"/>
                    <a:lumOff val="15000"/>
                  </a:schemeClr>
                </a:solidFill>
              </a:defRPr>
            </a:lvl2pPr>
            <a:lvl3pPr eaLnBrk="1" latinLnBrk="0" hangingPunct="1">
              <a:defRPr kumimoji="0" lang="pt-BR">
                <a:solidFill>
                  <a:schemeClr val="tx1">
                    <a:lumMod val="85000"/>
                    <a:lumOff val="15000"/>
                  </a:schemeClr>
                </a:solidFill>
              </a:defRPr>
            </a:lvl3pPr>
            <a:lvl4pPr eaLnBrk="1" latinLnBrk="0" hangingPunct="1">
              <a:defRPr kumimoji="0" lang="pt-BR">
                <a:solidFill>
                  <a:schemeClr val="tx1">
                    <a:lumMod val="85000"/>
                    <a:lumOff val="15000"/>
                  </a:schemeClr>
                </a:solidFill>
              </a:defRPr>
            </a:lvl4pPr>
            <a:lvl5pPr eaLnBrk="1" latinLnBrk="0" hangingPunct="1">
              <a:defRPr kumimoji="0" lang="pt-BR">
                <a:solidFill>
                  <a:schemeClr val="tx1">
                    <a:lumMod val="85000"/>
                    <a:lumOff val="15000"/>
                  </a:schemeClr>
                </a:solidFill>
              </a:defRPr>
            </a:lvl5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5/04/2019</a:t>
            </a:fld>
            <a:endParaRPr kumimoji="0" lang="pt-BR"/>
          </a:p>
        </p:txBody>
      </p:sp>
      <p:sp>
        <p:nvSpPr>
          <p:cNvPr id="5" name="Footer Placeholder 4"/>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e Conteúdo: Ênfas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latinLnBrk="0" hangingPunct="1"/>
            <a:r>
              <a:rPr lang="pt-BR"/>
              <a:t>Clique para editar o estilo do título mestre</a:t>
            </a:r>
            <a:endParaRPr/>
          </a:p>
        </p:txBody>
      </p:sp>
      <p:sp>
        <p:nvSpPr>
          <p:cNvPr id="3" name="Date Placeholder 2"/>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5/04/2019</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
        <p:nvSpPr>
          <p:cNvPr id="6" name="Content Placeholder 2"/>
          <p:cNvSpPr>
            <a:spLocks noGrp="1"/>
          </p:cNvSpPr>
          <p:nvPr>
            <p:ph idx="1"/>
          </p:nvPr>
        </p:nvSpPr>
        <p:spPr>
          <a:xfrm>
            <a:off x="457200" y="1600200"/>
            <a:ext cx="8229600" cy="4525963"/>
          </a:xfrm>
        </p:spPr>
        <p:txBody>
          <a:bodyPr/>
          <a:lstStyle>
            <a:lvl1pPr eaLnBrk="1" latinLnBrk="0" hangingPunct="1">
              <a:defRPr kumimoji="0" lang="pt-BR">
                <a:solidFill>
                  <a:schemeClr val="tx1">
                    <a:lumMod val="85000"/>
                    <a:lumOff val="15000"/>
                  </a:schemeClr>
                </a:solidFill>
              </a:defRPr>
            </a:lvl1pPr>
            <a:lvl2pPr eaLnBrk="1" latinLnBrk="0" hangingPunct="1">
              <a:defRPr kumimoji="0" lang="pt-BR">
                <a:solidFill>
                  <a:schemeClr val="tx1">
                    <a:lumMod val="85000"/>
                    <a:lumOff val="15000"/>
                  </a:schemeClr>
                </a:solidFill>
              </a:defRPr>
            </a:lvl2pPr>
            <a:lvl3pPr eaLnBrk="1" latinLnBrk="0" hangingPunct="1">
              <a:defRPr kumimoji="0" lang="pt-BR">
                <a:solidFill>
                  <a:schemeClr val="tx1">
                    <a:lumMod val="85000"/>
                    <a:lumOff val="15000"/>
                  </a:schemeClr>
                </a:solidFill>
              </a:defRPr>
            </a:lvl3pPr>
            <a:lvl4pPr eaLnBrk="1" latinLnBrk="0" hangingPunct="1">
              <a:defRPr kumimoji="0" lang="pt-BR">
                <a:solidFill>
                  <a:schemeClr val="tx1">
                    <a:lumMod val="85000"/>
                    <a:lumOff val="15000"/>
                  </a:schemeClr>
                </a:solidFill>
              </a:defRPr>
            </a:lvl4pPr>
            <a:lvl5pPr eaLnBrk="1" latinLnBrk="0" hangingPunct="1">
              <a:defRPr kumimoji="0" lang="pt-BR">
                <a:solidFill>
                  <a:schemeClr val="tx1">
                    <a:lumMod val="85000"/>
                    <a:lumOff val="15000"/>
                  </a:schemeClr>
                </a:solidFill>
              </a:defRPr>
            </a:lvl5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Duas Partes de Conteú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1"/>
            <a:ext cx="7068015" cy="838200"/>
          </a:xfrm>
        </p:spPr>
        <p:txBody>
          <a:bodyPr anchor="b">
            <a:normAutofit/>
          </a:bodyPr>
          <a:lstStyle>
            <a:lvl1pPr algn="l" eaLnBrk="1" latinLnBrk="0" hangingPunct="1">
              <a:defRPr kumimoji="0" lang="pt-BR" sz="2800">
                <a:solidFill>
                  <a:schemeClr val="bg1"/>
                </a:solidFill>
              </a:defRPr>
            </a:lvl1pPr>
          </a:lstStyle>
          <a:p>
            <a:pPr eaLnBrk="1" latinLnBrk="0" hangingPunct="1"/>
            <a:r>
              <a:rPr lang="pt-BR"/>
              <a:t>Clique para editar o estilo do título mestre</a:t>
            </a:r>
            <a:endParaRPr/>
          </a:p>
        </p:txBody>
      </p:sp>
      <p:sp>
        <p:nvSpPr>
          <p:cNvPr id="3" name="Content Placeholder 2"/>
          <p:cNvSpPr>
            <a:spLocks noGrp="1"/>
          </p:cNvSpPr>
          <p:nvPr>
            <p:ph sz="half" idx="1"/>
          </p:nvPr>
        </p:nvSpPr>
        <p:spPr>
          <a:xfrm>
            <a:off x="457200" y="1676402"/>
            <a:ext cx="4038600" cy="3971455"/>
          </a:xfrm>
        </p:spPr>
        <p:txBody>
          <a:bodyPr/>
          <a:lstStyle>
            <a:lvl1pPr eaLnBrk="1" latinLnBrk="0" hangingPunct="1">
              <a:defRPr kumimoji="0" lang="pt-BR" sz="2800">
                <a:solidFill>
                  <a:schemeClr val="tx1">
                    <a:lumMod val="85000"/>
                    <a:lumOff val="15000"/>
                  </a:schemeClr>
                </a:solidFill>
              </a:defRPr>
            </a:lvl1pPr>
            <a:lvl2pPr eaLnBrk="1" latinLnBrk="0" hangingPunct="1">
              <a:defRPr kumimoji="0" lang="pt-BR" sz="2400">
                <a:solidFill>
                  <a:schemeClr val="tx1">
                    <a:lumMod val="85000"/>
                    <a:lumOff val="15000"/>
                  </a:schemeClr>
                </a:solidFill>
              </a:defRPr>
            </a:lvl2pPr>
            <a:lvl3pPr eaLnBrk="1" latinLnBrk="0" hangingPunct="1">
              <a:defRPr kumimoji="0" lang="pt-BR" sz="2000">
                <a:solidFill>
                  <a:schemeClr val="tx1">
                    <a:lumMod val="85000"/>
                    <a:lumOff val="15000"/>
                  </a:schemeClr>
                </a:solidFill>
              </a:defRPr>
            </a:lvl3pPr>
            <a:lvl4pPr eaLnBrk="1" latinLnBrk="0" hangingPunct="1">
              <a:defRPr kumimoji="0" lang="pt-BR" sz="1800">
                <a:solidFill>
                  <a:schemeClr val="tx1">
                    <a:lumMod val="85000"/>
                    <a:lumOff val="15000"/>
                  </a:schemeClr>
                </a:solidFill>
              </a:defRPr>
            </a:lvl4pPr>
            <a:lvl5pPr eaLnBrk="1" latinLnBrk="0" hangingPunct="1">
              <a:defRPr kumimoji="0" lang="pt-BR" sz="1800">
                <a:solidFill>
                  <a:schemeClr val="tx1">
                    <a:lumMod val="85000"/>
                    <a:lumOff val="15000"/>
                  </a:schemeClr>
                </a:solidFill>
              </a:defRPr>
            </a:lvl5pPr>
            <a:lvl6pPr eaLnBrk="1" latinLnBrk="0" hangingPunct="1">
              <a:defRPr kumimoji="0" lang="pt-BR" sz="1800"/>
            </a:lvl6pPr>
            <a:lvl7pPr eaLnBrk="1" latinLnBrk="0" hangingPunct="1">
              <a:defRPr kumimoji="0" lang="pt-BR" sz="1800"/>
            </a:lvl7pPr>
            <a:lvl8pPr eaLnBrk="1" latinLnBrk="0" hangingPunct="1">
              <a:defRPr kumimoji="0" lang="pt-BR" sz="1800"/>
            </a:lvl8pPr>
            <a:lvl9pPr eaLnBrk="1" latinLnBrk="0" hangingPunct="1">
              <a:defRPr kumimoji="0" lang="pt-BR" sz="18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Content Placeholder 3"/>
          <p:cNvSpPr>
            <a:spLocks noGrp="1"/>
          </p:cNvSpPr>
          <p:nvPr>
            <p:ph sz="half" idx="2"/>
          </p:nvPr>
        </p:nvSpPr>
        <p:spPr>
          <a:xfrm>
            <a:off x="4648200" y="1676400"/>
            <a:ext cx="4038600" cy="3971454"/>
          </a:xfrm>
        </p:spPr>
        <p:txBody>
          <a:bodyPr/>
          <a:lstStyle>
            <a:lvl1pPr eaLnBrk="1" latinLnBrk="0" hangingPunct="1">
              <a:defRPr kumimoji="0" lang="pt-BR" sz="2800">
                <a:solidFill>
                  <a:schemeClr val="tx1">
                    <a:lumMod val="85000"/>
                    <a:lumOff val="15000"/>
                  </a:schemeClr>
                </a:solidFill>
              </a:defRPr>
            </a:lvl1pPr>
            <a:lvl2pPr eaLnBrk="1" latinLnBrk="0" hangingPunct="1">
              <a:defRPr kumimoji="0" lang="pt-BR" sz="2400">
                <a:solidFill>
                  <a:schemeClr val="tx1">
                    <a:lumMod val="85000"/>
                    <a:lumOff val="15000"/>
                  </a:schemeClr>
                </a:solidFill>
              </a:defRPr>
            </a:lvl2pPr>
            <a:lvl3pPr eaLnBrk="1" latinLnBrk="0" hangingPunct="1">
              <a:defRPr kumimoji="0" lang="pt-BR" sz="2000">
                <a:solidFill>
                  <a:schemeClr val="tx1">
                    <a:lumMod val="85000"/>
                    <a:lumOff val="15000"/>
                  </a:schemeClr>
                </a:solidFill>
              </a:defRPr>
            </a:lvl3pPr>
            <a:lvl4pPr eaLnBrk="1" latinLnBrk="0" hangingPunct="1">
              <a:defRPr kumimoji="0" lang="pt-BR" sz="1800">
                <a:solidFill>
                  <a:schemeClr val="tx1">
                    <a:lumMod val="85000"/>
                    <a:lumOff val="15000"/>
                  </a:schemeClr>
                </a:solidFill>
              </a:defRPr>
            </a:lvl4pPr>
            <a:lvl5pPr eaLnBrk="1" latinLnBrk="0" hangingPunct="1">
              <a:defRPr kumimoji="0" lang="pt-BR" sz="1800">
                <a:solidFill>
                  <a:schemeClr val="tx1">
                    <a:lumMod val="85000"/>
                    <a:lumOff val="15000"/>
                  </a:schemeClr>
                </a:solidFill>
              </a:defRPr>
            </a:lvl5pPr>
            <a:lvl6pPr eaLnBrk="1" latinLnBrk="0" hangingPunct="1">
              <a:defRPr kumimoji="0" lang="pt-BR" sz="1800"/>
            </a:lvl6pPr>
            <a:lvl7pPr eaLnBrk="1" latinLnBrk="0" hangingPunct="1">
              <a:defRPr kumimoji="0" lang="pt-BR" sz="1800"/>
            </a:lvl7pPr>
            <a:lvl8pPr eaLnBrk="1" latinLnBrk="0" hangingPunct="1">
              <a:defRPr kumimoji="0" lang="pt-BR" sz="1800"/>
            </a:lvl8pPr>
            <a:lvl9pPr eaLnBrk="1" latinLnBrk="0" hangingPunct="1">
              <a:defRPr kumimoji="0" lang="pt-BR" sz="18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5" name="Date Placeholder 4"/>
          <p:cNvSpPr>
            <a:spLocks noGrp="1"/>
          </p:cNvSpPr>
          <p:nvPr>
            <p:ph type="dt" sz="half" idx="10"/>
          </p:nvPr>
        </p:nvSpPr>
        <p:spPr/>
        <p:txBody>
          <a:bodyPr/>
          <a:lstStyle/>
          <a:p>
            <a:fld id="{A258050E-B668-4FA7-85AD-C750C80A6E9B}" type="datetimeFigureOut">
              <a:rPr lang="pt-BR"/>
              <a:pPr/>
              <a:t>15/04/2019</a:t>
            </a:fld>
            <a:endParaRPr kumimoji="0" lang="pt-BR"/>
          </a:p>
        </p:txBody>
      </p:sp>
      <p:sp>
        <p:nvSpPr>
          <p:cNvPr id="6" name="Footer Placeholder 5"/>
          <p:cNvSpPr>
            <a:spLocks noGrp="1"/>
          </p:cNvSpPr>
          <p:nvPr>
            <p:ph type="ftr" sz="quarter" idx="11"/>
          </p:nvPr>
        </p:nvSpPr>
        <p:spPr/>
        <p:txBody>
          <a:bodyPr/>
          <a:lstStyle/>
          <a:p>
            <a:endParaRPr kumimoji="0" lang="pt-BR"/>
          </a:p>
        </p:txBody>
      </p:sp>
      <p:sp>
        <p:nvSpPr>
          <p:cNvPr id="7" name="Slide Number Placeholder 6"/>
          <p:cNvSpPr>
            <a:spLocks noGrp="1"/>
          </p:cNvSpPr>
          <p:nvPr>
            <p:ph type="sldNum" sz="quarter" idx="12"/>
          </p:nvPr>
        </p:nvSpPr>
        <p:spPr/>
        <p:txBody>
          <a:bodyPr/>
          <a:lstStyle/>
          <a:p>
            <a:fld id="{240D5ECE-8B49-45CD-BE81-EF81920D1969}" type="slidenum">
              <a:rPr/>
              <a:pPr/>
              <a:t>‹nº›</a:t>
            </a:fld>
            <a:endParaRPr kumimoji="0"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Somente Títul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pic>
        <p:nvPicPr>
          <p:cNvPr id="6" name="Picture 5"/>
          <p:cNvPicPr>
            <a:picLocks noChangeAspect="1"/>
          </p:cNvPicPr>
          <p:nvPr userDrawn="1"/>
        </p:nvPicPr>
        <p:blipFill>
          <a:blip r:embed="rId3" cstate="print"/>
          <a:stretch>
            <a:fillRect/>
          </a:stretch>
        </p:blipFill>
        <p:spPr>
          <a:xfrm>
            <a:off x="0" y="762000"/>
            <a:ext cx="2445488" cy="2286000"/>
          </a:xfrm>
          <a:prstGeom prst="rect">
            <a:avLst/>
          </a:prstGeom>
        </p:spPr>
      </p:pic>
      <p:sp>
        <p:nvSpPr>
          <p:cNvPr id="2" name="Title 1"/>
          <p:cNvSpPr>
            <a:spLocks noGrp="1"/>
          </p:cNvSpPr>
          <p:nvPr>
            <p:ph type="title"/>
          </p:nvPr>
        </p:nvSpPr>
        <p:spPr>
          <a:xfrm>
            <a:off x="1124400" y="2077200"/>
            <a:ext cx="7010400" cy="1143000"/>
          </a:xfrm>
        </p:spPr>
        <p:txBody>
          <a:bodyPr/>
          <a:lstStyle>
            <a:lvl1pPr algn="l" eaLnBrk="1" latinLnBrk="0" hangingPunct="1">
              <a:defRPr kumimoji="0" lang="pt-BR"/>
            </a:lvl1pPr>
          </a:lstStyle>
          <a:p>
            <a:pPr eaLnBrk="1" latinLnBrk="0" hangingPunct="1"/>
            <a:r>
              <a:rPr lang="pt-BR"/>
              <a:t>Clique para editar o estilo do título mestre</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omente Título: Ênfas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58050E-B668-4FA7-85AD-C750C80A6E9B}" type="datetimeFigureOut">
              <a:rPr lang="pt-BR"/>
              <a:pPr/>
              <a:t>15/04/2019</a:t>
            </a:fld>
            <a:endParaRPr kumimoji="0" lang="pt-BR"/>
          </a:p>
        </p:txBody>
      </p:sp>
      <p:sp>
        <p:nvSpPr>
          <p:cNvPr id="3" name="Footer Placeholder 2"/>
          <p:cNvSpPr>
            <a:spLocks noGrp="1"/>
          </p:cNvSpPr>
          <p:nvPr>
            <p:ph type="ftr" sz="quarter" idx="11"/>
          </p:nvPr>
        </p:nvSpPr>
        <p:spPr/>
        <p:txBody>
          <a:bodyPr/>
          <a:lstStyle/>
          <a:p>
            <a:endParaRPr kumimoji="0" lang="pt-BR"/>
          </a:p>
        </p:txBody>
      </p:sp>
      <p:sp>
        <p:nvSpPr>
          <p:cNvPr id="4" name="Slide Number Placeholder 3"/>
          <p:cNvSpPr>
            <a:spLocks noGrp="1"/>
          </p:cNvSpPr>
          <p:nvPr>
            <p:ph type="sldNum" sz="quarter" idx="12"/>
          </p:nvPr>
        </p:nvSpPr>
        <p:spPr/>
        <p:txBody>
          <a:bodyPr/>
          <a:lstStyle/>
          <a:p>
            <a:fld id="{240D5ECE-8B49-45CD-BE81-EF81920D1969}" type="slidenum">
              <a:rPr/>
              <a:pPr/>
              <a:t>‹nº›</a:t>
            </a:fld>
            <a:endParaRPr kumimoji="0" lang="pt-BR"/>
          </a:p>
        </p:txBody>
      </p:sp>
      <p:sp>
        <p:nvSpPr>
          <p:cNvPr id="6" name="Title 1"/>
          <p:cNvSpPr>
            <a:spLocks noGrp="1"/>
          </p:cNvSpPr>
          <p:nvPr>
            <p:ph type="title" hasCustomPrompt="1"/>
          </p:nvPr>
        </p:nvSpPr>
        <p:spPr>
          <a:xfrm>
            <a:off x="290400" y="3081000"/>
            <a:ext cx="8686800" cy="1095600"/>
          </a:xfrm>
        </p:spPr>
        <p:txBody>
          <a:bodyPr>
            <a:normAutofit/>
          </a:bodyPr>
          <a:lstStyle>
            <a:lvl1pPr algn="ctr" eaLnBrk="1" latinLnBrk="0" hangingPunct="1">
              <a:defRPr kumimoji="0" lang="pt-BR" sz="4600" b="1" kern="1200" spc="-150" baseline="0">
                <a:ln>
                  <a:gradFill>
                    <a:gsLst>
                      <a:gs pos="0">
                        <a:schemeClr val="bg1"/>
                      </a:gs>
                      <a:gs pos="50000">
                        <a:schemeClr val="bg1">
                          <a:lumMod val="75000"/>
                        </a:schemeClr>
                      </a:gs>
                    </a:gsLst>
                    <a:lin ang="5400000" scaled="0"/>
                  </a:gradFill>
                </a:ln>
                <a:gradFill>
                  <a:gsLst>
                    <a:gs pos="11000">
                      <a:schemeClr val="bg1">
                        <a:lumMod val="75000"/>
                      </a:schemeClr>
                    </a:gs>
                    <a:gs pos="91000">
                      <a:schemeClr val="bg1"/>
                    </a:gs>
                  </a:gsLst>
                  <a:lin ang="16200000" scaled="1"/>
                </a:gradFill>
                <a:effectLst>
                  <a:outerShdw blurRad="38100" algn="ctr" rotWithShape="0">
                    <a:prstClr val="black">
                      <a:alpha val="25000"/>
                    </a:prstClr>
                  </a:outerShdw>
                  <a:reflection blurRad="6350" stA="60000" endA="900" endPos="58000" dir="5400000" sy="-100000" algn="bl" rotWithShape="0"/>
                </a:effectLst>
                <a:latin typeface="+mn-lt"/>
                <a:ea typeface="+mn-ea"/>
                <a:cs typeface="+mn-cs"/>
              </a:defRPr>
            </a:lvl1pPr>
          </a:lstStyle>
          <a:p>
            <a:r>
              <a:rPr kumimoji="0" lang="pt-BR"/>
              <a:t>Clique para editar o título Mestre</a:t>
            </a:r>
          </a:p>
        </p:txBody>
      </p:sp>
      <p:sp>
        <p:nvSpPr>
          <p:cNvPr id="7" name="Text Placeholder 2"/>
          <p:cNvSpPr>
            <a:spLocks noGrp="1"/>
          </p:cNvSpPr>
          <p:nvPr>
            <p:ph type="body" idx="1"/>
          </p:nvPr>
        </p:nvSpPr>
        <p:spPr>
          <a:xfrm>
            <a:off x="283952" y="2424752"/>
            <a:ext cx="8694000" cy="639762"/>
          </a:xfrm>
        </p:spPr>
        <p:txBody>
          <a:bodyPr anchor="b">
            <a:normAutofit/>
          </a:bodyPr>
          <a:lstStyle>
            <a:lvl1pPr marL="0" indent="0" algn="ctr" eaLnBrk="1" latinLnBrk="0" hangingPunct="1">
              <a:buNone/>
              <a:defRPr kumimoji="0" lang="pt-BR" sz="2800" kern="1200">
                <a:solidFill>
                  <a:srgbClr val="2E507A">
                    <a:alpha val="81000"/>
                  </a:srgbClr>
                </a:solidFill>
                <a:latin typeface="+mn-lt"/>
                <a:ea typeface="+mn-ea"/>
                <a:cs typeface="+mn-cs"/>
              </a:defRPr>
            </a:lvl1pPr>
            <a:lvl2pPr marL="457200" indent="0" eaLnBrk="1" latinLnBrk="0" hangingPunct="1">
              <a:buNone/>
              <a:defRPr kumimoji="0" lang="pt-BR" sz="2000" b="1"/>
            </a:lvl2pPr>
            <a:lvl3pPr marL="914400" indent="0" eaLnBrk="1" latinLnBrk="0" hangingPunct="1">
              <a:buNone/>
              <a:defRPr kumimoji="0" lang="pt-BR" sz="1800" b="1"/>
            </a:lvl3pPr>
            <a:lvl4pPr marL="1371600" indent="0" eaLnBrk="1" latinLnBrk="0" hangingPunct="1">
              <a:buNone/>
              <a:defRPr kumimoji="0" lang="pt-BR" sz="1600" b="1"/>
            </a:lvl4pPr>
            <a:lvl5pPr marL="1828800" indent="0" eaLnBrk="1" latinLnBrk="0" hangingPunct="1">
              <a:buNone/>
              <a:defRPr kumimoji="0" lang="pt-BR" sz="1600" b="1"/>
            </a:lvl5pPr>
            <a:lvl6pPr marL="2286000" indent="0" eaLnBrk="1" latinLnBrk="0" hangingPunct="1">
              <a:buNone/>
              <a:defRPr kumimoji="0" lang="pt-BR" sz="1600" b="1"/>
            </a:lvl6pPr>
            <a:lvl7pPr marL="2743200" indent="0" eaLnBrk="1" latinLnBrk="0" hangingPunct="1">
              <a:buNone/>
              <a:defRPr kumimoji="0" lang="pt-BR" sz="1600" b="1"/>
            </a:lvl7pPr>
            <a:lvl8pPr marL="3200400" indent="0" eaLnBrk="1" latinLnBrk="0" hangingPunct="1">
              <a:buNone/>
              <a:defRPr kumimoji="0" lang="pt-BR" sz="1600" b="1"/>
            </a:lvl8pPr>
            <a:lvl9pPr marL="3657600" indent="0" eaLnBrk="1" latinLnBrk="0" hangingPunct="1">
              <a:buNone/>
              <a:defRPr kumimoji="0" lang="pt-BR" sz="1600" b="1"/>
            </a:lvl9pPr>
          </a:lstStyle>
          <a:p>
            <a:pPr lvl="0" eaLnBrk="1" latinLnBrk="0" hangingPunct="1"/>
            <a:r>
              <a:rPr lang="pt-BR"/>
              <a:t>Clique para editar os estilos do texto mestre</a:t>
            </a:r>
          </a:p>
        </p:txBody>
      </p:sp>
    </p:spTree>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ítulo com Texto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7" name="Rectangle 6"/>
          <p:cNvSpPr/>
          <p:nvPr userDrawn="1"/>
        </p:nvSpPr>
        <p:spPr>
          <a:xfrm>
            <a:off x="0" y="2895600"/>
            <a:ext cx="7543800" cy="2133600"/>
          </a:xfrm>
          <a:prstGeom prst="rect">
            <a:avLst/>
          </a:prstGeom>
          <a:gradFill flip="none" rotWithShape="1">
            <a:gsLst>
              <a:gs pos="63000">
                <a:schemeClr val="tx1">
                  <a:lumMod val="85000"/>
                  <a:lumOff val="15000"/>
                  <a:alpha val="49000"/>
                </a:schemeClr>
              </a:gs>
              <a:gs pos="100000">
                <a:schemeClr val="tx1">
                  <a:lumMod val="95000"/>
                  <a:lumOff val="5000"/>
                  <a:alpha val="5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a:p>
        </p:txBody>
      </p:sp>
      <p:sp>
        <p:nvSpPr>
          <p:cNvPr id="9" name="Title 1"/>
          <p:cNvSpPr>
            <a:spLocks noGrp="1"/>
          </p:cNvSpPr>
          <p:nvPr>
            <p:ph type="title"/>
          </p:nvPr>
        </p:nvSpPr>
        <p:spPr>
          <a:xfrm>
            <a:off x="414867" y="3200400"/>
            <a:ext cx="7010400" cy="1676400"/>
          </a:xfrm>
        </p:spPr>
        <p:txBody>
          <a:bodyPr>
            <a:normAutofit/>
          </a:bodyPr>
          <a:lstStyle>
            <a:lvl1pPr marL="0" algn="l" defTabSz="914400" rtl="0" eaLnBrk="1" latinLnBrk="0" hangingPunct="1">
              <a:defRPr kumimoji="0" lang="pt-BR" sz="4000" kern="1200">
                <a:solidFill>
                  <a:schemeClr val="bg1"/>
                </a:solidFill>
                <a:latin typeface="+mn-lt"/>
                <a:ea typeface="+mn-ea"/>
                <a:cs typeface="+mn-cs"/>
              </a:defRPr>
            </a:lvl1pPr>
          </a:lstStyle>
          <a:p>
            <a:pPr eaLnBrk="1" latinLnBrk="0" hangingPunct="1"/>
            <a:r>
              <a:rPr lang="pt-BR"/>
              <a:t>Clique para editar o estilo do título mestre</a:t>
            </a:r>
            <a:endParaRPr/>
          </a:p>
        </p:txBody>
      </p:sp>
      <p:sp>
        <p:nvSpPr>
          <p:cNvPr id="10" name="Text Placeholder 15"/>
          <p:cNvSpPr>
            <a:spLocks noGrp="1"/>
          </p:cNvSpPr>
          <p:nvPr>
            <p:ph type="body" sz="quarter" idx="14" hasCustomPrompt="1"/>
          </p:nvPr>
        </p:nvSpPr>
        <p:spPr>
          <a:xfrm>
            <a:off x="4648200" y="664780"/>
            <a:ext cx="4191000" cy="381000"/>
          </a:xfrm>
        </p:spPr>
        <p:txBody>
          <a:bodyPr>
            <a:normAutofit/>
          </a:bodyPr>
          <a:lstStyle>
            <a:lvl1pPr algn="r" eaLnBrk="1" latinLnBrk="0" hangingPunct="1">
              <a:buNone/>
              <a:defRPr kumimoji="0" lang="pt-BR" sz="1800" b="1" kern="1200">
                <a:solidFill>
                  <a:schemeClr val="bg1">
                    <a:lumMod val="65000"/>
                  </a:schemeClr>
                </a:solidFill>
                <a:latin typeface="Calibri" pitchFamily="34" charset="0"/>
                <a:ea typeface="+mn-ea"/>
                <a:cs typeface="+mn-cs"/>
              </a:defRPr>
            </a:lvl1pPr>
          </a:lstStyle>
          <a:p>
            <a:pPr lvl="0"/>
            <a:r>
              <a:rPr kumimoji="0" lang="pt-BR"/>
              <a:t>Clique para editar o estilo do subtítulo mestre</a:t>
            </a:r>
          </a:p>
        </p:txBody>
      </p:sp>
    </p:spTree>
  </p:cSld>
  <p:clrMapOvr>
    <a:masterClrMapping/>
  </p:clrMapOvr>
  <mc:AlternateContent xmlns:mc="http://schemas.openxmlformats.org/markup-compatibility/2006" xmlns:p14="http://schemas.microsoft.com/office/powerpoint/2010/main">
    <mc:Choice Requires="p14">
      <p:transition spd="slow" p14:dur="2000">
        <p14:vortex/>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utoUpdateAnimBg="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údo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3008313" cy="825500"/>
          </a:xfrm>
        </p:spPr>
        <p:txBody>
          <a:bodyPr anchor="b"/>
          <a:lstStyle>
            <a:lvl1pPr algn="l" eaLnBrk="1" latinLnBrk="0" hangingPunct="1">
              <a:defRPr kumimoji="0" lang="pt-BR" sz="2000" b="1"/>
            </a:lvl1pPr>
          </a:lstStyle>
          <a:p>
            <a:pPr eaLnBrk="1" latinLnBrk="0" hangingPunct="1"/>
            <a:r>
              <a:rPr lang="pt-BR"/>
              <a:t>Clique para editar o estilo do título mestre</a:t>
            </a:r>
            <a:endParaRPr/>
          </a:p>
        </p:txBody>
      </p:sp>
      <p:sp>
        <p:nvSpPr>
          <p:cNvPr id="3" name="Content Placeholder 2"/>
          <p:cNvSpPr>
            <a:spLocks noGrp="1"/>
          </p:cNvSpPr>
          <p:nvPr>
            <p:ph idx="1"/>
          </p:nvPr>
        </p:nvSpPr>
        <p:spPr>
          <a:xfrm>
            <a:off x="3803650" y="609600"/>
            <a:ext cx="5111750" cy="5334000"/>
          </a:xfrm>
        </p:spPr>
        <p:txBody>
          <a:bodyPr/>
          <a:lstStyle>
            <a:lvl1pPr eaLnBrk="1" latinLnBrk="0" hangingPunct="1">
              <a:defRPr kumimoji="0" lang="pt-BR" sz="2800">
                <a:solidFill>
                  <a:schemeClr val="bg1"/>
                </a:solidFill>
              </a:defRPr>
            </a:lvl1pPr>
            <a:lvl2pPr eaLnBrk="1" latinLnBrk="0" hangingPunct="1">
              <a:defRPr kumimoji="0" lang="pt-BR" sz="2800">
                <a:solidFill>
                  <a:schemeClr val="bg1"/>
                </a:solidFill>
              </a:defRPr>
            </a:lvl2pPr>
            <a:lvl3pPr eaLnBrk="1" latinLnBrk="0" hangingPunct="1">
              <a:defRPr kumimoji="0" lang="pt-BR" sz="2400">
                <a:solidFill>
                  <a:schemeClr val="bg1"/>
                </a:solidFill>
              </a:defRPr>
            </a:lvl3pPr>
            <a:lvl4pPr eaLnBrk="1" latinLnBrk="0" hangingPunct="1">
              <a:defRPr kumimoji="0" lang="pt-BR" sz="2000">
                <a:solidFill>
                  <a:schemeClr val="bg1"/>
                </a:solidFill>
              </a:defRPr>
            </a:lvl4pPr>
            <a:lvl5pPr eaLnBrk="1" latinLnBrk="0" hangingPunct="1">
              <a:defRPr kumimoji="0" lang="pt-BR" sz="2000">
                <a:solidFill>
                  <a:schemeClr val="bg1"/>
                </a:solidFill>
              </a:defRPr>
            </a:lvl5pPr>
            <a:lvl6pPr eaLnBrk="1" latinLnBrk="0" hangingPunct="1">
              <a:defRPr kumimoji="0" lang="pt-BR" sz="2000"/>
            </a:lvl6pPr>
            <a:lvl7pPr eaLnBrk="1" latinLnBrk="0" hangingPunct="1">
              <a:defRPr kumimoji="0" lang="pt-BR" sz="2000"/>
            </a:lvl7pPr>
            <a:lvl8pPr eaLnBrk="1" latinLnBrk="0" hangingPunct="1">
              <a:defRPr kumimoji="0" lang="pt-BR" sz="2000"/>
            </a:lvl8pPr>
            <a:lvl9pPr eaLnBrk="1" latinLnBrk="0" hangingPunct="1">
              <a:defRPr kumimoji="0" lang="pt-BR" sz="20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Text Placeholder 3"/>
          <p:cNvSpPr>
            <a:spLocks noGrp="1"/>
          </p:cNvSpPr>
          <p:nvPr>
            <p:ph type="body" sz="half" idx="2"/>
          </p:nvPr>
        </p:nvSpPr>
        <p:spPr>
          <a:xfrm>
            <a:off x="228600" y="1435101"/>
            <a:ext cx="3008313" cy="3822699"/>
          </a:xfrm>
        </p:spPr>
        <p:txBody>
          <a:bodyPr/>
          <a:lstStyle>
            <a:lvl1pPr marL="0" indent="0" eaLnBrk="1" latinLnBrk="0" hangingPunct="1">
              <a:buNone/>
              <a:defRPr kumimoji="0" lang="pt-BR" sz="1400">
                <a:solidFill>
                  <a:schemeClr val="tx1">
                    <a:lumMod val="75000"/>
                    <a:lumOff val="25000"/>
                  </a:schemeClr>
                </a:solidFill>
              </a:defRPr>
            </a:lvl1pPr>
            <a:lvl2pPr marL="457200" indent="0" eaLnBrk="1" latinLnBrk="0" hangingPunct="1">
              <a:buNone/>
              <a:defRPr kumimoji="0" lang="pt-BR" sz="1200"/>
            </a:lvl2pPr>
            <a:lvl3pPr marL="914400" indent="0" eaLnBrk="1" latinLnBrk="0" hangingPunct="1">
              <a:buNone/>
              <a:defRPr kumimoji="0" lang="pt-BR" sz="1000"/>
            </a:lvl3pPr>
            <a:lvl4pPr marL="1371600" indent="0" eaLnBrk="1" latinLnBrk="0" hangingPunct="1">
              <a:buNone/>
              <a:defRPr kumimoji="0" lang="pt-BR" sz="900"/>
            </a:lvl4pPr>
            <a:lvl5pPr marL="1828800" indent="0" eaLnBrk="1" latinLnBrk="0" hangingPunct="1">
              <a:buNone/>
              <a:defRPr kumimoji="0" lang="pt-BR" sz="900"/>
            </a:lvl5pPr>
            <a:lvl6pPr marL="2286000" indent="0" eaLnBrk="1" latinLnBrk="0" hangingPunct="1">
              <a:buNone/>
              <a:defRPr kumimoji="0" lang="pt-BR" sz="900"/>
            </a:lvl6pPr>
            <a:lvl7pPr marL="2743200" indent="0" eaLnBrk="1" latinLnBrk="0" hangingPunct="1">
              <a:buNone/>
              <a:defRPr kumimoji="0" lang="pt-BR" sz="900"/>
            </a:lvl7pPr>
            <a:lvl8pPr marL="3200400" indent="0" eaLnBrk="1" latinLnBrk="0" hangingPunct="1">
              <a:buNone/>
              <a:defRPr kumimoji="0" lang="pt-BR" sz="900"/>
            </a:lvl8pPr>
            <a:lvl9pPr marL="3657600" indent="0" eaLnBrk="1" latinLnBrk="0" hangingPunct="1">
              <a:buNone/>
              <a:defRPr kumimoji="0" lang="pt-BR" sz="900"/>
            </a:lvl9pPr>
          </a:lstStyle>
          <a:p>
            <a:pPr lvl="0" eaLnBrk="1" latinLnBrk="0" hangingPunct="1"/>
            <a:r>
              <a:rPr lang="pt-BR"/>
              <a:t>Clique para editar os estilos do texto mestre</a:t>
            </a:r>
          </a:p>
        </p:txBody>
      </p:sp>
      <p:sp>
        <p:nvSpPr>
          <p:cNvPr id="5" name="Date Placeholder 4"/>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5/04/2019</a:t>
            </a:fld>
            <a:endParaRPr kumimoji="0" lang="pt-BR"/>
          </a:p>
        </p:txBody>
      </p:sp>
      <p:sp>
        <p:nvSpPr>
          <p:cNvPr id="6" name="Footer Placeholder 5"/>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7" name="Slide Number Placeholder 6"/>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0" cstate="print"/>
          <a:srcRect l="2599" r="5874" b="5262"/>
          <a:stretch/>
        </p:blipFill>
        <p:spPr>
          <a:xfrm>
            <a:off x="3530" y="5867400"/>
            <a:ext cx="9144000" cy="105369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pPr eaLnBrk="1" latinLnBrk="0" hangingPunct="1"/>
            <a:r>
              <a:rPr kumimoji="0" lang="pt-BR"/>
              <a:t>Clique para editar o estilo do título mestre</a:t>
            </a:r>
            <a:endParaRPr kumimoji="0"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latinLnBrk="0" hangingPunct="1">
              <a:defRPr kumimoji="0" lang="pt-BR" sz="1200">
                <a:solidFill>
                  <a:schemeClr val="tx1">
                    <a:tint val="75000"/>
                  </a:schemeClr>
                </a:solidFill>
              </a:defRPr>
            </a:lvl1pPr>
          </a:lstStyle>
          <a:p>
            <a:fld id="{A258050E-B668-4FA7-85AD-C750C80A6E9B}" type="datetimeFigureOut">
              <a:rPr lang="pt-BR"/>
              <a:pPr/>
              <a:t>15/04/2019</a:t>
            </a:fld>
            <a:endParaRPr kumimoji="0"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latinLnBrk="0" hangingPunct="1">
              <a:defRPr kumimoji="0" lang="pt-BR" sz="1200">
                <a:solidFill>
                  <a:schemeClr val="tx1">
                    <a:tint val="75000"/>
                  </a:schemeClr>
                </a:solidFill>
              </a:defRPr>
            </a:lvl1pPr>
          </a:lstStyle>
          <a:p>
            <a:endParaRPr kumimoji="0"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latinLnBrk="0" hangingPunct="1">
              <a:defRPr kumimoji="0" lang="pt-BR" sz="1200">
                <a:solidFill>
                  <a:schemeClr val="tx1">
                    <a:tint val="75000"/>
                  </a:schemeClr>
                </a:solidFill>
              </a:defRPr>
            </a:lvl1pPr>
          </a:lstStyle>
          <a:p>
            <a:fld id="{240D5ECE-8B49-45CD-BE81-EF81920D1969}" type="slidenum">
              <a:rPr/>
              <a:pPr/>
              <a:t>‹nº›</a:t>
            </a:fld>
            <a:endParaRPr kumimoji="0" lang="pt-B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eaLnBrk="1" latinLnBrk="0" hangingPunct="1"/>
            <a:r>
              <a:rPr kumimoji="0" lang="pt-BR"/>
              <a:t>Clique para editar os estilos do texto mestre</a:t>
            </a:r>
          </a:p>
          <a:p>
            <a:pPr lvl="1" eaLnBrk="1" latinLnBrk="0" hangingPunct="1"/>
            <a:r>
              <a:rPr kumimoji="0" lang="pt-BR"/>
              <a:t>Segundo nível</a:t>
            </a:r>
          </a:p>
          <a:p>
            <a:pPr lvl="2" eaLnBrk="1" latinLnBrk="0" hangingPunct="1"/>
            <a:r>
              <a:rPr kumimoji="0" lang="pt-BR"/>
              <a:t>Terceiro nível</a:t>
            </a:r>
          </a:p>
          <a:p>
            <a:pPr lvl="3" eaLnBrk="1" latinLnBrk="0" hangingPunct="1"/>
            <a:r>
              <a:rPr kumimoji="0" lang="pt-BR"/>
              <a:t>Quarto nível</a:t>
            </a:r>
          </a:p>
          <a:p>
            <a:pPr lvl="4" eaLnBrk="1" latinLnBrk="0" hangingPunct="1"/>
            <a:r>
              <a:rPr kumimoji="0" lang="pt-BR"/>
              <a:t>Quinto nível</a:t>
            </a:r>
            <a:endParaRPr kumimoji="0" lang="en-US"/>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61" r:id="rId4"/>
    <p:sldLayoutId id="2147483652" r:id="rId5"/>
    <p:sldLayoutId id="2147483654" r:id="rId6"/>
    <p:sldLayoutId id="2147483655" r:id="rId7"/>
    <p:sldLayoutId id="2147483660" r:id="rId8"/>
    <p:sldLayoutId id="2147483656" r:id="rId9"/>
    <p:sldLayoutId id="2147483676" r:id="rId10"/>
    <p:sldLayoutId id="2147483657" r:id="rId11"/>
    <p:sldLayoutId id="2147483658" r:id="rId12"/>
    <p:sldLayoutId id="2147483659" r:id="rId13"/>
    <p:sldLayoutId id="2147483663" r:id="rId14"/>
    <p:sldLayoutId id="2147483678" r:id="rId15"/>
    <p:sldLayoutId id="2147483681" r:id="rId16"/>
    <p:sldLayoutId id="2147483682" r:id="rId17"/>
    <p:sldLayoutId id="2147483683" r:id="rId18"/>
  </p:sldLayoutIdLst>
  <p:txStyles>
    <p:titleStyle>
      <a:lvl1pPr algn="ctr" defTabSz="914400" rtl="0" eaLnBrk="1" latinLnBrk="0" hangingPunct="1">
        <a:spcBef>
          <a:spcPct val="0"/>
        </a:spcBef>
        <a:buNone/>
        <a:defRPr kumimoji="0" lang="pt-B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p:bodyStyle>
    <p:otherStyle>
      <a:defPPr>
        <a:defRPr kumimoji="0" lang="pt-BR"/>
      </a:defPPr>
      <a:lvl1pPr marL="0" algn="l" defTabSz="914400" rtl="0" eaLnBrk="1" latinLnBrk="0" hangingPunct="1">
        <a:defRPr kumimoji="0" lang="pt-BR" sz="1800" kern="1200">
          <a:solidFill>
            <a:schemeClr val="tx1"/>
          </a:solidFill>
          <a:latin typeface="+mn-lt"/>
          <a:ea typeface="+mn-ea"/>
          <a:cs typeface="+mn-cs"/>
        </a:defRPr>
      </a:lvl1pPr>
      <a:lvl2pPr marL="457200" algn="l" defTabSz="914400" rtl="0" eaLnBrk="1" latinLnBrk="0" hangingPunct="1">
        <a:defRPr kumimoji="0" lang="pt-BR" sz="1800" kern="1200">
          <a:solidFill>
            <a:schemeClr val="tx1"/>
          </a:solidFill>
          <a:latin typeface="+mn-lt"/>
          <a:ea typeface="+mn-ea"/>
          <a:cs typeface="+mn-cs"/>
        </a:defRPr>
      </a:lvl2pPr>
      <a:lvl3pPr marL="914400" algn="l" defTabSz="914400" rtl="0" eaLnBrk="1" latinLnBrk="0" hangingPunct="1">
        <a:defRPr kumimoji="0" lang="pt-BR" sz="1800" kern="1200">
          <a:solidFill>
            <a:schemeClr val="tx1"/>
          </a:solidFill>
          <a:latin typeface="+mn-lt"/>
          <a:ea typeface="+mn-ea"/>
          <a:cs typeface="+mn-cs"/>
        </a:defRPr>
      </a:lvl3pPr>
      <a:lvl4pPr marL="1371600" algn="l" defTabSz="914400" rtl="0" eaLnBrk="1" latinLnBrk="0" hangingPunct="1">
        <a:defRPr kumimoji="0" lang="pt-BR" sz="1800" kern="1200">
          <a:solidFill>
            <a:schemeClr val="tx1"/>
          </a:solidFill>
          <a:latin typeface="+mn-lt"/>
          <a:ea typeface="+mn-ea"/>
          <a:cs typeface="+mn-cs"/>
        </a:defRPr>
      </a:lvl4pPr>
      <a:lvl5pPr marL="1828800" algn="l" defTabSz="914400" rtl="0" eaLnBrk="1" latinLnBrk="0" hangingPunct="1">
        <a:defRPr kumimoji="0" lang="pt-BR" sz="1800" kern="1200">
          <a:solidFill>
            <a:schemeClr val="tx1"/>
          </a:solidFill>
          <a:latin typeface="+mn-lt"/>
          <a:ea typeface="+mn-ea"/>
          <a:cs typeface="+mn-cs"/>
        </a:defRPr>
      </a:lvl5pPr>
      <a:lvl6pPr marL="2286000" algn="l" defTabSz="914400" rtl="0" eaLnBrk="1" latinLnBrk="0" hangingPunct="1">
        <a:defRPr kumimoji="0" lang="pt-BR" sz="1800" kern="1200">
          <a:solidFill>
            <a:schemeClr val="tx1"/>
          </a:solidFill>
          <a:latin typeface="+mn-lt"/>
          <a:ea typeface="+mn-ea"/>
          <a:cs typeface="+mn-cs"/>
        </a:defRPr>
      </a:lvl6pPr>
      <a:lvl7pPr marL="2743200" algn="l" defTabSz="914400" rtl="0" eaLnBrk="1" latinLnBrk="0" hangingPunct="1">
        <a:defRPr kumimoji="0" lang="pt-BR" sz="1800" kern="1200">
          <a:solidFill>
            <a:schemeClr val="tx1"/>
          </a:solidFill>
          <a:latin typeface="+mn-lt"/>
          <a:ea typeface="+mn-ea"/>
          <a:cs typeface="+mn-cs"/>
        </a:defRPr>
      </a:lvl7pPr>
      <a:lvl8pPr marL="3200400" algn="l" defTabSz="914400" rtl="0" eaLnBrk="1" latinLnBrk="0" hangingPunct="1">
        <a:defRPr kumimoji="0" lang="pt-BR" sz="1800" kern="1200">
          <a:solidFill>
            <a:schemeClr val="tx1"/>
          </a:solidFill>
          <a:latin typeface="+mn-lt"/>
          <a:ea typeface="+mn-ea"/>
          <a:cs typeface="+mn-cs"/>
        </a:defRPr>
      </a:lvl8pPr>
      <a:lvl9pPr marL="3657600" algn="l" defTabSz="914400" rtl="0" eaLnBrk="1" latinLnBrk="0" hangingPunct="1">
        <a:defRPr kumimoji="0" lang="pt-B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3.jpeg"/><Relationship Id="rId4" Type="http://schemas.openxmlformats.org/officeDocument/2006/relationships/image" Target="../media/image2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vmlDrawing" Target="../drawings/vmlDrawing22.vml"/><Relationship Id="rId6" Type="http://schemas.openxmlformats.org/officeDocument/2006/relationships/image" Target="../media/image117.wmf"/><Relationship Id="rId5" Type="http://schemas.openxmlformats.org/officeDocument/2006/relationships/oleObject" Target="../embeddings/oleObject36.bin"/><Relationship Id="rId4" Type="http://schemas.openxmlformats.org/officeDocument/2006/relationships/image" Target="../media/image116.wmf"/></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48.xml"/><Relationship Id="rId7" Type="http://schemas.openxmlformats.org/officeDocument/2006/relationships/image" Target="../media/image6.jpeg"/><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5.jpeg"/><Relationship Id="rId5" Type="http://schemas.openxmlformats.org/officeDocument/2006/relationships/image" Target="../media/image4.jpeg"/><Relationship Id="rId10" Type="http://schemas.openxmlformats.org/officeDocument/2006/relationships/image" Target="../media/image22.jpeg"/><Relationship Id="rId4" Type="http://schemas.openxmlformats.org/officeDocument/2006/relationships/image" Target="../media/image2.jpeg"/><Relationship Id="rId9" Type="http://schemas.openxmlformats.org/officeDocument/2006/relationships/image" Target="../media/image3.jpeg"/></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Altura1.xlsx" TargetMode="External"/><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2.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3.jpeg"/><Relationship Id="rId7" Type="http://schemas.openxmlformats.org/officeDocument/2006/relationships/hyperlink" Target="http://www.google.com.br/imgres?imgurl=http://4.bp.blogspot.com/_nfDGMSy6Nuo/S9YFiSVy7II/AAAAAAAAAGI/anD4119pBPE/s1600/cerebro.jpg&amp;imgrefurl=http://destruicao-e-renascimento.blogspot.com/2010/04/afinal-usamos-100-do-cerebro.html&amp;usg=__JJtHtbx-yzp3NMu0KTOnK-PvnBY=&amp;h=545&amp;w=450&amp;sz=50&amp;hl=pt-BR&amp;start=17&amp;zoom=1&amp;itbs=1&amp;tbnid=IpI46xzLZ55gLM:&amp;tbnh=133&amp;tbnw=110&amp;prev=/search?q=cerebro+conhecimento&amp;hl=pt-BR&amp;biw=941&amp;bih=568&amp;gbv=2&amp;tbm=isch&amp;ei=-NTdTd-hMca4twe0kfDvCQ"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mlDrawing" Target="../drawings/vmlDrawing2.vml"/><Relationship Id="rId5" Type="http://schemas.openxmlformats.org/officeDocument/2006/relationships/image" Target="../media/image38.w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hyperlink" Target="http://www.helitontavares.co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image" Target="../media/image39.png"/><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image" Target="../media/image40.emf"/><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41.emf"/><Relationship Id="rId4" Type="http://schemas.openxmlformats.org/officeDocument/2006/relationships/oleObject" Target="../embeddings/oleObject5.bin"/></Relationships>
</file>

<file path=ppt/slides/_rels/slide2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49.w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vmlDrawing" Target="../drawings/vmlDrawing7.vml"/><Relationship Id="rId4" Type="http://schemas.openxmlformats.org/officeDocument/2006/relationships/image" Target="../media/image50.wmf"/></Relationships>
</file>

<file path=ppt/slides/_rels/slide36.xml.rels><?xml version="1.0" encoding="UTF-8" standalone="yes"?>
<Relationships xmlns="http://schemas.openxmlformats.org/package/2006/relationships"><Relationship Id="rId8" Type="http://schemas.openxmlformats.org/officeDocument/2006/relationships/image" Target="../media/image53.wmf"/><Relationship Id="rId3" Type="http://schemas.openxmlformats.org/officeDocument/2006/relationships/oleObject" Target="../embeddings/oleObject8.bin"/><Relationship Id="rId7"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52.wmf"/><Relationship Id="rId5" Type="http://schemas.openxmlformats.org/officeDocument/2006/relationships/oleObject" Target="../embeddings/oleObject9.bin"/><Relationship Id="rId4" Type="http://schemas.openxmlformats.org/officeDocument/2006/relationships/image" Target="../media/image51.wmf"/></Relationships>
</file>

<file path=ppt/slides/_rels/slide3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54.wmf"/><Relationship Id="rId4" Type="http://schemas.openxmlformats.org/officeDocument/2006/relationships/oleObject" Target="../embeddings/oleObject11.bin"/></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3.jpeg"/><Relationship Id="rId7" Type="http://schemas.openxmlformats.org/officeDocument/2006/relationships/hyperlink" Target="http://www.google.com.br/imgres?imgurl=http://4.bp.blogspot.com/_nfDGMSy6Nuo/S9YFiSVy7II/AAAAAAAAAGI/anD4119pBPE/s1600/cerebro.jpg&amp;imgrefurl=http://destruicao-e-renascimento.blogspot.com/2010/04/afinal-usamos-100-do-cerebro.html&amp;usg=__JJtHtbx-yzp3NMu0KTOnK-PvnBY=&amp;h=545&amp;w=450&amp;sz=50&amp;hl=pt-BR&amp;start=17&amp;zoom=1&amp;itbs=1&amp;tbnid=IpI46xzLZ55gLM:&amp;tbnh=133&amp;tbnw=110&amp;prev=/search?q=cerebro+conhecimento&amp;hl=pt-BR&amp;biw=941&amp;bih=568&amp;gbv=2&amp;tbm=isch&amp;ei=-NTdTd-hMca4twe0kfDvCQ"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 Id="rId9" Type="http://schemas.openxmlformats.org/officeDocument/2006/relationships/image" Target="../media/image59.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63.jpeg"/><Relationship Id="rId2" Type="http://schemas.openxmlformats.org/officeDocument/2006/relationships/slideLayout" Target="../slideLayouts/slideLayout6.xml"/><Relationship Id="rId1" Type="http://schemas.openxmlformats.org/officeDocument/2006/relationships/vmlDrawing" Target="../drawings/vmlDrawing10.vml"/><Relationship Id="rId6" Type="http://schemas.openxmlformats.org/officeDocument/2006/relationships/image" Target="../media/image62.png"/><Relationship Id="rId5" Type="http://schemas.openxmlformats.org/officeDocument/2006/relationships/image" Target="../media/image61.wmf"/><Relationship Id="rId4" Type="http://schemas.openxmlformats.org/officeDocument/2006/relationships/oleObject" Target="../embeddings/oleObject12.bin"/></Relationships>
</file>

<file path=ppt/slides/_rels/slide4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9.xml"/><Relationship Id="rId7" Type="http://schemas.openxmlformats.org/officeDocument/2006/relationships/image" Target="../media/image63.jpeg"/><Relationship Id="rId2" Type="http://schemas.openxmlformats.org/officeDocument/2006/relationships/slideLayout" Target="../slideLayouts/slideLayout6.xml"/><Relationship Id="rId1" Type="http://schemas.openxmlformats.org/officeDocument/2006/relationships/vmlDrawing" Target="../drawings/vmlDrawing11.vml"/><Relationship Id="rId6" Type="http://schemas.openxmlformats.org/officeDocument/2006/relationships/hyperlink" Target="CCI%20Normal%20Log&#237;stica.xls" TargetMode="External"/><Relationship Id="rId5" Type="http://schemas.openxmlformats.org/officeDocument/2006/relationships/image" Target="../media/image64.wmf"/><Relationship Id="rId4" Type="http://schemas.openxmlformats.org/officeDocument/2006/relationships/oleObject" Target="../embeddings/oleObject13.bin"/></Relationships>
</file>

<file path=ppt/slides/_rels/slide4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67.w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xml"/><Relationship Id="rId4" Type="http://schemas.openxmlformats.org/officeDocument/2006/relationships/image" Target="../media/image76.png"/></Relationships>
</file>

<file path=ppt/slides/_rels/slide5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g1.globo.com/Noticias/Ciencia/0,,MUL56449-5603,00.html" TargetMode="External"/><Relationship Id="rId4" Type="http://schemas.openxmlformats.org/officeDocument/2006/relationships/image" Target="../media/image24.jpeg"/></Relationships>
</file>

<file path=ppt/slides/_rels/slide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emf"/><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xml"/><Relationship Id="rId1" Type="http://schemas.openxmlformats.org/officeDocument/2006/relationships/vmlDrawing" Target="../drawings/vmlDrawing12.vml"/><Relationship Id="rId5" Type="http://schemas.openxmlformats.org/officeDocument/2006/relationships/image" Target="../media/image82.emf"/><Relationship Id="rId4" Type="http://schemas.openxmlformats.org/officeDocument/2006/relationships/oleObject" Target="../embeddings/oleObject14.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84.wmf"/><Relationship Id="rId2" Type="http://schemas.openxmlformats.org/officeDocument/2006/relationships/slideLayout" Target="../slideLayouts/slideLayout6.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83.wmf"/><Relationship Id="rId4" Type="http://schemas.openxmlformats.org/officeDocument/2006/relationships/oleObject" Target="../embeddings/oleObject15.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vmlDrawing" Target="../drawings/vmlDrawing14.vml"/><Relationship Id="rId6" Type="http://schemas.openxmlformats.org/officeDocument/2006/relationships/image" Target="../media/image63.jpeg"/><Relationship Id="rId5" Type="http://schemas.openxmlformats.org/officeDocument/2006/relationships/image" Target="../media/image85.emf"/><Relationship Id="rId4" Type="http://schemas.openxmlformats.org/officeDocument/2006/relationships/oleObject" Target="../embeddings/oleObject17.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87.wmf"/><Relationship Id="rId2" Type="http://schemas.openxmlformats.org/officeDocument/2006/relationships/slideLayout" Target="../slideLayouts/slideLayout6.xml"/><Relationship Id="rId1" Type="http://schemas.openxmlformats.org/officeDocument/2006/relationships/vmlDrawing" Target="../drawings/vmlDrawing15.vml"/><Relationship Id="rId6" Type="http://schemas.openxmlformats.org/officeDocument/2006/relationships/oleObject" Target="../embeddings/oleObject19.bin"/><Relationship Id="rId5" Type="http://schemas.openxmlformats.org/officeDocument/2006/relationships/image" Target="../media/image86.wmf"/><Relationship Id="rId4" Type="http://schemas.openxmlformats.org/officeDocument/2006/relationships/oleObject" Target="../embeddings/oleObject1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vmlDrawing" Target="../drawings/vmlDrawing16.vml"/><Relationship Id="rId6" Type="http://schemas.openxmlformats.org/officeDocument/2006/relationships/image" Target="../media/image63.jpeg"/><Relationship Id="rId5" Type="http://schemas.openxmlformats.org/officeDocument/2006/relationships/image" Target="../media/image88.emf"/><Relationship Id="rId4" Type="http://schemas.openxmlformats.org/officeDocument/2006/relationships/oleObject" Target="../embeddings/oleObject20.bin"/></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vmlDrawing" Target="../drawings/vmlDrawing17.vml"/><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3" Type="http://schemas.openxmlformats.org/officeDocument/2006/relationships/image" Target="../media/image650.png"/><Relationship Id="rId2" Type="http://schemas.openxmlformats.org/officeDocument/2006/relationships/image" Target="../media/image640.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jpe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97.wmf"/><Relationship Id="rId3" Type="http://schemas.openxmlformats.org/officeDocument/2006/relationships/notesSlide" Target="../notesSlides/notesSlide37.xml"/><Relationship Id="rId7" Type="http://schemas.openxmlformats.org/officeDocument/2006/relationships/image" Target="../media/image94.wmf"/><Relationship Id="rId12" Type="http://schemas.openxmlformats.org/officeDocument/2006/relationships/oleObject" Target="../embeddings/oleObject26.bin"/><Relationship Id="rId2" Type="http://schemas.openxmlformats.org/officeDocument/2006/relationships/slideLayout" Target="../slideLayouts/slideLayout14.xml"/><Relationship Id="rId16" Type="http://schemas.openxmlformats.org/officeDocument/2006/relationships/image" Target="../media/image890.png"/><Relationship Id="rId1" Type="http://schemas.openxmlformats.org/officeDocument/2006/relationships/vmlDrawing" Target="../drawings/vmlDrawing18.vml"/><Relationship Id="rId6" Type="http://schemas.openxmlformats.org/officeDocument/2006/relationships/oleObject" Target="../embeddings/oleObject23.bin"/><Relationship Id="rId11" Type="http://schemas.openxmlformats.org/officeDocument/2006/relationships/image" Target="../media/image96.wmf"/><Relationship Id="rId5" Type="http://schemas.openxmlformats.org/officeDocument/2006/relationships/image" Target="../media/image93.wmf"/><Relationship Id="rId15" Type="http://schemas.openxmlformats.org/officeDocument/2006/relationships/image" Target="../media/image98.wmf"/><Relationship Id="rId10" Type="http://schemas.openxmlformats.org/officeDocument/2006/relationships/oleObject" Target="../embeddings/oleObject25.bin"/><Relationship Id="rId4" Type="http://schemas.openxmlformats.org/officeDocument/2006/relationships/oleObject" Target="../embeddings/oleObject22.bin"/><Relationship Id="rId9" Type="http://schemas.openxmlformats.org/officeDocument/2006/relationships/image" Target="../media/image95.wmf"/><Relationship Id="rId1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4.xml"/><Relationship Id="rId1" Type="http://schemas.openxmlformats.org/officeDocument/2006/relationships/vmlDrawing" Target="../drawings/vmlDrawing19.vml"/><Relationship Id="rId5" Type="http://schemas.openxmlformats.org/officeDocument/2006/relationships/image" Target="../media/image91.png"/><Relationship Id="rId4" Type="http://schemas.openxmlformats.org/officeDocument/2006/relationships/image" Target="../media/image99.w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notesSlide" Target="../notesSlides/notesSlide38.xml"/><Relationship Id="rId7" Type="http://schemas.openxmlformats.org/officeDocument/2006/relationships/image" Target="../media/image101.wmf"/><Relationship Id="rId2" Type="http://schemas.openxmlformats.org/officeDocument/2006/relationships/slideLayout" Target="../slideLayouts/slideLayout14.xml"/><Relationship Id="rId1" Type="http://schemas.openxmlformats.org/officeDocument/2006/relationships/vmlDrawing" Target="../drawings/vmlDrawing20.vml"/><Relationship Id="rId6" Type="http://schemas.openxmlformats.org/officeDocument/2006/relationships/oleObject" Target="../embeddings/oleObject30.bin"/><Relationship Id="rId5" Type="http://schemas.openxmlformats.org/officeDocument/2006/relationships/image" Target="../media/image100.wmf"/><Relationship Id="rId4" Type="http://schemas.openxmlformats.org/officeDocument/2006/relationships/oleObject" Target="../embeddings/oleObject29.bin"/><Relationship Id="rId9" Type="http://schemas.openxmlformats.org/officeDocument/2006/relationships/image" Target="../media/image102.wmf"/></Relationships>
</file>

<file path=ppt/slides/_rels/slide79.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notesSlide" Target="../notesSlides/notesSlide39.xml"/><Relationship Id="rId7" Type="http://schemas.openxmlformats.org/officeDocument/2006/relationships/image" Target="../media/image104.wmf"/><Relationship Id="rId2" Type="http://schemas.openxmlformats.org/officeDocument/2006/relationships/slideLayout" Target="../slideLayouts/slideLayout14.xml"/><Relationship Id="rId1" Type="http://schemas.openxmlformats.org/officeDocument/2006/relationships/vmlDrawing" Target="../drawings/vmlDrawing21.vml"/><Relationship Id="rId6" Type="http://schemas.openxmlformats.org/officeDocument/2006/relationships/oleObject" Target="../embeddings/oleObject33.bin"/><Relationship Id="rId5" Type="http://schemas.openxmlformats.org/officeDocument/2006/relationships/image" Target="../media/image103.wmf"/><Relationship Id="rId4" Type="http://schemas.openxmlformats.org/officeDocument/2006/relationships/oleObject" Target="../embeddings/oleObject32.bin"/><Relationship Id="rId9" Type="http://schemas.openxmlformats.org/officeDocument/2006/relationships/image" Target="../media/image105.w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3" Type="http://schemas.openxmlformats.org/officeDocument/2006/relationships/hyperlink" Target="http://www.ssicentral.com/" TargetMode="External"/><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image" Target="../media/image106.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10.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chart" Target="../charts/chart2.xml"/><Relationship Id="rId5" Type="http://schemas.openxmlformats.org/officeDocument/2006/relationships/image" Target="../media/image111.emf"/><Relationship Id="rId4" Type="http://schemas.openxmlformats.org/officeDocument/2006/relationships/image" Target="../media/image12.jpe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2" Type="http://schemas.openxmlformats.org/officeDocument/2006/relationships/hyperlink" Target="http://www.helitontavares.com/aplicativos/winhlp32.exe" TargetMode="External"/><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8.xml"/></Relationships>
</file>

<file path=ppt/slides/_rels/slide9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733800" y="764704"/>
            <a:ext cx="3214464" cy="1967985"/>
          </a:xfrm>
        </p:spPr>
        <p:txBody>
          <a:bodyPr>
            <a:normAutofit/>
          </a:bodyPr>
          <a:lstStyle/>
          <a:p>
            <a:r>
              <a:rPr sz="5700" dirty="0"/>
              <a:t>Estatística</a:t>
            </a:r>
            <a:endParaRPr lang="pt-BR" sz="5700" dirty="0"/>
          </a:p>
        </p:txBody>
      </p:sp>
      <p:sp>
        <p:nvSpPr>
          <p:cNvPr id="5" name="Title 4"/>
          <p:cNvSpPr>
            <a:spLocks noGrp="1"/>
          </p:cNvSpPr>
          <p:nvPr>
            <p:ph type="title"/>
          </p:nvPr>
        </p:nvSpPr>
        <p:spPr>
          <a:xfrm>
            <a:off x="228600" y="3048000"/>
            <a:ext cx="8447856" cy="1828800"/>
          </a:xfrm>
        </p:spPr>
        <p:txBody>
          <a:bodyPr>
            <a:normAutofit/>
          </a:bodyPr>
          <a:lstStyle/>
          <a:p>
            <a:pPr algn="l"/>
            <a:r>
              <a:rPr lang="pt-BR" sz="2400" b="0" dirty="0">
                <a:solidFill>
                  <a:srgbClr val="7BCF27"/>
                </a:solidFill>
                <a:latin typeface="Calibri" pitchFamily="34" charset="0"/>
              </a:rPr>
              <a:t>Atividade</a:t>
            </a:r>
            <a:br>
              <a:rPr lang="pt-BR" sz="2400" b="0" dirty="0">
                <a:solidFill>
                  <a:srgbClr val="262626"/>
                </a:solidFill>
              </a:rPr>
            </a:br>
            <a:r>
              <a:rPr lang="pt-BR" b="0" dirty="0">
                <a:solidFill>
                  <a:prstClr val="white"/>
                </a:solidFill>
              </a:rPr>
              <a:t>Estatística Educacional</a:t>
            </a:r>
            <a:endParaRPr lang="pt-BR" sz="5400" b="0" dirty="0"/>
          </a:p>
        </p:txBody>
      </p:sp>
      <p:sp>
        <p:nvSpPr>
          <p:cNvPr id="4" name="Rectangle 3"/>
          <p:cNvSpPr txBox="1">
            <a:spLocks noChangeArrowheads="1"/>
          </p:cNvSpPr>
          <p:nvPr/>
        </p:nvSpPr>
        <p:spPr>
          <a:xfrm>
            <a:off x="1259632" y="5229200"/>
            <a:ext cx="6984256" cy="1439888"/>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marL="0" indent="0">
              <a:buNone/>
            </a:pPr>
            <a:endParaRPr lang="pt-BR" sz="2000" b="1" dirty="0">
              <a:solidFill>
                <a:schemeClr val="bg1"/>
              </a:solidFill>
            </a:endParaRPr>
          </a:p>
        </p:txBody>
      </p:sp>
      <p:sp>
        <p:nvSpPr>
          <p:cNvPr id="7" name="Retângulo 6"/>
          <p:cNvSpPr/>
          <p:nvPr/>
        </p:nvSpPr>
        <p:spPr>
          <a:xfrm>
            <a:off x="0" y="188640"/>
            <a:ext cx="3643338" cy="646331"/>
          </a:xfrm>
          <a:prstGeom prst="rect">
            <a:avLst/>
          </a:prstGeom>
        </p:spPr>
        <p:txBody>
          <a:bodyPr wrap="square">
            <a:spAutoFit/>
          </a:bodyPr>
          <a:lstStyle/>
          <a:p>
            <a:r>
              <a:rPr lang="pt-BR" i="1" dirty="0">
                <a:latin typeface="Baskerville Old Face" pitchFamily="18" charset="0"/>
              </a:rPr>
              <a:t>É preciso incentivar, investir. Mas é necessário conhecer, avaliar.</a:t>
            </a:r>
          </a:p>
        </p:txBody>
      </p:sp>
      <p:pic>
        <p:nvPicPr>
          <p:cNvPr id="8" name="Imagem 7" descr="trio.jpg"/>
          <p:cNvPicPr>
            <a:picLocks noChangeAspect="1"/>
          </p:cNvPicPr>
          <p:nvPr/>
        </p:nvPicPr>
        <p:blipFill>
          <a:blip r:embed="rId3" cstate="print"/>
          <a:stretch>
            <a:fillRect/>
          </a:stretch>
        </p:blipFill>
        <p:spPr>
          <a:xfrm>
            <a:off x="683568" y="827170"/>
            <a:ext cx="1872208" cy="1884057"/>
          </a:xfrm>
          <a:prstGeom prst="rect">
            <a:avLst/>
          </a:prstGeom>
        </p:spPr>
      </p:pic>
      <p:pic>
        <p:nvPicPr>
          <p:cNvPr id="9" name="Imagem 8" descr="UFPA.jpg"/>
          <p:cNvPicPr>
            <a:picLocks noChangeAspect="1"/>
          </p:cNvPicPr>
          <p:nvPr/>
        </p:nvPicPr>
        <p:blipFill>
          <a:blip r:embed="rId4"/>
          <a:stretch>
            <a:fillRect/>
          </a:stretch>
        </p:blipFill>
        <p:spPr>
          <a:xfrm>
            <a:off x="8243888" y="5708596"/>
            <a:ext cx="723900" cy="895350"/>
          </a:xfrm>
          <a:prstGeom prst="rect">
            <a:avLst/>
          </a:prstGeom>
        </p:spPr>
      </p:pic>
      <p:pic>
        <p:nvPicPr>
          <p:cNvPr id="10" name="Imagem 9" descr="FotoVisto_original_sem_data_red30.jpg"/>
          <p:cNvPicPr>
            <a:picLocks noChangeAspect="1"/>
          </p:cNvPicPr>
          <p:nvPr/>
        </p:nvPicPr>
        <p:blipFill>
          <a:blip r:embed="rId5" cstate="print"/>
          <a:stretch>
            <a:fillRect/>
          </a:stretch>
        </p:blipFill>
        <p:spPr>
          <a:xfrm>
            <a:off x="7452319" y="180648"/>
            <a:ext cx="1612451" cy="159469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p:nvPr>
        </p:nvSpPr>
        <p:spPr/>
        <p:txBody>
          <a:bodyPr/>
          <a:lstStyle/>
          <a:p>
            <a:pPr eaLnBrk="1" hangingPunct="1">
              <a:defRPr/>
            </a:pPr>
            <a:r>
              <a:rPr lang="pt-BR" b="1" dirty="0"/>
              <a:t>Principais Avaliações Educacionais</a:t>
            </a:r>
          </a:p>
        </p:txBody>
      </p:sp>
      <p:sp>
        <p:nvSpPr>
          <p:cNvPr id="542723" name="Rectangle 3"/>
          <p:cNvSpPr>
            <a:spLocks noGrp="1" noChangeArrowheads="1"/>
          </p:cNvSpPr>
          <p:nvPr>
            <p:ph type="body" idx="1"/>
          </p:nvPr>
        </p:nvSpPr>
        <p:spPr/>
        <p:txBody>
          <a:bodyPr>
            <a:normAutofit/>
          </a:bodyPr>
          <a:lstStyle/>
          <a:p>
            <a:pPr eaLnBrk="1" hangingPunct="1">
              <a:lnSpc>
                <a:spcPct val="90000"/>
              </a:lnSpc>
              <a:defRPr/>
            </a:pPr>
            <a:r>
              <a:rPr lang="pt-BR" sz="2400" dirty="0"/>
              <a:t>SAEB (Sistema Nacional de Avaliação da educação Básica)</a:t>
            </a:r>
          </a:p>
          <a:p>
            <a:pPr eaLnBrk="1" hangingPunct="1">
              <a:lnSpc>
                <a:spcPct val="90000"/>
              </a:lnSpc>
              <a:defRPr/>
            </a:pPr>
            <a:r>
              <a:rPr lang="pt-BR" sz="2400" dirty="0"/>
              <a:t>ENEM (Exame Nacional do Ensino Médio)</a:t>
            </a:r>
          </a:p>
          <a:p>
            <a:pPr eaLnBrk="1" hangingPunct="1">
              <a:lnSpc>
                <a:spcPct val="90000"/>
              </a:lnSpc>
              <a:defRPr/>
            </a:pPr>
            <a:r>
              <a:rPr lang="pt-BR" sz="2400" dirty="0"/>
              <a:t>ENCCEJA (Exame Nacional de Avaliação de Jovens e Adultos)</a:t>
            </a:r>
          </a:p>
          <a:p>
            <a:pPr eaLnBrk="1" hangingPunct="1">
              <a:lnSpc>
                <a:spcPct val="90000"/>
              </a:lnSpc>
              <a:defRPr/>
            </a:pPr>
            <a:r>
              <a:rPr lang="pt-BR" sz="2400" dirty="0"/>
              <a:t>SINAES (Sistema Nacional de Avaliação da Educação Superior)</a:t>
            </a:r>
          </a:p>
          <a:p>
            <a:pPr eaLnBrk="1" hangingPunct="1">
              <a:lnSpc>
                <a:spcPct val="90000"/>
              </a:lnSpc>
              <a:defRPr/>
            </a:pPr>
            <a:r>
              <a:rPr lang="pt-BR" sz="2400" dirty="0"/>
              <a:t>PISA (Programa Internacional de Avaliação de Alunos)</a:t>
            </a:r>
          </a:p>
          <a:p>
            <a:pPr eaLnBrk="1" hangingPunct="1">
              <a:lnSpc>
                <a:spcPct val="90000"/>
              </a:lnSpc>
              <a:defRPr/>
            </a:pPr>
            <a:r>
              <a:rPr lang="pt-BR" sz="2400" dirty="0"/>
              <a:t>SisPAE (Sistema Paraense de Avaliação Educacional)</a:t>
            </a:r>
          </a:p>
          <a:p>
            <a:pPr eaLnBrk="1" hangingPunct="1">
              <a:lnSpc>
                <a:spcPct val="90000"/>
              </a:lnSpc>
              <a:defRPr/>
            </a:pPr>
            <a:r>
              <a:rPr lang="pt-BR" sz="2400" dirty="0"/>
              <a:t>SPAECE (CE), SIMAVE (MG), SADEAM (AM) ...</a:t>
            </a:r>
          </a:p>
          <a:p>
            <a:pPr eaLnBrk="1" hangingPunct="1">
              <a:lnSpc>
                <a:spcPct val="90000"/>
              </a:lnSpc>
              <a:buFontTx/>
              <a:buNone/>
              <a:defRPr/>
            </a:pPr>
            <a:endParaRPr lang="pt-BR" dirty="0"/>
          </a:p>
          <a:p>
            <a:pPr eaLnBrk="1" hangingPunct="1">
              <a:lnSpc>
                <a:spcPct val="90000"/>
              </a:lnSpc>
              <a:defRPr/>
            </a:pPr>
            <a:endParaRPr lang="pt-BR" dirty="0"/>
          </a:p>
        </p:txBody>
      </p:sp>
    </p:spTree>
    <p:extLst>
      <p:ext uri="{BB962C8B-B14F-4D97-AF65-F5344CB8AC3E}">
        <p14:creationId xmlns:p14="http://schemas.microsoft.com/office/powerpoint/2010/main" val="113626168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3FAC1B-25F5-4937-BC03-FCF7170EDC64}"/>
              </a:ext>
            </a:extLst>
          </p:cNvPr>
          <p:cNvSpPr>
            <a:spLocks noGrp="1"/>
          </p:cNvSpPr>
          <p:nvPr>
            <p:ph type="title"/>
          </p:nvPr>
        </p:nvSpPr>
        <p:spPr/>
        <p:txBody>
          <a:bodyPr/>
          <a:lstStyle/>
          <a:p>
            <a:r>
              <a:rPr lang="en-US" dirty="0"/>
              <a:t>BILOG-MG: </a:t>
            </a:r>
            <a:r>
              <a:rPr lang="en-US" dirty="0" err="1"/>
              <a:t>Fixando</a:t>
            </a:r>
            <a:r>
              <a:rPr lang="en-US" dirty="0"/>
              <a:t> com o PAR</a:t>
            </a:r>
          </a:p>
        </p:txBody>
      </p:sp>
      <p:sp>
        <p:nvSpPr>
          <p:cNvPr id="3" name="Espaço Reservado para Conteúdo 2">
            <a:extLst>
              <a:ext uri="{FF2B5EF4-FFF2-40B4-BE49-F238E27FC236}">
                <a16:creationId xmlns:a16="http://schemas.microsoft.com/office/drawing/2014/main" id="{9368244D-08E4-4A9C-ABFB-72837EEFD6E8}"/>
              </a:ext>
            </a:extLst>
          </p:cNvPr>
          <p:cNvSpPr>
            <a:spLocks noGrp="1"/>
          </p:cNvSpPr>
          <p:nvPr>
            <p:ph idx="1"/>
          </p:nvPr>
        </p:nvSpPr>
        <p:spPr/>
        <p:txBody>
          <a:bodyPr>
            <a:normAutofit fontScale="55000" lnSpcReduction="20000"/>
          </a:bodyPr>
          <a:lstStyle/>
          <a:p>
            <a:r>
              <a:rPr lang="en-US" dirty="0"/>
              <a:t>Scoring </a:t>
            </a:r>
            <a:r>
              <a:rPr lang="en-US" dirty="0" err="1"/>
              <a:t>usando</a:t>
            </a:r>
            <a:r>
              <a:rPr lang="en-US" dirty="0"/>
              <a:t> o PAR da </a:t>
            </a:r>
            <a:r>
              <a:rPr lang="en-US" dirty="0" err="1"/>
              <a:t>calibracao</a:t>
            </a:r>
            <a:endParaRPr lang="en-US" dirty="0"/>
          </a:p>
          <a:p>
            <a:r>
              <a:rPr lang="en-US" dirty="0"/>
              <a:t>Dados </a:t>
            </a:r>
            <a:r>
              <a:rPr lang="en-US" dirty="0" err="1"/>
              <a:t>simulados</a:t>
            </a:r>
            <a:r>
              <a:rPr lang="en-US" dirty="0"/>
              <a:t> de 10.000 </a:t>
            </a:r>
            <a:r>
              <a:rPr lang="en-US" dirty="0" err="1"/>
              <a:t>respondentes</a:t>
            </a:r>
            <a:endParaRPr lang="en-US" dirty="0"/>
          </a:p>
          <a:p>
            <a:r>
              <a:rPr lang="en-US" dirty="0"/>
              <a:t>&gt;COMMENTS</a:t>
            </a:r>
          </a:p>
          <a:p>
            <a:endParaRPr lang="en-US" dirty="0"/>
          </a:p>
          <a:p>
            <a:r>
              <a:rPr lang="en-US" dirty="0"/>
              <a:t>Obs. Method=2 é EAP</a:t>
            </a:r>
          </a:p>
          <a:p>
            <a:endParaRPr lang="en-US" dirty="0"/>
          </a:p>
          <a:p>
            <a:r>
              <a:rPr lang="en-US" dirty="0"/>
              <a:t>&gt;GLOBAL  DFNAME='</a:t>
            </a:r>
            <a:r>
              <a:rPr lang="en-US" dirty="0" err="1"/>
              <a:t>Dados.prn</a:t>
            </a:r>
            <a:r>
              <a:rPr lang="en-US" dirty="0"/>
              <a:t>', NPARM=3, IFNAME='UFPA10K.PAR',SAVE;</a:t>
            </a:r>
          </a:p>
          <a:p>
            <a:r>
              <a:rPr lang="en-US" dirty="0"/>
              <a:t>&gt;SAVE    SCORE='UFPA10KFIX.SCO';</a:t>
            </a:r>
          </a:p>
          <a:p>
            <a:r>
              <a:rPr lang="en-US" dirty="0"/>
              <a:t>&gt;LENGTH  NITEMS=50;</a:t>
            </a:r>
          </a:p>
          <a:p>
            <a:r>
              <a:rPr lang="en-US" dirty="0"/>
              <a:t>&gt;INPUT   NTOTAL=50, NIDCHAR=9, SAMPLE=10000; </a:t>
            </a:r>
          </a:p>
          <a:p>
            <a:r>
              <a:rPr lang="en-US" dirty="0"/>
              <a:t>&gt;ITEMS   INAMES=(Item01(1)Item50);</a:t>
            </a:r>
          </a:p>
          <a:p>
            <a:r>
              <a:rPr lang="en-US" dirty="0"/>
              <a:t>&gt;TEST    TNAME=UFPA, INUMBER=(1(1)50);</a:t>
            </a:r>
          </a:p>
          <a:p>
            <a:r>
              <a:rPr lang="en-US" dirty="0"/>
              <a:t>(9A1,50A1)</a:t>
            </a:r>
          </a:p>
          <a:p>
            <a:r>
              <a:rPr lang="en-US" dirty="0"/>
              <a:t>&gt;CALIB   SELECT=0;</a:t>
            </a:r>
          </a:p>
          <a:p>
            <a:r>
              <a:rPr lang="en-US" dirty="0"/>
              <a:t>&gt;SCORE   NOPRINT, METHOD=2, RSCTYPE=0;</a:t>
            </a:r>
          </a:p>
          <a:p>
            <a:endParaRPr lang="en-US" dirty="0"/>
          </a:p>
        </p:txBody>
      </p:sp>
    </p:spTree>
    <p:extLst>
      <p:ext uri="{BB962C8B-B14F-4D97-AF65-F5344CB8AC3E}">
        <p14:creationId xmlns:p14="http://schemas.microsoft.com/office/powerpoint/2010/main" val="17148187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a:t>
            </a:r>
            <a:r>
              <a:rPr lang="en-US" dirty="0" err="1"/>
              <a:t>Itens</a:t>
            </a:r>
            <a:r>
              <a:rPr lang="en-US" dirty="0"/>
              <a:t> </a:t>
            </a:r>
            <a:r>
              <a:rPr lang="en-US" dirty="0" err="1"/>
              <a:t>Calibrados</a:t>
            </a:r>
            <a:r>
              <a:rPr lang="en-US" dirty="0"/>
              <a:t> - PRM</a:t>
            </a:r>
          </a:p>
        </p:txBody>
      </p:sp>
      <p:sp>
        <p:nvSpPr>
          <p:cNvPr id="3" name="Retângulo 2">
            <a:extLst>
              <a:ext uri="{FF2B5EF4-FFF2-40B4-BE49-F238E27FC236}">
                <a16:creationId xmlns:a16="http://schemas.microsoft.com/office/drawing/2014/main" id="{06473740-EE43-4161-88BE-8D457D78566F}"/>
              </a:ext>
            </a:extLst>
          </p:cNvPr>
          <p:cNvSpPr/>
          <p:nvPr/>
        </p:nvSpPr>
        <p:spPr>
          <a:xfrm>
            <a:off x="480323" y="980728"/>
            <a:ext cx="4572000" cy="2462213"/>
          </a:xfrm>
          <a:prstGeom prst="rect">
            <a:avLst/>
          </a:prstGeom>
          <a:ln w="12700">
            <a:solidFill>
              <a:schemeClr val="tx1"/>
            </a:solidFill>
          </a:ln>
        </p:spPr>
        <p:txBody>
          <a:bodyPr>
            <a:spAutoFit/>
          </a:bodyPr>
          <a:lstStyle/>
          <a:p>
            <a:r>
              <a:rPr lang="en-US" sz="1100" dirty="0"/>
              <a:t>TODOS: 1 a 80.</a:t>
            </a:r>
          </a:p>
          <a:p>
            <a:endParaRPr lang="en-US" sz="1100" dirty="0"/>
          </a:p>
          <a:p>
            <a:r>
              <a:rPr lang="en-US" sz="1100" dirty="0"/>
              <a:t>&gt;COMMENTS</a:t>
            </a:r>
          </a:p>
          <a:p>
            <a:endParaRPr lang="en-US" sz="1100" dirty="0"/>
          </a:p>
          <a:p>
            <a:r>
              <a:rPr lang="en-US" sz="1100" dirty="0"/>
              <a:t>&gt;GLOBAL  DFNAME='</a:t>
            </a:r>
            <a:r>
              <a:rPr lang="en-US" sz="1100" dirty="0" err="1"/>
              <a:t>DadosDN.PRN</a:t>
            </a:r>
            <a:r>
              <a:rPr lang="en-US" sz="1100" dirty="0"/>
              <a:t>', NPARM=3, PRNAME='</a:t>
            </a:r>
            <a:r>
              <a:rPr lang="en-US" sz="1100" dirty="0" err="1"/>
              <a:t>FixosALL.PRM',SAVE</a:t>
            </a:r>
            <a:r>
              <a:rPr lang="en-US" sz="1100" dirty="0"/>
              <a:t>;</a:t>
            </a:r>
          </a:p>
          <a:p>
            <a:r>
              <a:rPr lang="en-US" sz="1100" dirty="0"/>
              <a:t>&gt;SAVE    SCORE='</a:t>
            </a:r>
            <a:r>
              <a:rPr lang="en-US" sz="1100" dirty="0" err="1"/>
              <a:t>FixosALL.SCO</a:t>
            </a:r>
            <a:r>
              <a:rPr lang="en-US" sz="1100" dirty="0"/>
              <a:t>';</a:t>
            </a:r>
          </a:p>
          <a:p>
            <a:r>
              <a:rPr lang="en-US" sz="1100" dirty="0"/>
              <a:t>&gt;LENGTH  NITEMS=80;</a:t>
            </a:r>
          </a:p>
          <a:p>
            <a:r>
              <a:rPr lang="en-US" sz="1100" dirty="0"/>
              <a:t>&gt;INPUT   NTOT=80, NIDCH=12,SAMPLE=10000;</a:t>
            </a:r>
          </a:p>
          <a:p>
            <a:r>
              <a:rPr lang="en-US" sz="1100" dirty="0"/>
              <a:t>&gt;ITEMS   INUM=(1(1)80), INAME=(ITEM01(1)ITEM80);</a:t>
            </a:r>
          </a:p>
          <a:p>
            <a:r>
              <a:rPr lang="en-US" sz="1100" dirty="0"/>
              <a:t>&gt;TEST    TNAME=ALL, INUMBER=(1(1)80), FIX=(1(0)80);</a:t>
            </a:r>
          </a:p>
          <a:p>
            <a:r>
              <a:rPr lang="en-US" sz="1100" dirty="0"/>
              <a:t>(12A1,2X,80A1)</a:t>
            </a:r>
          </a:p>
          <a:p>
            <a:r>
              <a:rPr lang="en-US" sz="1100" dirty="0"/>
              <a:t>&gt;CALIB   SELECT=0;</a:t>
            </a:r>
          </a:p>
          <a:p>
            <a:r>
              <a:rPr lang="en-US" sz="1100" dirty="0"/>
              <a:t>&gt;SCORE   METHOD=3, NOPRINT;</a:t>
            </a:r>
          </a:p>
        </p:txBody>
      </p:sp>
      <p:sp>
        <p:nvSpPr>
          <p:cNvPr id="4" name="Retângulo 3">
            <a:extLst>
              <a:ext uri="{FF2B5EF4-FFF2-40B4-BE49-F238E27FC236}">
                <a16:creationId xmlns:a16="http://schemas.microsoft.com/office/drawing/2014/main" id="{FC3E49E4-03B1-4914-BC39-5BC9AA7F6E88}"/>
              </a:ext>
            </a:extLst>
          </p:cNvPr>
          <p:cNvSpPr/>
          <p:nvPr/>
        </p:nvSpPr>
        <p:spPr>
          <a:xfrm>
            <a:off x="457200" y="3774274"/>
            <a:ext cx="4572000" cy="2677656"/>
          </a:xfrm>
          <a:prstGeom prst="rect">
            <a:avLst/>
          </a:prstGeom>
          <a:ln w="12700">
            <a:solidFill>
              <a:schemeClr val="tx1"/>
            </a:solidFill>
          </a:ln>
        </p:spPr>
        <p:txBody>
          <a:bodyPr>
            <a:spAutoFit/>
          </a:bodyPr>
          <a:lstStyle/>
          <a:p>
            <a:r>
              <a:rPr lang="en-US" sz="1200" dirty="0"/>
              <a:t>PROVA </a:t>
            </a:r>
            <a:r>
              <a:rPr lang="en-US" sz="1200" dirty="0" err="1"/>
              <a:t>FACil</a:t>
            </a:r>
            <a:r>
              <a:rPr lang="en-US" sz="1200" dirty="0"/>
              <a:t>: </a:t>
            </a:r>
            <a:r>
              <a:rPr lang="en-US" sz="1200" dirty="0" err="1"/>
              <a:t>Itens</a:t>
            </a:r>
            <a:r>
              <a:rPr lang="en-US" sz="1200" dirty="0"/>
              <a:t> 1 a 40.</a:t>
            </a:r>
          </a:p>
          <a:p>
            <a:endParaRPr lang="en-US" sz="1200" dirty="0"/>
          </a:p>
          <a:p>
            <a:r>
              <a:rPr lang="en-US" sz="1200" dirty="0"/>
              <a:t>&gt;COMMENTS</a:t>
            </a:r>
          </a:p>
          <a:p>
            <a:endParaRPr lang="en-US" sz="1200" dirty="0"/>
          </a:p>
          <a:p>
            <a:r>
              <a:rPr lang="en-US" sz="1200" dirty="0"/>
              <a:t>&gt;GLOBAL  DFNAME='</a:t>
            </a:r>
            <a:r>
              <a:rPr lang="en-US" sz="1200" dirty="0" err="1"/>
              <a:t>DadosDN.PRN</a:t>
            </a:r>
            <a:r>
              <a:rPr lang="en-US" sz="1200" dirty="0"/>
              <a:t>', NPARM=3, PRNAME='</a:t>
            </a:r>
            <a:r>
              <a:rPr lang="en-US" sz="1200" dirty="0" err="1"/>
              <a:t>FixosFAC.PRM',SAVE</a:t>
            </a:r>
            <a:r>
              <a:rPr lang="en-US" sz="1200" dirty="0"/>
              <a:t>;</a:t>
            </a:r>
          </a:p>
          <a:p>
            <a:r>
              <a:rPr lang="en-US" sz="1200" dirty="0"/>
              <a:t>&gt;SAVE    SCORE='</a:t>
            </a:r>
            <a:r>
              <a:rPr lang="en-US" sz="1200" dirty="0" err="1"/>
              <a:t>FixosFAC.SCO</a:t>
            </a:r>
            <a:r>
              <a:rPr lang="en-US" sz="1200" dirty="0"/>
              <a:t>';</a:t>
            </a:r>
          </a:p>
          <a:p>
            <a:r>
              <a:rPr lang="en-US" sz="1200" dirty="0"/>
              <a:t>&gt;LENGTH  NITEMS=40;</a:t>
            </a:r>
          </a:p>
          <a:p>
            <a:r>
              <a:rPr lang="en-US" sz="1200" dirty="0"/>
              <a:t>&gt;INPUT   NTOT=80, NIDCH=12,SAMPLE=10000;</a:t>
            </a:r>
          </a:p>
          <a:p>
            <a:r>
              <a:rPr lang="en-US" sz="1200" dirty="0"/>
              <a:t>&gt;ITEMS   INUM=(1(1)80), INAME=(ITEM01(1)ITEM80);</a:t>
            </a:r>
          </a:p>
          <a:p>
            <a:r>
              <a:rPr lang="en-US" sz="1200" dirty="0"/>
              <a:t>&gt;TEST    TNAME=FAC, INUMBER=(1(1)40), FIX=(1(0)40);</a:t>
            </a:r>
          </a:p>
          <a:p>
            <a:r>
              <a:rPr lang="en-US" sz="1200" dirty="0"/>
              <a:t>(12A1,2X,80A1)</a:t>
            </a:r>
          </a:p>
          <a:p>
            <a:r>
              <a:rPr lang="en-US" sz="1200" dirty="0"/>
              <a:t>&gt;CALIB   SELECT=0;</a:t>
            </a:r>
          </a:p>
          <a:p>
            <a:r>
              <a:rPr lang="en-US" sz="1200" dirty="0"/>
              <a:t>&gt;SCORE   METHOD=3, NOPRINT;</a:t>
            </a:r>
          </a:p>
        </p:txBody>
      </p:sp>
      <p:sp>
        <p:nvSpPr>
          <p:cNvPr id="5" name="Retângulo 4">
            <a:extLst>
              <a:ext uri="{FF2B5EF4-FFF2-40B4-BE49-F238E27FC236}">
                <a16:creationId xmlns:a16="http://schemas.microsoft.com/office/drawing/2014/main" id="{BF664612-65C4-47EB-A4EC-320A0EBCE948}"/>
              </a:ext>
            </a:extLst>
          </p:cNvPr>
          <p:cNvSpPr/>
          <p:nvPr/>
        </p:nvSpPr>
        <p:spPr>
          <a:xfrm>
            <a:off x="5292080" y="980728"/>
            <a:ext cx="3294112" cy="1277273"/>
          </a:xfrm>
          <a:prstGeom prst="rect">
            <a:avLst/>
          </a:prstGeom>
          <a:ln w="9525">
            <a:solidFill>
              <a:schemeClr val="tx1"/>
            </a:solidFill>
          </a:ln>
        </p:spPr>
        <p:txBody>
          <a:bodyPr wrap="square">
            <a:spAutoFit/>
          </a:bodyPr>
          <a:lstStyle/>
          <a:p>
            <a:r>
              <a:rPr lang="en-US" sz="1100" dirty="0"/>
              <a:t>80</a:t>
            </a:r>
          </a:p>
          <a:p>
            <a:r>
              <a:rPr lang="en-US" sz="1100" dirty="0"/>
              <a:t>1	1.184	-2.500	0.008</a:t>
            </a:r>
          </a:p>
          <a:p>
            <a:r>
              <a:rPr lang="en-US" sz="1100" dirty="0"/>
              <a:t>2	0.533	-2.438	0.055</a:t>
            </a:r>
          </a:p>
          <a:p>
            <a:r>
              <a:rPr lang="en-US" sz="1100" dirty="0"/>
              <a:t>3	1.103	-2.375	0.070</a:t>
            </a:r>
          </a:p>
          <a:p>
            <a:r>
              <a:rPr lang="en-US" sz="1100" dirty="0"/>
              <a:t>4	0.741	-2.313	0.192</a:t>
            </a:r>
          </a:p>
          <a:p>
            <a:r>
              <a:rPr lang="en-US" sz="1100" dirty="0"/>
              <a:t>5	1.360	-2.250	0.145</a:t>
            </a:r>
          </a:p>
          <a:p>
            <a:r>
              <a:rPr lang="en-US" sz="1100" dirty="0"/>
              <a:t>6	0.582	-2.188	0.097</a:t>
            </a:r>
          </a:p>
        </p:txBody>
      </p:sp>
      <p:sp>
        <p:nvSpPr>
          <p:cNvPr id="6" name="Retângulo 5">
            <a:extLst>
              <a:ext uri="{FF2B5EF4-FFF2-40B4-BE49-F238E27FC236}">
                <a16:creationId xmlns:a16="http://schemas.microsoft.com/office/drawing/2014/main" id="{287AD9A7-91D3-4660-9217-E4959EE547B2}"/>
              </a:ext>
            </a:extLst>
          </p:cNvPr>
          <p:cNvSpPr/>
          <p:nvPr/>
        </p:nvSpPr>
        <p:spPr>
          <a:xfrm>
            <a:off x="5292080" y="3774274"/>
            <a:ext cx="3744416" cy="2677656"/>
          </a:xfrm>
          <a:prstGeom prst="rect">
            <a:avLst/>
          </a:prstGeom>
          <a:ln w="9525">
            <a:solidFill>
              <a:schemeClr val="tx1"/>
            </a:solidFill>
          </a:ln>
        </p:spPr>
        <p:txBody>
          <a:bodyPr wrap="square">
            <a:spAutoFit/>
          </a:bodyPr>
          <a:lstStyle/>
          <a:p>
            <a:r>
              <a:rPr lang="en-US" sz="1200" dirty="0"/>
              <a:t>DIFÍCIL: 41 A 80</a:t>
            </a:r>
          </a:p>
          <a:p>
            <a:endParaRPr lang="en-US" sz="1200" dirty="0"/>
          </a:p>
          <a:p>
            <a:r>
              <a:rPr lang="en-US" sz="1200" dirty="0"/>
              <a:t>&gt;COMMENTS</a:t>
            </a:r>
          </a:p>
          <a:p>
            <a:endParaRPr lang="en-US" sz="1200" dirty="0"/>
          </a:p>
          <a:p>
            <a:r>
              <a:rPr lang="en-US" sz="1200" dirty="0"/>
              <a:t>&gt;GLOBAL  DFNAME='</a:t>
            </a:r>
            <a:r>
              <a:rPr lang="en-US" sz="1200" dirty="0" err="1"/>
              <a:t>DadosDN.PRN</a:t>
            </a:r>
            <a:r>
              <a:rPr lang="en-US" sz="1200" dirty="0"/>
              <a:t>', NPARM=1, PRNAME='</a:t>
            </a:r>
            <a:r>
              <a:rPr lang="en-US" sz="1200" dirty="0" err="1"/>
              <a:t>FixosDIF.PRM',SAVE</a:t>
            </a:r>
            <a:r>
              <a:rPr lang="en-US" sz="1200" dirty="0"/>
              <a:t>;</a:t>
            </a:r>
          </a:p>
          <a:p>
            <a:r>
              <a:rPr lang="en-US" sz="1200" dirty="0"/>
              <a:t>&gt;SAVE    SCORE='</a:t>
            </a:r>
            <a:r>
              <a:rPr lang="en-US" sz="1200" dirty="0" err="1"/>
              <a:t>FixosDIF.SCO</a:t>
            </a:r>
            <a:r>
              <a:rPr lang="en-US" sz="1200" dirty="0"/>
              <a:t>';</a:t>
            </a:r>
          </a:p>
          <a:p>
            <a:r>
              <a:rPr lang="en-US" sz="1200" dirty="0"/>
              <a:t>&gt;LENGTH  NITEMS=40;</a:t>
            </a:r>
          </a:p>
          <a:p>
            <a:r>
              <a:rPr lang="en-US" sz="1200" dirty="0"/>
              <a:t>&gt;INPUT   NTOT=80, NIDCH=12,SAMPLE=10000;</a:t>
            </a:r>
          </a:p>
          <a:p>
            <a:r>
              <a:rPr lang="en-US" sz="1200" dirty="0"/>
              <a:t>&gt;ITEMS   INUM=(1(1)80), INAME=(ITEM01(1)ITEM80);</a:t>
            </a:r>
          </a:p>
          <a:p>
            <a:r>
              <a:rPr lang="en-US" sz="1200" dirty="0"/>
              <a:t>&gt;TEST    TNAME=DIF, INUMBER=(41(1)80), FIX=(1(0)40);</a:t>
            </a:r>
          </a:p>
          <a:p>
            <a:r>
              <a:rPr lang="en-US" sz="1200" dirty="0"/>
              <a:t>(12A1,2X,80A1)</a:t>
            </a:r>
          </a:p>
          <a:p>
            <a:r>
              <a:rPr lang="en-US" sz="1200" dirty="0"/>
              <a:t>&gt;CALIB   SELECT=0;</a:t>
            </a:r>
          </a:p>
          <a:p>
            <a:r>
              <a:rPr lang="en-US" sz="1200" dirty="0"/>
              <a:t>&gt;SCORE   METHOD=3, NOPRINT;</a:t>
            </a:r>
          </a:p>
        </p:txBody>
      </p:sp>
      <p:sp>
        <p:nvSpPr>
          <p:cNvPr id="7" name="Retângulo 6">
            <a:extLst>
              <a:ext uri="{FF2B5EF4-FFF2-40B4-BE49-F238E27FC236}">
                <a16:creationId xmlns:a16="http://schemas.microsoft.com/office/drawing/2014/main" id="{407602A5-A53C-4133-903F-A902008E810C}"/>
              </a:ext>
            </a:extLst>
          </p:cNvPr>
          <p:cNvSpPr/>
          <p:nvPr/>
        </p:nvSpPr>
        <p:spPr>
          <a:xfrm>
            <a:off x="5292080" y="2416581"/>
            <a:ext cx="3366120" cy="1200329"/>
          </a:xfrm>
          <a:prstGeom prst="rect">
            <a:avLst/>
          </a:prstGeom>
          <a:ln w="9525">
            <a:solidFill>
              <a:schemeClr val="tx1"/>
            </a:solidFill>
          </a:ln>
        </p:spPr>
        <p:txBody>
          <a:bodyPr wrap="square">
            <a:spAutoFit/>
          </a:bodyPr>
          <a:lstStyle/>
          <a:p>
            <a:r>
              <a:rPr lang="en-US" sz="1200" dirty="0"/>
              <a:t>40</a:t>
            </a:r>
          </a:p>
          <a:p>
            <a:r>
              <a:rPr lang="en-US" sz="1200" dirty="0"/>
              <a:t>1	1.333	0.000	0.188</a:t>
            </a:r>
          </a:p>
          <a:p>
            <a:r>
              <a:rPr lang="en-US" sz="1200" dirty="0"/>
              <a:t>2	1.316	0.063	0.159</a:t>
            </a:r>
          </a:p>
          <a:p>
            <a:r>
              <a:rPr lang="en-US" sz="1200" dirty="0"/>
              <a:t>3	1.196	0.125	0.017</a:t>
            </a:r>
          </a:p>
          <a:p>
            <a:r>
              <a:rPr lang="en-US" sz="1200" dirty="0"/>
              <a:t>4	1.143	0.188	0.109</a:t>
            </a:r>
          </a:p>
          <a:p>
            <a:r>
              <a:rPr lang="en-US" sz="1200" dirty="0"/>
              <a:t>5	0.720	0.250	0.060</a:t>
            </a:r>
          </a:p>
        </p:txBody>
      </p:sp>
    </p:spTree>
    <p:extLst>
      <p:ext uri="{BB962C8B-B14F-4D97-AF65-F5344CB8AC3E}">
        <p14:creationId xmlns:p14="http://schemas.microsoft.com/office/powerpoint/2010/main" val="168867292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115901-3246-4BCD-9229-AE60DFE9076B}"/>
              </a:ext>
            </a:extLst>
          </p:cNvPr>
          <p:cNvSpPr>
            <a:spLocks noGrp="1"/>
          </p:cNvSpPr>
          <p:nvPr>
            <p:ph type="title"/>
          </p:nvPr>
        </p:nvSpPr>
        <p:spPr/>
        <p:txBody>
          <a:bodyPr/>
          <a:lstStyle/>
          <a:p>
            <a:r>
              <a:rPr lang="en-US" dirty="0" err="1"/>
              <a:t>Excluindo</a:t>
            </a:r>
            <a:r>
              <a:rPr lang="en-US" dirty="0"/>
              <a:t> item no PRM</a:t>
            </a:r>
          </a:p>
        </p:txBody>
      </p:sp>
      <p:sp>
        <p:nvSpPr>
          <p:cNvPr id="4" name="Retângulo 3">
            <a:extLst>
              <a:ext uri="{FF2B5EF4-FFF2-40B4-BE49-F238E27FC236}">
                <a16:creationId xmlns:a16="http://schemas.microsoft.com/office/drawing/2014/main" id="{4584114B-A088-4857-97F6-41CE74FC463D}"/>
              </a:ext>
            </a:extLst>
          </p:cNvPr>
          <p:cNvSpPr/>
          <p:nvPr/>
        </p:nvSpPr>
        <p:spPr>
          <a:xfrm>
            <a:off x="611560" y="1484784"/>
            <a:ext cx="8064896" cy="4247317"/>
          </a:xfrm>
          <a:prstGeom prst="rect">
            <a:avLst/>
          </a:prstGeom>
        </p:spPr>
        <p:txBody>
          <a:bodyPr wrap="square">
            <a:spAutoFit/>
          </a:bodyPr>
          <a:lstStyle/>
          <a:p>
            <a:r>
              <a:rPr lang="en-US" dirty="0"/>
              <a:t>Scoring </a:t>
            </a:r>
            <a:r>
              <a:rPr lang="en-US" dirty="0" err="1"/>
              <a:t>usando</a:t>
            </a:r>
            <a:r>
              <a:rPr lang="en-US" dirty="0"/>
              <a:t> o PRM da </a:t>
            </a:r>
            <a:r>
              <a:rPr lang="en-US" dirty="0" err="1"/>
              <a:t>calibracao</a:t>
            </a:r>
            <a:r>
              <a:rPr lang="en-US" dirty="0"/>
              <a:t>, EXCLUINDO o item 1</a:t>
            </a:r>
          </a:p>
          <a:p>
            <a:r>
              <a:rPr lang="en-US" dirty="0"/>
              <a:t>Dados </a:t>
            </a:r>
            <a:r>
              <a:rPr lang="en-US" dirty="0" err="1"/>
              <a:t>simulados</a:t>
            </a:r>
            <a:r>
              <a:rPr lang="en-US" dirty="0"/>
              <a:t> de 10.000 </a:t>
            </a:r>
            <a:r>
              <a:rPr lang="en-US" dirty="0" err="1"/>
              <a:t>respondentes</a:t>
            </a:r>
            <a:endParaRPr lang="en-US" dirty="0"/>
          </a:p>
          <a:p>
            <a:r>
              <a:rPr lang="en-US" dirty="0"/>
              <a:t>&gt;COMMENTS</a:t>
            </a:r>
          </a:p>
          <a:p>
            <a:endParaRPr lang="en-US" dirty="0"/>
          </a:p>
          <a:p>
            <a:r>
              <a:rPr lang="en-US" dirty="0"/>
              <a:t>Obs. Method=2 é EAP</a:t>
            </a:r>
          </a:p>
          <a:p>
            <a:endParaRPr lang="en-US" dirty="0"/>
          </a:p>
          <a:p>
            <a:r>
              <a:rPr lang="en-US" dirty="0"/>
              <a:t>&gt;GLOBAL  DFNAME='</a:t>
            </a:r>
            <a:r>
              <a:rPr lang="en-US" dirty="0" err="1"/>
              <a:t>Dados.prn</a:t>
            </a:r>
            <a:r>
              <a:rPr lang="en-US" dirty="0"/>
              <a:t>', NPARM=3, PRNAME='UFPA10K.PRM',SAVE;</a:t>
            </a:r>
          </a:p>
          <a:p>
            <a:r>
              <a:rPr lang="en-US" dirty="0"/>
              <a:t>&gt;SAVE    SCORE='UFPA10KFIXPRMexc1.SCO';</a:t>
            </a:r>
          </a:p>
          <a:p>
            <a:r>
              <a:rPr lang="en-US" dirty="0"/>
              <a:t>&gt;LENGTH  NITEMS=50;</a:t>
            </a:r>
          </a:p>
          <a:p>
            <a:r>
              <a:rPr lang="en-US" dirty="0"/>
              <a:t>&gt;INPUT   NTOTAL=50, NIDCHAR=9, SAMPLE=10000; </a:t>
            </a:r>
          </a:p>
          <a:p>
            <a:r>
              <a:rPr lang="en-US" dirty="0"/>
              <a:t>&gt;ITEMS   INAMES=(Item01(1)Item50);</a:t>
            </a:r>
          </a:p>
          <a:p>
            <a:r>
              <a:rPr lang="en-US" dirty="0"/>
              <a:t>&gt;TEST    TNAME=UFPA, INUMBER=(2(1)50), FIX=(1(0)50);</a:t>
            </a:r>
          </a:p>
          <a:p>
            <a:r>
              <a:rPr lang="en-US" dirty="0"/>
              <a:t>(9A1,50A1)</a:t>
            </a:r>
          </a:p>
          <a:p>
            <a:r>
              <a:rPr lang="en-US" dirty="0"/>
              <a:t>&gt;CALIB   SELECT=0;</a:t>
            </a:r>
          </a:p>
          <a:p>
            <a:r>
              <a:rPr lang="en-US" dirty="0"/>
              <a:t>&gt;SCORE   NOPRINT, METHOD=2, RSCTYPE=0;</a:t>
            </a:r>
          </a:p>
        </p:txBody>
      </p:sp>
    </p:spTree>
    <p:extLst>
      <p:ext uri="{BB962C8B-B14F-4D97-AF65-F5344CB8AC3E}">
        <p14:creationId xmlns:p14="http://schemas.microsoft.com/office/powerpoint/2010/main" val="160946931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EB1680-81D5-460B-909A-7C3EA81CE6BC}"/>
              </a:ext>
            </a:extLst>
          </p:cNvPr>
          <p:cNvSpPr>
            <a:spLocks noGrp="1"/>
          </p:cNvSpPr>
          <p:nvPr>
            <p:ph type="title"/>
          </p:nvPr>
        </p:nvSpPr>
        <p:spPr/>
        <p:txBody>
          <a:bodyPr/>
          <a:lstStyle/>
          <a:p>
            <a:r>
              <a:rPr lang="en-US" dirty="0" err="1"/>
              <a:t>Formato</a:t>
            </a:r>
            <a:r>
              <a:rPr lang="en-US" dirty="0"/>
              <a:t> </a:t>
            </a:r>
            <a:r>
              <a:rPr lang="en-US" dirty="0" err="1"/>
              <a:t>Caderno</a:t>
            </a:r>
            <a:r>
              <a:rPr lang="en-US" dirty="0"/>
              <a:t> x </a:t>
            </a:r>
            <a:r>
              <a:rPr lang="en-US" dirty="0" err="1"/>
              <a:t>Aberto</a:t>
            </a:r>
            <a:endParaRPr lang="en-US" dirty="0"/>
          </a:p>
        </p:txBody>
      </p:sp>
      <p:sp>
        <p:nvSpPr>
          <p:cNvPr id="3" name="Espaço Reservado para Conteúdo 2">
            <a:extLst>
              <a:ext uri="{FF2B5EF4-FFF2-40B4-BE49-F238E27FC236}">
                <a16:creationId xmlns:a16="http://schemas.microsoft.com/office/drawing/2014/main" id="{2D08886B-E21D-4270-8152-3AB8C2469C9D}"/>
              </a:ext>
            </a:extLst>
          </p:cNvPr>
          <p:cNvSpPr>
            <a:spLocks noGrp="1"/>
          </p:cNvSpPr>
          <p:nvPr>
            <p:ph idx="1"/>
          </p:nvPr>
        </p:nvSpPr>
        <p:spPr>
          <a:xfrm>
            <a:off x="522890" y="1196752"/>
            <a:ext cx="8229600" cy="4525963"/>
          </a:xfrm>
        </p:spPr>
        <p:txBody>
          <a:bodyPr>
            <a:normAutofit lnSpcReduction="10000"/>
          </a:bodyPr>
          <a:lstStyle/>
          <a:p>
            <a:r>
              <a:rPr lang="en-US" sz="2400" dirty="0"/>
              <a:t>Podemos </a:t>
            </a:r>
            <a:r>
              <a:rPr lang="en-US" sz="2400" dirty="0" err="1"/>
              <a:t>representar</a:t>
            </a:r>
            <a:r>
              <a:rPr lang="en-US" sz="2400" dirty="0"/>
              <a:t> </a:t>
            </a:r>
            <a:r>
              <a:rPr lang="en-US" sz="2400" dirty="0" err="1"/>
              <a:t>os</a:t>
            </a:r>
            <a:r>
              <a:rPr lang="en-US" sz="2400" dirty="0"/>
              <a:t> strings de </a:t>
            </a:r>
            <a:r>
              <a:rPr lang="en-US" sz="2400" dirty="0" err="1"/>
              <a:t>resposta</a:t>
            </a:r>
            <a:r>
              <a:rPr lang="en-US" sz="2400" dirty="0"/>
              <a:t> </a:t>
            </a:r>
            <a:r>
              <a:rPr lang="en-US" sz="2400" dirty="0" err="1"/>
              <a:t>em</a:t>
            </a:r>
            <a:r>
              <a:rPr lang="en-US" sz="2400" dirty="0"/>
              <a:t> </a:t>
            </a:r>
            <a:r>
              <a:rPr lang="en-US" sz="2400" dirty="0" err="1"/>
              <a:t>formato</a:t>
            </a:r>
            <a:r>
              <a:rPr lang="en-US" sz="2400" dirty="0"/>
              <a:t> de </a:t>
            </a:r>
            <a:r>
              <a:rPr lang="en-US" sz="2400" dirty="0" err="1"/>
              <a:t>Caderno</a:t>
            </a:r>
            <a:r>
              <a:rPr lang="en-US" sz="2400" dirty="0"/>
              <a:t> (FORM) </a:t>
            </a:r>
            <a:r>
              <a:rPr lang="en-US" sz="2400" dirty="0" err="1"/>
              <a:t>ou</a:t>
            </a:r>
            <a:r>
              <a:rPr lang="en-US" sz="2400" dirty="0"/>
              <a:t> </a:t>
            </a:r>
            <a:r>
              <a:rPr lang="en-US" sz="2400" dirty="0" err="1"/>
              <a:t>formato</a:t>
            </a:r>
            <a:r>
              <a:rPr lang="en-US" sz="2400" dirty="0"/>
              <a:t> </a:t>
            </a:r>
            <a:r>
              <a:rPr lang="en-US" sz="2400" dirty="0" err="1"/>
              <a:t>Aberto</a:t>
            </a:r>
            <a:r>
              <a:rPr lang="en-US" sz="2400" dirty="0"/>
              <a:t>. No </a:t>
            </a:r>
            <a:r>
              <a:rPr lang="en-US" sz="2400" dirty="0" err="1"/>
              <a:t>primeiro</a:t>
            </a:r>
            <a:r>
              <a:rPr lang="en-US" sz="2400" dirty="0"/>
              <a:t> </a:t>
            </a:r>
            <a:r>
              <a:rPr lang="en-US" sz="2400" dirty="0" err="1"/>
              <a:t>temos</a:t>
            </a:r>
            <a:r>
              <a:rPr lang="en-US" sz="2400" dirty="0"/>
              <a:t> que </a:t>
            </a:r>
            <a:r>
              <a:rPr lang="en-US" sz="2400" dirty="0" err="1"/>
              <a:t>informar</a:t>
            </a:r>
            <a:r>
              <a:rPr lang="en-US" sz="2400" dirty="0"/>
              <a:t> </a:t>
            </a:r>
            <a:r>
              <a:rPr lang="en-US" sz="2400" dirty="0" err="1"/>
              <a:t>qual</a:t>
            </a:r>
            <a:r>
              <a:rPr lang="en-US" sz="2400" dirty="0"/>
              <a:t> </a:t>
            </a:r>
            <a:r>
              <a:rPr lang="en-US" sz="2400" dirty="0" err="1"/>
              <a:t>caderno</a:t>
            </a:r>
            <a:r>
              <a:rPr lang="en-US" sz="2400" dirty="0"/>
              <a:t> </a:t>
            </a:r>
            <a:r>
              <a:rPr lang="en-US" sz="2400" dirty="0" err="1"/>
              <a:t>cada</a:t>
            </a:r>
            <a:r>
              <a:rPr lang="en-US" sz="2400" dirty="0"/>
              <a:t> </a:t>
            </a:r>
            <a:r>
              <a:rPr lang="en-US" sz="2400" dirty="0" err="1"/>
              <a:t>aluno</a:t>
            </a:r>
            <a:r>
              <a:rPr lang="en-US" sz="2400" dirty="0"/>
              <a:t> </a:t>
            </a:r>
            <a:r>
              <a:rPr lang="en-US" sz="2400" dirty="0" err="1"/>
              <a:t>respondeu</a:t>
            </a:r>
            <a:r>
              <a:rPr lang="en-US" sz="2400" dirty="0"/>
              <a:t>, e </a:t>
            </a:r>
            <a:r>
              <a:rPr lang="en-US" sz="2400" dirty="0" err="1"/>
              <a:t>qual</a:t>
            </a:r>
            <a:r>
              <a:rPr lang="en-US" sz="2400" dirty="0"/>
              <a:t> o </a:t>
            </a:r>
            <a:r>
              <a:rPr lang="en-US" sz="2400" dirty="0" err="1"/>
              <a:t>respectivo</a:t>
            </a:r>
            <a:r>
              <a:rPr lang="en-US" sz="2400" dirty="0"/>
              <a:t> </a:t>
            </a:r>
            <a:r>
              <a:rPr lang="en-US" sz="2400" dirty="0" err="1"/>
              <a:t>gabarito</a:t>
            </a:r>
            <a:r>
              <a:rPr lang="en-US" sz="2400" dirty="0"/>
              <a:t>. No Segundo </a:t>
            </a:r>
            <a:r>
              <a:rPr lang="en-US" sz="2400" dirty="0" err="1"/>
              <a:t>temos</a:t>
            </a:r>
            <a:r>
              <a:rPr lang="en-US" sz="2400" dirty="0"/>
              <a:t> que </a:t>
            </a:r>
            <a:r>
              <a:rPr lang="en-US" sz="2400" dirty="0" err="1"/>
              <a:t>colocar</a:t>
            </a:r>
            <a:r>
              <a:rPr lang="en-US" sz="2400" dirty="0"/>
              <a:t> 9 </a:t>
            </a:r>
            <a:r>
              <a:rPr lang="en-US" sz="2400" dirty="0" err="1"/>
              <a:t>indicando</a:t>
            </a:r>
            <a:r>
              <a:rPr lang="en-US" sz="2400" dirty="0"/>
              <a:t> que o item é </a:t>
            </a:r>
            <a:r>
              <a:rPr lang="en-US" sz="2400" dirty="0" err="1"/>
              <a:t>Não</a:t>
            </a:r>
            <a:r>
              <a:rPr lang="en-US" sz="2400" dirty="0"/>
              <a:t> </a:t>
            </a:r>
            <a:r>
              <a:rPr lang="en-US" sz="2400" dirty="0" err="1"/>
              <a:t>Apresentado</a:t>
            </a:r>
            <a:r>
              <a:rPr lang="en-US" sz="2400" dirty="0"/>
              <a:t> (no R </a:t>
            </a:r>
            <a:r>
              <a:rPr lang="en-US" sz="2400" dirty="0" err="1"/>
              <a:t>pode</a:t>
            </a:r>
            <a:r>
              <a:rPr lang="en-US" sz="2400" dirty="0"/>
              <a:t> </a:t>
            </a:r>
            <a:r>
              <a:rPr lang="en-US" sz="2400" dirty="0" err="1"/>
              <a:t>ser</a:t>
            </a:r>
            <a:r>
              <a:rPr lang="en-US" sz="2400"/>
              <a:t> Missing, NA).</a:t>
            </a:r>
            <a:endParaRPr lang="en-US" sz="2400" dirty="0"/>
          </a:p>
          <a:p>
            <a:r>
              <a:rPr lang="en-US" sz="2400" dirty="0"/>
              <a:t>Por </a:t>
            </a:r>
            <a:r>
              <a:rPr lang="en-US" sz="2400" dirty="0" err="1"/>
              <a:t>exemplo</a:t>
            </a:r>
            <a:r>
              <a:rPr lang="en-US" sz="2400" dirty="0"/>
              <a:t>, no SisPAE (AF/EM) </a:t>
            </a:r>
            <a:r>
              <a:rPr lang="en-US" sz="2400" dirty="0" err="1"/>
              <a:t>temos</a:t>
            </a:r>
            <a:r>
              <a:rPr lang="en-US" sz="2400" dirty="0"/>
              <a:t> 91 </a:t>
            </a:r>
            <a:r>
              <a:rPr lang="en-US" sz="2400" dirty="0" err="1"/>
              <a:t>itens</a:t>
            </a:r>
            <a:r>
              <a:rPr lang="en-US" sz="2400" dirty="0"/>
              <a:t>, mas </a:t>
            </a:r>
            <a:r>
              <a:rPr lang="en-US" sz="2400" dirty="0" err="1"/>
              <a:t>cada</a:t>
            </a:r>
            <a:r>
              <a:rPr lang="en-US" sz="2400" dirty="0"/>
              <a:t> </a:t>
            </a:r>
            <a:r>
              <a:rPr lang="en-US" sz="2400" dirty="0" err="1"/>
              <a:t>aluno</a:t>
            </a:r>
            <a:r>
              <a:rPr lang="en-US" sz="2400" dirty="0"/>
              <a:t> </a:t>
            </a:r>
            <a:r>
              <a:rPr lang="en-US" sz="2400" dirty="0" err="1"/>
              <a:t>só</a:t>
            </a:r>
            <a:r>
              <a:rPr lang="en-US" sz="2400" dirty="0"/>
              <a:t> </a:t>
            </a:r>
            <a:r>
              <a:rPr lang="en-US" sz="2400" dirty="0" err="1"/>
              <a:t>responde</a:t>
            </a:r>
            <a:r>
              <a:rPr lang="en-US" sz="2400" dirty="0"/>
              <a:t> a 26 </a:t>
            </a:r>
            <a:r>
              <a:rPr lang="en-US" sz="2400" dirty="0" err="1"/>
              <a:t>itens</a:t>
            </a:r>
            <a:r>
              <a:rPr lang="en-US" sz="2400" dirty="0"/>
              <a:t> de </a:t>
            </a:r>
            <a:r>
              <a:rPr lang="en-US" sz="2400" dirty="0" err="1"/>
              <a:t>cada</a:t>
            </a:r>
            <a:r>
              <a:rPr lang="en-US" sz="2400" dirty="0"/>
              <a:t> </a:t>
            </a:r>
            <a:r>
              <a:rPr lang="en-US" sz="2400" dirty="0" err="1"/>
              <a:t>área</a:t>
            </a:r>
            <a:r>
              <a:rPr lang="en-US" sz="2400" dirty="0"/>
              <a:t> (2 </a:t>
            </a:r>
            <a:r>
              <a:rPr lang="en-US" sz="2400" dirty="0" err="1"/>
              <a:t>blocos</a:t>
            </a:r>
            <a:r>
              <a:rPr lang="en-US" sz="2400" dirty="0"/>
              <a:t> de 13 </a:t>
            </a:r>
            <a:r>
              <a:rPr lang="en-US" sz="2400" dirty="0" err="1"/>
              <a:t>itens</a:t>
            </a:r>
            <a:r>
              <a:rPr lang="en-US" sz="2400" dirty="0"/>
              <a:t> </a:t>
            </a:r>
            <a:r>
              <a:rPr lang="en-US" sz="2400" dirty="0" err="1"/>
              <a:t>cada</a:t>
            </a:r>
            <a:r>
              <a:rPr lang="en-US" sz="2400" dirty="0"/>
              <a:t>). </a:t>
            </a:r>
            <a:r>
              <a:rPr lang="en-US" sz="2400" dirty="0" err="1"/>
              <a:t>Os</a:t>
            </a:r>
            <a:r>
              <a:rPr lang="en-US" sz="2400" dirty="0"/>
              <a:t> </a:t>
            </a:r>
            <a:r>
              <a:rPr lang="en-US" sz="2400" dirty="0" err="1"/>
              <a:t>alunos</a:t>
            </a:r>
            <a:r>
              <a:rPr lang="en-US" sz="2400" dirty="0"/>
              <a:t> que </a:t>
            </a:r>
            <a:r>
              <a:rPr lang="en-US" sz="2400" dirty="0" err="1"/>
              <a:t>respondam</a:t>
            </a:r>
            <a:r>
              <a:rPr lang="en-US" sz="2400" dirty="0"/>
              <a:t> </a:t>
            </a:r>
            <a:r>
              <a:rPr lang="en-US" sz="2400" dirty="0" err="1"/>
              <a:t>ao</a:t>
            </a:r>
            <a:r>
              <a:rPr lang="en-US" sz="2400" dirty="0"/>
              <a:t> </a:t>
            </a:r>
            <a:r>
              <a:rPr lang="en-US" sz="2400" dirty="0" err="1"/>
              <a:t>Caderno</a:t>
            </a:r>
            <a:r>
              <a:rPr lang="en-US" sz="2400" dirty="0"/>
              <a:t> 14 (B1 e B3).</a:t>
            </a:r>
          </a:p>
          <a:p>
            <a:r>
              <a:rPr lang="en-US" sz="2400" dirty="0" err="1"/>
              <a:t>Exemplo</a:t>
            </a:r>
            <a:r>
              <a:rPr lang="en-US" sz="2400" dirty="0"/>
              <a:t> de Base de Dados:</a:t>
            </a:r>
          </a:p>
          <a:p>
            <a:r>
              <a:rPr lang="en-US" sz="1600" b="1" dirty="0" err="1"/>
              <a:t>Caderno</a:t>
            </a:r>
            <a:r>
              <a:rPr lang="en-US" sz="1600" b="1" dirty="0"/>
              <a:t>: </a:t>
            </a:r>
            <a:r>
              <a:rPr lang="en-US" sz="1600" dirty="0"/>
              <a:t>0001 1 ABCDEABCDEABCDEABCDEABCDEA</a:t>
            </a:r>
          </a:p>
          <a:p>
            <a:r>
              <a:rPr lang="en-US" sz="1600" b="1" dirty="0" err="1"/>
              <a:t>Aberto</a:t>
            </a:r>
            <a:r>
              <a:rPr lang="en-US" sz="1600" b="1" dirty="0"/>
              <a:t>: </a:t>
            </a:r>
            <a:r>
              <a:rPr lang="en-US" sz="1600" dirty="0"/>
              <a:t>   0001    ABCDEABCDEABC9999999999999DEABCDEABCDEA9999999999999….</a:t>
            </a:r>
          </a:p>
          <a:p>
            <a:endParaRPr lang="en-US" sz="2400" dirty="0"/>
          </a:p>
        </p:txBody>
      </p:sp>
    </p:spTree>
    <p:extLst>
      <p:ext uri="{BB962C8B-B14F-4D97-AF65-F5344CB8AC3E}">
        <p14:creationId xmlns:p14="http://schemas.microsoft.com/office/powerpoint/2010/main" val="326667641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16161D-E720-4A8C-9628-99B6ADE647BE}"/>
              </a:ext>
            </a:extLst>
          </p:cNvPr>
          <p:cNvSpPr>
            <a:spLocks noGrp="1"/>
          </p:cNvSpPr>
          <p:nvPr>
            <p:ph type="title"/>
          </p:nvPr>
        </p:nvSpPr>
        <p:spPr/>
        <p:txBody>
          <a:bodyPr/>
          <a:lstStyle/>
          <a:p>
            <a:r>
              <a:rPr lang="en-US" dirty="0"/>
              <a:t>MIRT (R Project)</a:t>
            </a:r>
          </a:p>
        </p:txBody>
      </p:sp>
      <p:sp>
        <p:nvSpPr>
          <p:cNvPr id="3" name="Espaço Reservado para Conteúdo 2">
            <a:extLst>
              <a:ext uri="{FF2B5EF4-FFF2-40B4-BE49-F238E27FC236}">
                <a16:creationId xmlns:a16="http://schemas.microsoft.com/office/drawing/2014/main" id="{615766FE-888D-4813-AE69-E700088EBD37}"/>
              </a:ext>
            </a:extLst>
          </p:cNvPr>
          <p:cNvSpPr>
            <a:spLocks noGrp="1"/>
          </p:cNvSpPr>
          <p:nvPr>
            <p:ph idx="1"/>
          </p:nvPr>
        </p:nvSpPr>
        <p:spPr/>
        <p:txBody>
          <a:bodyPr>
            <a:normAutofit/>
          </a:bodyPr>
          <a:lstStyle/>
          <a:p>
            <a:r>
              <a:rPr lang="en-US" sz="2800" dirty="0"/>
              <a:t>O MIRT é um dos </a:t>
            </a:r>
            <a:r>
              <a:rPr lang="en-US" sz="2800" dirty="0" err="1"/>
              <a:t>melhores</a:t>
            </a:r>
            <a:r>
              <a:rPr lang="en-US" sz="2800" dirty="0"/>
              <a:t> </a:t>
            </a:r>
            <a:r>
              <a:rPr lang="en-US" sz="2800" dirty="0" err="1"/>
              <a:t>pacores</a:t>
            </a:r>
            <a:r>
              <a:rPr lang="en-US" sz="2800" dirty="0"/>
              <a:t> da </a:t>
            </a:r>
            <a:r>
              <a:rPr lang="en-US" sz="2800" dirty="0" err="1"/>
              <a:t>atualidade</a:t>
            </a:r>
            <a:r>
              <a:rPr lang="en-US" sz="2800" dirty="0"/>
              <a:t> e </a:t>
            </a:r>
            <a:r>
              <a:rPr lang="en-US" sz="2800" dirty="0" err="1"/>
              <a:t>está</a:t>
            </a:r>
            <a:r>
              <a:rPr lang="en-US" sz="2800" dirty="0"/>
              <a:t> </a:t>
            </a:r>
            <a:r>
              <a:rPr lang="en-US" sz="2800" dirty="0" err="1"/>
              <a:t>sendo</a:t>
            </a:r>
            <a:r>
              <a:rPr lang="en-US" sz="2800" dirty="0"/>
              <a:t> </a:t>
            </a:r>
            <a:r>
              <a:rPr lang="en-US" sz="2800" dirty="0" err="1"/>
              <a:t>frequentemente</a:t>
            </a:r>
            <a:r>
              <a:rPr lang="en-US" sz="2800" dirty="0"/>
              <a:t> </a:t>
            </a:r>
            <a:r>
              <a:rPr lang="en-US" sz="2800" dirty="0" err="1"/>
              <a:t>atualizado</a:t>
            </a:r>
            <a:r>
              <a:rPr lang="en-US" sz="2800" dirty="0"/>
              <a:t>.</a:t>
            </a:r>
          </a:p>
          <a:p>
            <a:r>
              <a:rPr lang="en-US" sz="2800" dirty="0"/>
              <a:t>MIRT = </a:t>
            </a:r>
            <a:r>
              <a:rPr lang="en-US" sz="2800" dirty="0" err="1"/>
              <a:t>Multimensional</a:t>
            </a:r>
            <a:r>
              <a:rPr lang="en-US" sz="2800" dirty="0"/>
              <a:t> Item </a:t>
            </a:r>
            <a:r>
              <a:rPr lang="en-US" sz="2800" dirty="0" err="1"/>
              <a:t>Respone</a:t>
            </a:r>
            <a:r>
              <a:rPr lang="en-US" sz="2800" dirty="0"/>
              <a:t> Theory (Teoria da </a:t>
            </a:r>
            <a:r>
              <a:rPr lang="en-US" sz="2800" dirty="0" err="1"/>
              <a:t>Resposta</a:t>
            </a:r>
            <a:r>
              <a:rPr lang="en-US" sz="2800" dirty="0"/>
              <a:t> </a:t>
            </a:r>
            <a:r>
              <a:rPr lang="en-US" sz="2800" dirty="0" err="1"/>
              <a:t>ao</a:t>
            </a:r>
            <a:r>
              <a:rPr lang="en-US" sz="2800" dirty="0"/>
              <a:t> Item </a:t>
            </a:r>
            <a:r>
              <a:rPr lang="en-US" sz="2800" dirty="0" err="1"/>
              <a:t>Multimensional</a:t>
            </a:r>
            <a:r>
              <a:rPr lang="en-US" sz="2800" dirty="0"/>
              <a:t>)</a:t>
            </a:r>
          </a:p>
          <a:p>
            <a:r>
              <a:rPr lang="en-US" sz="2800" dirty="0"/>
              <a:t>A </a:t>
            </a:r>
            <a:r>
              <a:rPr lang="en-US" sz="2800" dirty="0" err="1"/>
              <a:t>habilidade</a:t>
            </a:r>
            <a:r>
              <a:rPr lang="en-US" sz="2800" dirty="0"/>
              <a:t> (</a:t>
            </a:r>
            <a:r>
              <a:rPr lang="el-GR" sz="2800" dirty="0"/>
              <a:t>θ</a:t>
            </a:r>
            <a:r>
              <a:rPr lang="en-US" sz="2800" dirty="0"/>
              <a:t>) agora é um </a:t>
            </a:r>
            <a:r>
              <a:rPr lang="en-US" sz="2800" dirty="0" err="1"/>
              <a:t>vetor</a:t>
            </a:r>
            <a:r>
              <a:rPr lang="en-US" sz="2800" dirty="0"/>
              <a:t> </a:t>
            </a:r>
            <a:r>
              <a:rPr lang="el-GR" sz="2800" dirty="0"/>
              <a:t>Θ</a:t>
            </a:r>
            <a:r>
              <a:rPr lang="en-US" sz="2800" dirty="0"/>
              <a:t>=(</a:t>
            </a:r>
            <a:r>
              <a:rPr lang="el-GR" sz="2800" dirty="0"/>
              <a:t>θ</a:t>
            </a:r>
            <a:r>
              <a:rPr lang="en-US" sz="2800" baseline="-25000" dirty="0"/>
              <a:t>1</a:t>
            </a:r>
            <a:r>
              <a:rPr lang="en-US" sz="2800" dirty="0"/>
              <a:t>,</a:t>
            </a:r>
            <a:r>
              <a:rPr lang="el-GR" sz="2800" dirty="0"/>
              <a:t> θ</a:t>
            </a:r>
            <a:r>
              <a:rPr lang="en-US" sz="2800" baseline="-25000" dirty="0"/>
              <a:t>2 </a:t>
            </a:r>
            <a:r>
              <a:rPr lang="en-US" sz="2800" dirty="0"/>
              <a:t>…,</a:t>
            </a:r>
            <a:r>
              <a:rPr lang="el-GR" sz="2800" dirty="0"/>
              <a:t> θ</a:t>
            </a:r>
            <a:r>
              <a:rPr lang="en-US" sz="2800" baseline="-25000" dirty="0"/>
              <a:t>K</a:t>
            </a:r>
            <a:r>
              <a:rPr lang="en-US" sz="2800" dirty="0"/>
              <a:t>)</a:t>
            </a:r>
          </a:p>
          <a:p>
            <a:r>
              <a:rPr lang="en-US" sz="2800" dirty="0" err="1"/>
              <a:t>Também</a:t>
            </a:r>
            <a:r>
              <a:rPr lang="en-US" sz="2800" dirty="0"/>
              <a:t> serve para o </a:t>
            </a:r>
            <a:r>
              <a:rPr lang="en-US" sz="2800" dirty="0" err="1"/>
              <a:t>caso</a:t>
            </a:r>
            <a:r>
              <a:rPr lang="en-US" sz="2800" dirty="0"/>
              <a:t> unidimensional.</a:t>
            </a:r>
          </a:p>
        </p:txBody>
      </p:sp>
    </p:spTree>
    <p:extLst>
      <p:ext uri="{BB962C8B-B14F-4D97-AF65-F5344CB8AC3E}">
        <p14:creationId xmlns:p14="http://schemas.microsoft.com/office/powerpoint/2010/main" val="9372002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099EFB7-F01F-42D6-972D-EC26F922D54B}"/>
              </a:ext>
            </a:extLst>
          </p:cNvPr>
          <p:cNvSpPr>
            <a:spLocks noGrp="1"/>
          </p:cNvSpPr>
          <p:nvPr>
            <p:ph type="title"/>
          </p:nvPr>
        </p:nvSpPr>
        <p:spPr/>
        <p:txBody>
          <a:bodyPr/>
          <a:lstStyle/>
          <a:p>
            <a:r>
              <a:rPr lang="en-US" dirty="0"/>
              <a:t>MIRT</a:t>
            </a:r>
          </a:p>
        </p:txBody>
      </p:sp>
      <p:sp>
        <p:nvSpPr>
          <p:cNvPr id="3" name="Espaço Reservado para Conteúdo 2">
            <a:extLst>
              <a:ext uri="{FF2B5EF4-FFF2-40B4-BE49-F238E27FC236}">
                <a16:creationId xmlns:a16="http://schemas.microsoft.com/office/drawing/2014/main" id="{E6DBFA0A-3B8E-4CE6-B186-1C473565ABD0}"/>
              </a:ext>
            </a:extLst>
          </p:cNvPr>
          <p:cNvSpPr>
            <a:spLocks noGrp="1"/>
          </p:cNvSpPr>
          <p:nvPr>
            <p:ph idx="1"/>
          </p:nvPr>
        </p:nvSpPr>
        <p:spPr>
          <a:xfrm>
            <a:off x="522890" y="3140968"/>
            <a:ext cx="8225574" cy="3085803"/>
          </a:xfrm>
        </p:spPr>
        <p:txBody>
          <a:bodyPr/>
          <a:lstStyle/>
          <a:p>
            <a:r>
              <a:rPr lang="en-US" dirty="0" err="1"/>
              <a:t>install.packages</a:t>
            </a:r>
            <a:r>
              <a:rPr lang="en-US" dirty="0"/>
              <a:t>("</a:t>
            </a:r>
            <a:r>
              <a:rPr lang="en-US" dirty="0" err="1"/>
              <a:t>mirt</a:t>
            </a:r>
            <a:r>
              <a:rPr lang="en-US" dirty="0"/>
              <a:t>"); library(</a:t>
            </a:r>
            <a:r>
              <a:rPr lang="en-US" dirty="0" err="1"/>
              <a:t>mirt</a:t>
            </a:r>
            <a:r>
              <a:rPr lang="en-US" dirty="0"/>
              <a:t>) </a:t>
            </a:r>
          </a:p>
          <a:p>
            <a:r>
              <a:rPr lang="en-US" dirty="0"/>
              <a:t>mirt.3PL = </a:t>
            </a:r>
            <a:r>
              <a:rPr lang="en-US" dirty="0" err="1"/>
              <a:t>mirt</a:t>
            </a:r>
            <a:r>
              <a:rPr lang="en-US" dirty="0"/>
              <a:t>(Dados, 1, </a:t>
            </a:r>
            <a:r>
              <a:rPr lang="en-US" dirty="0" err="1"/>
              <a:t>itemtype</a:t>
            </a:r>
            <a:r>
              <a:rPr lang="en-US" dirty="0"/>
              <a:t> = '3PL’)</a:t>
            </a:r>
          </a:p>
          <a:p>
            <a:r>
              <a:rPr lang="en-US" dirty="0"/>
              <a:t>par=</a:t>
            </a:r>
            <a:r>
              <a:rPr lang="en-US" dirty="0" err="1"/>
              <a:t>coef</a:t>
            </a:r>
            <a:r>
              <a:rPr lang="en-US" dirty="0"/>
              <a:t>(mirt.</a:t>
            </a:r>
            <a:r>
              <a:rPr lang="en-US"/>
              <a:t>3PL,simplify</a:t>
            </a:r>
            <a:r>
              <a:rPr lang="en-US" dirty="0"/>
              <a:t>=TRUE)$items[,</a:t>
            </a:r>
            <a:r>
              <a:rPr lang="en-US"/>
              <a:t>1:3]</a:t>
            </a:r>
            <a:endParaRPr lang="en-US" dirty="0"/>
          </a:p>
        </p:txBody>
      </p:sp>
      <p:sp>
        <p:nvSpPr>
          <p:cNvPr id="4" name="Rectangle 2">
            <a:extLst>
              <a:ext uri="{FF2B5EF4-FFF2-40B4-BE49-F238E27FC236}">
                <a16:creationId xmlns:a16="http://schemas.microsoft.com/office/drawing/2014/main" id="{D568547D-CE5B-4A3B-ADF7-2F79A2303430}"/>
              </a:ext>
            </a:extLst>
          </p:cNvPr>
          <p:cNvSpPr>
            <a:spLocks noChangeArrowheads="1"/>
          </p:cNvSpPr>
          <p:nvPr/>
        </p:nvSpPr>
        <p:spPr bwMode="auto">
          <a:xfrm>
            <a:off x="1907704" y="1340768"/>
            <a:ext cx="4860032" cy="556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Objeto 4">
            <a:extLst>
              <a:ext uri="{FF2B5EF4-FFF2-40B4-BE49-F238E27FC236}">
                <a16:creationId xmlns:a16="http://schemas.microsoft.com/office/drawing/2014/main" id="{73A10090-109A-427C-B8A2-3E0614245ADE}"/>
              </a:ext>
            </a:extLst>
          </p:cNvPr>
          <p:cNvGraphicFramePr>
            <a:graphicFrameLocks noChangeAspect="1"/>
          </p:cNvGraphicFramePr>
          <p:nvPr>
            <p:extLst>
              <p:ext uri="{D42A27DB-BD31-4B8C-83A1-F6EECF244321}">
                <p14:modId xmlns:p14="http://schemas.microsoft.com/office/powerpoint/2010/main" val="99615617"/>
              </p:ext>
            </p:extLst>
          </p:nvPr>
        </p:nvGraphicFramePr>
        <p:xfrm>
          <a:off x="3491880" y="2091881"/>
          <a:ext cx="4827618" cy="768643"/>
        </p:xfrm>
        <a:graphic>
          <a:graphicData uri="http://schemas.openxmlformats.org/presentationml/2006/ole">
            <mc:AlternateContent xmlns:mc="http://schemas.openxmlformats.org/markup-compatibility/2006">
              <mc:Choice xmlns:v="urn:schemas-microsoft-com:vml" Requires="v">
                <p:oleObj spid="_x0000_s22530" name="Equation" r:id="rId3" imgW="2590800" imgH="406400" progId="Equation.DSMT4">
                  <p:embed/>
                </p:oleObj>
              </mc:Choice>
              <mc:Fallback>
                <p:oleObj name="Equation" r:id="rId3" imgW="2590800" imgH="406400" progId="Equation.DSMT4">
                  <p:embed/>
                  <p:pic>
                    <p:nvPicPr>
                      <p:cNvPr id="5" name="Objeto 4">
                        <a:extLst>
                          <a:ext uri="{FF2B5EF4-FFF2-40B4-BE49-F238E27FC236}">
                            <a16:creationId xmlns:a16="http://schemas.microsoft.com/office/drawing/2014/main" id="{73A10090-109A-427C-B8A2-3E0614245A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1880" y="2091881"/>
                        <a:ext cx="4827618" cy="768643"/>
                      </a:xfrm>
                      <a:prstGeom prst="rect">
                        <a:avLst/>
                      </a:prstGeom>
                      <a:noFill/>
                    </p:spPr>
                  </p:pic>
                </p:oleObj>
              </mc:Fallback>
            </mc:AlternateContent>
          </a:graphicData>
        </a:graphic>
      </p:graphicFrame>
      <p:sp>
        <p:nvSpPr>
          <p:cNvPr id="7" name="CaixaDeTexto 6">
            <a:extLst>
              <a:ext uri="{FF2B5EF4-FFF2-40B4-BE49-F238E27FC236}">
                <a16:creationId xmlns:a16="http://schemas.microsoft.com/office/drawing/2014/main" id="{DB0074BD-941F-417A-8F9A-CB7BE0BA72DF}"/>
              </a:ext>
            </a:extLst>
          </p:cNvPr>
          <p:cNvSpPr txBox="1"/>
          <p:nvPr/>
        </p:nvSpPr>
        <p:spPr>
          <a:xfrm>
            <a:off x="436180" y="1124744"/>
            <a:ext cx="1831564" cy="369332"/>
          </a:xfrm>
          <a:prstGeom prst="rect">
            <a:avLst/>
          </a:prstGeom>
          <a:noFill/>
        </p:spPr>
        <p:txBody>
          <a:bodyPr wrap="square" rtlCol="0">
            <a:spAutoFit/>
          </a:bodyPr>
          <a:lstStyle/>
          <a:p>
            <a:r>
              <a:rPr lang="en-US" dirty="0"/>
              <a:t>Unidimensional:</a:t>
            </a:r>
          </a:p>
        </p:txBody>
      </p:sp>
      <p:sp>
        <p:nvSpPr>
          <p:cNvPr id="8" name="CaixaDeTexto 7">
            <a:extLst>
              <a:ext uri="{FF2B5EF4-FFF2-40B4-BE49-F238E27FC236}">
                <a16:creationId xmlns:a16="http://schemas.microsoft.com/office/drawing/2014/main" id="{A5F80D9E-19FD-4192-AE29-1F44F8E92676}"/>
              </a:ext>
            </a:extLst>
          </p:cNvPr>
          <p:cNvSpPr txBox="1"/>
          <p:nvPr/>
        </p:nvSpPr>
        <p:spPr>
          <a:xfrm>
            <a:off x="417690" y="2139036"/>
            <a:ext cx="2138085" cy="369332"/>
          </a:xfrm>
          <a:prstGeom prst="rect">
            <a:avLst/>
          </a:prstGeom>
          <a:noFill/>
        </p:spPr>
        <p:txBody>
          <a:bodyPr wrap="square" rtlCol="0">
            <a:spAutoFit/>
          </a:bodyPr>
          <a:lstStyle/>
          <a:p>
            <a:r>
              <a:rPr lang="en-US" dirty="0"/>
              <a:t>Multidimensional:</a:t>
            </a:r>
          </a:p>
        </p:txBody>
      </p:sp>
      <p:graphicFrame>
        <p:nvGraphicFramePr>
          <p:cNvPr id="9" name="Objeto 8">
            <a:extLst>
              <a:ext uri="{FF2B5EF4-FFF2-40B4-BE49-F238E27FC236}">
                <a16:creationId xmlns:a16="http://schemas.microsoft.com/office/drawing/2014/main" id="{AAF72E91-9F82-45A0-8CA4-ABE3F292B1CB}"/>
              </a:ext>
            </a:extLst>
          </p:cNvPr>
          <p:cNvGraphicFramePr>
            <a:graphicFrameLocks noChangeAspect="1"/>
          </p:cNvGraphicFramePr>
          <p:nvPr>
            <p:extLst>
              <p:ext uri="{D42A27DB-BD31-4B8C-83A1-F6EECF244321}">
                <p14:modId xmlns:p14="http://schemas.microsoft.com/office/powerpoint/2010/main" val="3928170840"/>
              </p:ext>
            </p:extLst>
          </p:nvPr>
        </p:nvGraphicFramePr>
        <p:xfrm>
          <a:off x="3491880" y="1091532"/>
          <a:ext cx="3003238" cy="699512"/>
        </p:xfrm>
        <a:graphic>
          <a:graphicData uri="http://schemas.openxmlformats.org/presentationml/2006/ole">
            <mc:AlternateContent xmlns:mc="http://schemas.openxmlformats.org/markup-compatibility/2006">
              <mc:Choice xmlns:v="urn:schemas-microsoft-com:vml" Requires="v">
                <p:oleObj spid="_x0000_s22531" name="Equation" r:id="rId5" imgW="1739880" imgH="406080" progId="Equation.DSMT4">
                  <p:embed/>
                </p:oleObj>
              </mc:Choice>
              <mc:Fallback>
                <p:oleObj name="Equation" r:id="rId5" imgW="1739880" imgH="406080" progId="Equation.DSMT4">
                  <p:embed/>
                  <p:pic>
                    <p:nvPicPr>
                      <p:cNvPr id="9" name="Objeto 8">
                        <a:extLst>
                          <a:ext uri="{FF2B5EF4-FFF2-40B4-BE49-F238E27FC236}">
                            <a16:creationId xmlns:a16="http://schemas.microsoft.com/office/drawing/2014/main" id="{AAF72E91-9F82-45A0-8CA4-ABE3F292B1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91880" y="1091532"/>
                        <a:ext cx="3003238" cy="699512"/>
                      </a:xfrm>
                      <a:prstGeom prst="rect">
                        <a:avLst/>
                      </a:prstGeom>
                      <a:noFill/>
                      <a:ln>
                        <a:noFill/>
                      </a:ln>
                    </p:spPr>
                  </p:pic>
                </p:oleObj>
              </mc:Fallback>
            </mc:AlternateContent>
          </a:graphicData>
        </a:graphic>
      </p:graphicFrame>
      <p:sp>
        <p:nvSpPr>
          <p:cNvPr id="12" name="CaixaDeTexto 11">
            <a:extLst>
              <a:ext uri="{FF2B5EF4-FFF2-40B4-BE49-F238E27FC236}">
                <a16:creationId xmlns:a16="http://schemas.microsoft.com/office/drawing/2014/main" id="{DC585616-8AAC-49A8-9E5D-68AB2619AD32}"/>
              </a:ext>
            </a:extLst>
          </p:cNvPr>
          <p:cNvSpPr txBox="1"/>
          <p:nvPr/>
        </p:nvSpPr>
        <p:spPr>
          <a:xfrm>
            <a:off x="7302964" y="1558554"/>
            <a:ext cx="1080120" cy="369332"/>
          </a:xfrm>
          <a:prstGeom prst="rect">
            <a:avLst/>
          </a:prstGeom>
          <a:noFill/>
        </p:spPr>
        <p:txBody>
          <a:bodyPr wrap="square" rtlCol="0">
            <a:spAutoFit/>
          </a:bodyPr>
          <a:lstStyle/>
          <a:p>
            <a:r>
              <a:rPr lang="en-US" i="1" dirty="0"/>
              <a:t>d</a:t>
            </a:r>
            <a:r>
              <a:rPr lang="en-US" i="1" baseline="-25000" dirty="0"/>
              <a:t>i</a:t>
            </a:r>
            <a:r>
              <a:rPr lang="en-US" i="1" dirty="0"/>
              <a:t>=-</a:t>
            </a:r>
            <a:r>
              <a:rPr lang="en-US" i="1" dirty="0" err="1"/>
              <a:t>a</a:t>
            </a:r>
            <a:r>
              <a:rPr lang="en-US" i="1" baseline="-25000" dirty="0" err="1"/>
              <a:t>i</a:t>
            </a:r>
            <a:r>
              <a:rPr lang="en-US" i="1" dirty="0"/>
              <a:t> b</a:t>
            </a:r>
            <a:r>
              <a:rPr lang="en-US" i="1" baseline="-25000" dirty="0"/>
              <a:t>i</a:t>
            </a:r>
          </a:p>
        </p:txBody>
      </p:sp>
      <p:sp>
        <p:nvSpPr>
          <p:cNvPr id="13" name="CaixaDeTexto 12">
            <a:extLst>
              <a:ext uri="{FF2B5EF4-FFF2-40B4-BE49-F238E27FC236}">
                <a16:creationId xmlns:a16="http://schemas.microsoft.com/office/drawing/2014/main" id="{E84D2456-3914-4925-85E4-CC1FE6451818}"/>
              </a:ext>
            </a:extLst>
          </p:cNvPr>
          <p:cNvSpPr txBox="1"/>
          <p:nvPr/>
        </p:nvSpPr>
        <p:spPr>
          <a:xfrm>
            <a:off x="7164288" y="1091532"/>
            <a:ext cx="1674912" cy="369332"/>
          </a:xfrm>
          <a:prstGeom prst="rect">
            <a:avLst/>
          </a:prstGeom>
          <a:noFill/>
        </p:spPr>
        <p:txBody>
          <a:bodyPr wrap="square" rtlCol="0">
            <a:spAutoFit/>
          </a:bodyPr>
          <a:lstStyle/>
          <a:p>
            <a:r>
              <a:rPr lang="en-US" i="1" dirty="0" err="1"/>
              <a:t>a</a:t>
            </a:r>
            <a:r>
              <a:rPr lang="en-US" i="1" baseline="-25000" dirty="0" err="1"/>
              <a:t>i</a:t>
            </a:r>
            <a:r>
              <a:rPr lang="en-US" i="1" dirty="0"/>
              <a:t>(</a:t>
            </a:r>
            <a:r>
              <a:rPr lang="el-GR" dirty="0"/>
              <a:t>θ</a:t>
            </a:r>
            <a:r>
              <a:rPr lang="en-US" i="1" dirty="0"/>
              <a:t>-b</a:t>
            </a:r>
            <a:r>
              <a:rPr lang="en-US" i="1" baseline="-25000" dirty="0"/>
              <a:t>i</a:t>
            </a:r>
            <a:r>
              <a:rPr lang="en-US" i="1" dirty="0"/>
              <a:t>)=</a:t>
            </a:r>
            <a:r>
              <a:rPr lang="en-US" i="1" dirty="0" err="1"/>
              <a:t>a</a:t>
            </a:r>
            <a:r>
              <a:rPr lang="en-US" i="1" baseline="-25000" dirty="0" err="1"/>
              <a:t>i</a:t>
            </a:r>
            <a:r>
              <a:rPr lang="el-GR" i="1" dirty="0"/>
              <a:t> </a:t>
            </a:r>
            <a:r>
              <a:rPr lang="el-GR" dirty="0"/>
              <a:t>θ</a:t>
            </a:r>
            <a:r>
              <a:rPr lang="el-GR" i="1" dirty="0"/>
              <a:t> </a:t>
            </a:r>
            <a:r>
              <a:rPr lang="en-US" i="1" dirty="0"/>
              <a:t>+d</a:t>
            </a:r>
            <a:r>
              <a:rPr lang="en-US" i="1" baseline="-25000" dirty="0"/>
              <a:t>i</a:t>
            </a:r>
          </a:p>
        </p:txBody>
      </p:sp>
    </p:spTree>
    <p:extLst>
      <p:ext uri="{BB962C8B-B14F-4D97-AF65-F5344CB8AC3E}">
        <p14:creationId xmlns:p14="http://schemas.microsoft.com/office/powerpoint/2010/main" val="17976276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6CC93B-D241-48FF-947D-7BD91B1897D4}"/>
              </a:ext>
            </a:extLst>
          </p:cNvPr>
          <p:cNvSpPr>
            <a:spLocks noGrp="1"/>
          </p:cNvSpPr>
          <p:nvPr>
            <p:ph type="title"/>
          </p:nvPr>
        </p:nvSpPr>
        <p:spPr/>
        <p:txBody>
          <a:bodyPr/>
          <a:lstStyle/>
          <a:p>
            <a:r>
              <a:rPr lang="en-US" b="1" dirty="0" err="1"/>
              <a:t>Parametrização</a:t>
            </a:r>
            <a:r>
              <a:rPr lang="en-US" b="1" dirty="0"/>
              <a:t> e </a:t>
            </a:r>
            <a:r>
              <a:rPr lang="en-US" b="1" dirty="0" err="1"/>
              <a:t>Ciclos</a:t>
            </a:r>
            <a:r>
              <a:rPr lang="en-US" b="1" dirty="0"/>
              <a:t> EM</a:t>
            </a:r>
          </a:p>
        </p:txBody>
      </p:sp>
      <p:sp>
        <p:nvSpPr>
          <p:cNvPr id="3" name="Espaço Reservado para Conteúdo 2">
            <a:extLst>
              <a:ext uri="{FF2B5EF4-FFF2-40B4-BE49-F238E27FC236}">
                <a16:creationId xmlns:a16="http://schemas.microsoft.com/office/drawing/2014/main" id="{E217247A-1807-4B10-9370-FF537581B567}"/>
              </a:ext>
            </a:extLst>
          </p:cNvPr>
          <p:cNvSpPr>
            <a:spLocks noGrp="1"/>
          </p:cNvSpPr>
          <p:nvPr>
            <p:ph idx="1"/>
          </p:nvPr>
        </p:nvSpPr>
        <p:spPr/>
        <p:txBody>
          <a:bodyPr>
            <a:normAutofit/>
          </a:bodyPr>
          <a:lstStyle/>
          <a:p>
            <a:r>
              <a:rPr lang="en-US" sz="2400" dirty="0"/>
              <a:t>mirt.3PL = </a:t>
            </a:r>
            <a:r>
              <a:rPr lang="en-US" sz="2400" dirty="0" err="1"/>
              <a:t>mirt</a:t>
            </a:r>
            <a:r>
              <a:rPr lang="en-US" sz="2400" dirty="0"/>
              <a:t>(Dados, 1, </a:t>
            </a:r>
            <a:r>
              <a:rPr lang="en-US" sz="2400" dirty="0" err="1"/>
              <a:t>itemtype</a:t>
            </a:r>
            <a:r>
              <a:rPr lang="en-US" sz="2400" dirty="0"/>
              <a:t> = '3PL') #</a:t>
            </a:r>
          </a:p>
          <a:p>
            <a:r>
              <a:rPr lang="en-US" sz="2400" dirty="0"/>
              <a:t>PAR=</a:t>
            </a:r>
            <a:r>
              <a:rPr lang="en-US" sz="2400" dirty="0" err="1"/>
              <a:t>coef</a:t>
            </a:r>
            <a:r>
              <a:rPr lang="en-US" sz="2400" dirty="0"/>
              <a:t>(mirt.3PL, </a:t>
            </a:r>
            <a:r>
              <a:rPr lang="en-US" sz="2400" dirty="0" err="1"/>
              <a:t>IRTpars</a:t>
            </a:r>
            <a:r>
              <a:rPr lang="en-US" sz="2400" dirty="0"/>
              <a:t>=TRUE, simplify=TRUE)$items[,1:3] # </a:t>
            </a:r>
            <a:r>
              <a:rPr lang="en-US" sz="2400" dirty="0" err="1"/>
              <a:t>Estimacão</a:t>
            </a:r>
            <a:r>
              <a:rPr lang="en-US" sz="2400" dirty="0"/>
              <a:t> de (</a:t>
            </a:r>
            <a:r>
              <a:rPr lang="en-US" sz="2400" dirty="0" err="1"/>
              <a:t>a,b,c</a:t>
            </a:r>
            <a:r>
              <a:rPr lang="en-US" sz="2400" dirty="0"/>
              <a:t>)</a:t>
            </a:r>
          </a:p>
          <a:p>
            <a:r>
              <a:rPr lang="pt-BR" sz="2400" dirty="0" err="1"/>
              <a:t>profic</a:t>
            </a:r>
            <a:r>
              <a:rPr lang="pt-BR" sz="2400" dirty="0"/>
              <a:t> = </a:t>
            </a:r>
            <a:r>
              <a:rPr lang="pt-BR" sz="2400" dirty="0" err="1"/>
              <a:t>fscores</a:t>
            </a:r>
            <a:r>
              <a:rPr lang="pt-BR" sz="2400" dirty="0"/>
              <a:t>(mirt.3PL) #estimativas </a:t>
            </a:r>
            <a:r>
              <a:rPr lang="pt-BR" sz="2400"/>
              <a:t>das proficiências </a:t>
            </a:r>
            <a:r>
              <a:rPr lang="pt-BR" sz="2400" dirty="0"/>
              <a:t>individuais</a:t>
            </a:r>
          </a:p>
          <a:p>
            <a:pPr marL="0" indent="0">
              <a:buNone/>
            </a:pPr>
            <a:endParaRPr lang="pt-BR" sz="2400" dirty="0"/>
          </a:p>
          <a:p>
            <a:pPr marL="0" indent="0">
              <a:buNone/>
            </a:pPr>
            <a:r>
              <a:rPr lang="pt-BR" sz="2400" dirty="0"/>
              <a:t>Caso haja problemas de convergência, temos que aumentar o numero de ciclos EM usado no </a:t>
            </a:r>
            <a:r>
              <a:rPr lang="pt-BR" sz="2400" dirty="0" err="1"/>
              <a:t>mirt</a:t>
            </a:r>
            <a:r>
              <a:rPr lang="pt-BR" sz="2400" dirty="0"/>
              <a:t>:</a:t>
            </a:r>
          </a:p>
          <a:p>
            <a:r>
              <a:rPr lang="en-US" sz="2400" dirty="0"/>
              <a:t>mirt.3PL = </a:t>
            </a:r>
            <a:r>
              <a:rPr lang="en-US" sz="2400" dirty="0" err="1"/>
              <a:t>mirt</a:t>
            </a:r>
            <a:r>
              <a:rPr lang="en-US" sz="2400" dirty="0"/>
              <a:t>(Dados, 1, </a:t>
            </a:r>
            <a:r>
              <a:rPr lang="en-US" sz="2400" dirty="0" err="1"/>
              <a:t>itemtype</a:t>
            </a:r>
            <a:r>
              <a:rPr lang="en-US" sz="2400" dirty="0"/>
              <a:t> = '3PL', technical = list(NCYCLES = 2000))</a:t>
            </a:r>
          </a:p>
        </p:txBody>
      </p:sp>
    </p:spTree>
    <p:extLst>
      <p:ext uri="{BB962C8B-B14F-4D97-AF65-F5344CB8AC3E}">
        <p14:creationId xmlns:p14="http://schemas.microsoft.com/office/powerpoint/2010/main" val="18717627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p:cNvSpPr txBox="1">
            <a:spLocks/>
          </p:cNvSpPr>
          <p:nvPr/>
        </p:nvSpPr>
        <p:spPr>
          <a:xfrm>
            <a:off x="228600" y="3703704"/>
            <a:ext cx="8735888" cy="1325496"/>
          </a:xfrm>
          <a:prstGeom prst="rect">
            <a:avLst/>
          </a:prstGeom>
          <a:noFill/>
          <a:ln>
            <a:noFill/>
          </a:ln>
        </p:spPr>
        <p:txBody>
          <a:bodyPr vert="horz" lIns="91440" tIns="45720" rIns="91440" bIns="45720" rtlCol="0" anchor="ctr">
            <a:normAutofit/>
            <a:scene3d>
              <a:camera prst="orthographicFront"/>
              <a:lightRig rig="soft" dir="t">
                <a:rot lat="0" lon="0" rev="17220000"/>
              </a:lightRig>
            </a:scene3d>
            <a:sp3d prstMaterial="softEdge"/>
          </a:bodyPr>
          <a:lstStyle/>
          <a:p>
            <a:pPr>
              <a:lnSpc>
                <a:spcPct val="87000"/>
              </a:lnSpc>
              <a:spcBef>
                <a:spcPct val="0"/>
              </a:spcBef>
              <a:defRPr lang="pt-BR"/>
            </a:pPr>
            <a:br>
              <a:rPr lang="pt-BR" sz="4400" dirty="0">
                <a:solidFill>
                  <a:srgbClr val="92D050"/>
                </a:solidFill>
              </a:rPr>
            </a:br>
            <a:r>
              <a:rPr lang="pt-BR" sz="4400" dirty="0">
                <a:solidFill>
                  <a:srgbClr val="92D050"/>
                </a:solidFill>
              </a:rPr>
              <a:t>Estatística Educacional 2017</a:t>
            </a:r>
            <a:endParaRPr lang="pt-BR" sz="5600" b="1" dirty="0">
              <a:solidFill>
                <a:srgbClr val="92D050"/>
              </a:solidFill>
              <a:latin typeface="Arial" pitchFamily="34" charset="0"/>
              <a:cs typeface="Arial" pitchFamily="34" charset="0"/>
            </a:endParaRPr>
          </a:p>
        </p:txBody>
      </p:sp>
      <p:pic>
        <p:nvPicPr>
          <p:cNvPr id="7" name="Picture 6"/>
          <p:cNvPicPr>
            <a:picLocks noChangeAspect="1"/>
          </p:cNvPicPr>
          <p:nvPr/>
        </p:nvPicPr>
        <p:blipFill>
          <a:blip r:embed="rId4" cstate="print"/>
          <a:stretch>
            <a:fillRect/>
          </a:stretch>
        </p:blipFill>
        <p:spPr>
          <a:xfrm>
            <a:off x="20548" y="20547"/>
            <a:ext cx="3498527" cy="2825393"/>
          </a:xfrm>
          <a:prstGeom prst="rect">
            <a:avLst/>
          </a:prstGeom>
        </p:spPr>
      </p:pic>
      <p:pic>
        <p:nvPicPr>
          <p:cNvPr id="9" name="Picture 8"/>
          <p:cNvPicPr>
            <a:picLocks noChangeAspect="1"/>
          </p:cNvPicPr>
          <p:nvPr/>
        </p:nvPicPr>
        <p:blipFill>
          <a:blip r:embed="rId5" cstate="print"/>
          <a:stretch>
            <a:fillRect/>
          </a:stretch>
        </p:blipFill>
        <p:spPr>
          <a:xfrm>
            <a:off x="8595" y="2837788"/>
            <a:ext cx="7668994" cy="2296266"/>
          </a:xfrm>
          <a:prstGeom prst="rect">
            <a:avLst/>
          </a:prstGeom>
        </p:spPr>
      </p:pic>
      <p:pic>
        <p:nvPicPr>
          <p:cNvPr id="10" name="Picture 9"/>
          <p:cNvPicPr>
            <a:picLocks noChangeAspect="1"/>
          </p:cNvPicPr>
          <p:nvPr/>
        </p:nvPicPr>
        <p:blipFill>
          <a:blip r:embed="rId6" cstate="print"/>
          <a:stretch>
            <a:fillRect/>
          </a:stretch>
        </p:blipFill>
        <p:spPr>
          <a:xfrm>
            <a:off x="7662119" y="2819400"/>
            <a:ext cx="1461333" cy="2293850"/>
          </a:xfrm>
          <a:prstGeom prst="rect">
            <a:avLst/>
          </a:prstGeom>
        </p:spPr>
      </p:pic>
      <p:sp>
        <p:nvSpPr>
          <p:cNvPr id="6" name="Rectangle 5"/>
          <p:cNvSpPr/>
          <p:nvPr/>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F47F28"/>
              </a:solidFill>
            </a:endParaRPr>
          </a:p>
        </p:txBody>
      </p:sp>
      <p:grpSp>
        <p:nvGrpSpPr>
          <p:cNvPr id="3" name="Group 19"/>
          <p:cNvGrpSpPr/>
          <p:nvPr/>
        </p:nvGrpSpPr>
        <p:grpSpPr>
          <a:xfrm>
            <a:off x="0" y="5089818"/>
            <a:ext cx="9144000" cy="1768182"/>
            <a:chOff x="0" y="5089818"/>
            <a:chExt cx="9144000" cy="1768182"/>
          </a:xfrm>
        </p:grpSpPr>
        <p:pic>
          <p:nvPicPr>
            <p:cNvPr id="11" name="Picture 10"/>
            <p:cNvPicPr>
              <a:picLocks/>
            </p:cNvPicPr>
            <p:nvPr/>
          </p:nvPicPr>
          <p:blipFill>
            <a:blip r:embed="rId7" cstate="print"/>
            <a:stretch>
              <a:fillRect/>
            </a:stretch>
          </p:blipFill>
          <p:spPr>
            <a:xfrm>
              <a:off x="24064" y="5089818"/>
              <a:ext cx="9098280" cy="1737360"/>
            </a:xfrm>
            <a:prstGeom prst="rect">
              <a:avLst/>
            </a:prstGeom>
          </p:spPr>
        </p:pic>
        <p:sp>
          <p:nvSpPr>
            <p:cNvPr id="16" name="Rectangle 15"/>
            <p:cNvSpPr/>
            <p:nvPr/>
          </p:nvSpPr>
          <p:spPr>
            <a:xfrm>
              <a:off x="0" y="518160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Rectangle 16"/>
            <p:cNvSpPr/>
            <p:nvPr/>
          </p:nvSpPr>
          <p:spPr>
            <a:xfrm rot="5400000">
              <a:off x="4537710" y="2251710"/>
              <a:ext cx="6858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9" name="Rectangle 18"/>
            <p:cNvSpPr/>
            <p:nvPr/>
          </p:nvSpPr>
          <p:spPr>
            <a:xfrm>
              <a:off x="9098281" y="515874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14" name="Title 3"/>
          <p:cNvSpPr txBox="1">
            <a:spLocks/>
          </p:cNvSpPr>
          <p:nvPr/>
        </p:nvSpPr>
        <p:spPr>
          <a:xfrm>
            <a:off x="-20416" y="2866281"/>
            <a:ext cx="7345980" cy="2034382"/>
          </a:xfrm>
          <a:prstGeom prst="rect">
            <a:avLst/>
          </a:prstGeom>
          <a:noFill/>
          <a:ln>
            <a:noFill/>
          </a:ln>
        </p:spPr>
        <p:txBody>
          <a:bodyPr vert="horz" lIns="91440" tIns="45720" rIns="91440" bIns="45720" rtlCol="0" anchor="ctr">
            <a:noAutofit/>
            <a:scene3d>
              <a:camera prst="orthographicFront"/>
              <a:lightRig rig="soft" dir="t">
                <a:rot lat="0" lon="0" rev="17220000"/>
              </a:lightRig>
            </a:scene3d>
            <a:sp3d prstMaterial="softEdge"/>
          </a:bodyPr>
          <a:lstStyle>
            <a:lvl1pPr algn="ctr" defTabSz="914400" rtl="0" eaLnBrk="1" latinLnBrk="0" hangingPunct="1">
              <a:spcBef>
                <a:spcPct val="0"/>
              </a:spcBef>
              <a:buNone/>
              <a:defRPr lang="pt-BR" sz="4400" kern="1200">
                <a:solidFill>
                  <a:schemeClr val="tx1"/>
                </a:solidFill>
                <a:latin typeface="+mj-lt"/>
                <a:ea typeface="+mj-ea"/>
                <a:cs typeface="+mj-cs"/>
              </a:defRPr>
            </a:lvl1pPr>
          </a:lstStyle>
          <a:p>
            <a:pPr>
              <a:lnSpc>
                <a:spcPct val="87000"/>
              </a:lnSpc>
            </a:pPr>
            <a:br>
              <a:rPr lang="pt-BR" sz="6000" dirty="0"/>
            </a:br>
            <a:r>
              <a:rPr lang="pt-BR" sz="6000" b="1" dirty="0">
                <a:solidFill>
                  <a:schemeClr val="bg1"/>
                </a:solidFill>
                <a:latin typeface="Arial" pitchFamily="34" charset="0"/>
                <a:cs typeface="Arial" pitchFamily="34" charset="0"/>
              </a:rPr>
              <a:t>Final</a:t>
            </a:r>
            <a:endParaRPr lang="pt-BR" sz="3200" b="1" dirty="0">
              <a:solidFill>
                <a:schemeClr val="bg1"/>
              </a:solidFill>
              <a:latin typeface="Arial" pitchFamily="34" charset="0"/>
              <a:cs typeface="Arial" pitchFamily="34" charset="0"/>
            </a:endParaRPr>
          </a:p>
        </p:txBody>
      </p:sp>
      <p:sp>
        <p:nvSpPr>
          <p:cNvPr id="15" name="Retângulo 14"/>
          <p:cNvSpPr/>
          <p:nvPr/>
        </p:nvSpPr>
        <p:spPr>
          <a:xfrm>
            <a:off x="35496" y="714356"/>
            <a:ext cx="3643338" cy="646331"/>
          </a:xfrm>
          <a:prstGeom prst="rect">
            <a:avLst/>
          </a:prstGeom>
        </p:spPr>
        <p:txBody>
          <a:bodyPr wrap="square">
            <a:spAutoFit/>
          </a:bodyPr>
          <a:lstStyle/>
          <a:p>
            <a:r>
              <a:rPr lang="pt-BR" i="1" dirty="0">
                <a:latin typeface="Baskerville Old Face" pitchFamily="18" charset="0"/>
              </a:rPr>
              <a:t>É preciso incentivar, investir. Mas é necessário conhecer, avaliar.</a:t>
            </a:r>
          </a:p>
        </p:txBody>
      </p:sp>
      <p:pic>
        <p:nvPicPr>
          <p:cNvPr id="20" name="Imagem 19" descr="FotoVisto_original_sem_data_red30.jpg"/>
          <p:cNvPicPr>
            <a:picLocks noChangeAspect="1"/>
          </p:cNvPicPr>
          <p:nvPr/>
        </p:nvPicPr>
        <p:blipFill>
          <a:blip r:embed="rId8" cstate="print"/>
          <a:stretch>
            <a:fillRect/>
          </a:stretch>
        </p:blipFill>
        <p:spPr>
          <a:xfrm>
            <a:off x="6396895" y="0"/>
            <a:ext cx="2747105" cy="2716850"/>
          </a:xfrm>
          <a:prstGeom prst="rect">
            <a:avLst/>
          </a:prstGeom>
        </p:spPr>
      </p:pic>
      <p:pic>
        <p:nvPicPr>
          <p:cNvPr id="8" name="Picture 7"/>
          <p:cNvPicPr>
            <a:picLocks noChangeAspect="1"/>
          </p:cNvPicPr>
          <p:nvPr/>
        </p:nvPicPr>
        <p:blipFill>
          <a:blip r:embed="rId9" cstate="print"/>
          <a:stretch>
            <a:fillRect/>
          </a:stretch>
        </p:blipFill>
        <p:spPr>
          <a:xfrm>
            <a:off x="3519582" y="0"/>
            <a:ext cx="5624418" cy="2825496"/>
          </a:xfrm>
          <a:prstGeom prst="rect">
            <a:avLst/>
          </a:prstGeom>
        </p:spPr>
      </p:pic>
      <p:pic>
        <p:nvPicPr>
          <p:cNvPr id="18" name="Imagem 17" descr="UFPA.jpg"/>
          <p:cNvPicPr>
            <a:picLocks noChangeAspect="1"/>
          </p:cNvPicPr>
          <p:nvPr/>
        </p:nvPicPr>
        <p:blipFill>
          <a:blip r:embed="rId10"/>
          <a:stretch>
            <a:fillRect/>
          </a:stretch>
        </p:blipFill>
        <p:spPr>
          <a:xfrm>
            <a:off x="357158" y="5715016"/>
            <a:ext cx="723900" cy="895350"/>
          </a:xfrm>
          <a:prstGeom prst="rect">
            <a:avLst/>
          </a:prstGeom>
        </p:spPr>
      </p:pic>
    </p:spTree>
    <p:custDataLst>
      <p:tags r:id="rId1"/>
    </p:custDataLst>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6"/>
                                        </p:tgtEl>
                                      </p:cBhvr>
                                    </p:animEffect>
                                    <p:set>
                                      <p:cBhvr>
                                        <p:cTn id="7" dur="1" fill="hold">
                                          <p:stCondLst>
                                            <p:cond delay="9"/>
                                          </p:stCondLst>
                                        </p:cTn>
                                        <p:tgtEl>
                                          <p:spTgt spid="6"/>
                                        </p:tgtEl>
                                        <p:attrNameLst>
                                          <p:attrName>style.visibility</p:attrName>
                                        </p:attrNameLst>
                                      </p:cBhvr>
                                      <p:to>
                                        <p:strVal val="hidden"/>
                                      </p:to>
                                    </p:set>
                                  </p:childTnLst>
                                </p:cTn>
                              </p:par>
                              <p:par>
                                <p:cTn id="8" presetID="2" presetClass="exit" presetSubtype="9" fill="hold" nodeType="withEffect">
                                  <p:stCondLst>
                                    <p:cond delay="0"/>
                                  </p:stCondLst>
                                  <p:childTnLst>
                                    <p:anim calcmode="lin" valueType="num">
                                      <p:cBhvr additive="base">
                                        <p:cTn id="9" dur="750"/>
                                        <p:tgtEl>
                                          <p:spTgt spid="7"/>
                                        </p:tgtEl>
                                        <p:attrNameLst>
                                          <p:attrName>ppt_x</p:attrName>
                                        </p:attrNameLst>
                                      </p:cBhvr>
                                      <p:tavLst>
                                        <p:tav tm="0">
                                          <p:val>
                                            <p:strVal val="ppt_x"/>
                                          </p:val>
                                        </p:tav>
                                        <p:tav tm="100000">
                                          <p:val>
                                            <p:strVal val="0-ppt_w/2"/>
                                          </p:val>
                                        </p:tav>
                                      </p:tavLst>
                                    </p:anim>
                                    <p:anim calcmode="lin" valueType="num">
                                      <p:cBhvr additive="base">
                                        <p:cTn id="10" dur="750"/>
                                        <p:tgtEl>
                                          <p:spTgt spid="7"/>
                                        </p:tgtEl>
                                        <p:attrNameLst>
                                          <p:attrName>ppt_y</p:attrName>
                                        </p:attrNameLst>
                                      </p:cBhvr>
                                      <p:tavLst>
                                        <p:tav tm="0">
                                          <p:val>
                                            <p:strVal val="ppt_y"/>
                                          </p:val>
                                        </p:tav>
                                        <p:tav tm="100000">
                                          <p:val>
                                            <p:strVal val="0-ppt_h/2"/>
                                          </p:val>
                                        </p:tav>
                                      </p:tavLst>
                                    </p:anim>
                                    <p:set>
                                      <p:cBhvr>
                                        <p:cTn id="11" dur="1" fill="hold">
                                          <p:stCondLst>
                                            <p:cond delay="749"/>
                                          </p:stCondLst>
                                        </p:cTn>
                                        <p:tgtEl>
                                          <p:spTgt spid="7"/>
                                        </p:tgtEl>
                                        <p:attrNameLst>
                                          <p:attrName>style.visibility</p:attrName>
                                        </p:attrNameLst>
                                      </p:cBhvr>
                                      <p:to>
                                        <p:strVal val="hidden"/>
                                      </p:to>
                                    </p:set>
                                  </p:childTnLst>
                                </p:cTn>
                              </p:par>
                              <p:par>
                                <p:cTn id="12" presetID="2" presetClass="exit" presetSubtype="3" fill="hold" nodeType="withEffect">
                                  <p:stCondLst>
                                    <p:cond delay="0"/>
                                  </p:stCondLst>
                                  <p:childTnLst>
                                    <p:anim calcmode="lin" valueType="num">
                                      <p:cBhvr additive="base">
                                        <p:cTn id="13" dur="750"/>
                                        <p:tgtEl>
                                          <p:spTgt spid="8"/>
                                        </p:tgtEl>
                                        <p:attrNameLst>
                                          <p:attrName>ppt_x</p:attrName>
                                        </p:attrNameLst>
                                      </p:cBhvr>
                                      <p:tavLst>
                                        <p:tav tm="0">
                                          <p:val>
                                            <p:strVal val="ppt_x"/>
                                          </p:val>
                                        </p:tav>
                                        <p:tav tm="100000">
                                          <p:val>
                                            <p:strVal val="1+ppt_w/2"/>
                                          </p:val>
                                        </p:tav>
                                      </p:tavLst>
                                    </p:anim>
                                    <p:anim calcmode="lin" valueType="num">
                                      <p:cBhvr additive="base">
                                        <p:cTn id="14" dur="750"/>
                                        <p:tgtEl>
                                          <p:spTgt spid="8"/>
                                        </p:tgtEl>
                                        <p:attrNameLst>
                                          <p:attrName>ppt_y</p:attrName>
                                        </p:attrNameLst>
                                      </p:cBhvr>
                                      <p:tavLst>
                                        <p:tav tm="0">
                                          <p:val>
                                            <p:strVal val="ppt_y"/>
                                          </p:val>
                                        </p:tav>
                                        <p:tav tm="100000">
                                          <p:val>
                                            <p:strVal val="0-ppt_h/2"/>
                                          </p:val>
                                        </p:tav>
                                      </p:tavLst>
                                    </p:anim>
                                    <p:set>
                                      <p:cBhvr>
                                        <p:cTn id="15" dur="1" fill="hold">
                                          <p:stCondLst>
                                            <p:cond delay="749"/>
                                          </p:stCondLst>
                                        </p:cTn>
                                        <p:tgtEl>
                                          <p:spTgt spid="8"/>
                                        </p:tgtEl>
                                        <p:attrNameLst>
                                          <p:attrName>style.visibility</p:attrName>
                                        </p:attrNameLst>
                                      </p:cBhvr>
                                      <p:to>
                                        <p:strVal val="hidden"/>
                                      </p:to>
                                    </p:set>
                                  </p:childTnLst>
                                </p:cTn>
                              </p:par>
                              <p:par>
                                <p:cTn id="16" presetID="2" presetClass="exit" presetSubtype="8" fill="hold" nodeType="withEffect">
                                  <p:stCondLst>
                                    <p:cond delay="0"/>
                                  </p:stCondLst>
                                  <p:childTnLst>
                                    <p:anim calcmode="lin" valueType="num">
                                      <p:cBhvr additive="base">
                                        <p:cTn id="17" dur="750"/>
                                        <p:tgtEl>
                                          <p:spTgt spid="9"/>
                                        </p:tgtEl>
                                        <p:attrNameLst>
                                          <p:attrName>ppt_x</p:attrName>
                                        </p:attrNameLst>
                                      </p:cBhvr>
                                      <p:tavLst>
                                        <p:tav tm="0">
                                          <p:val>
                                            <p:strVal val="ppt_x"/>
                                          </p:val>
                                        </p:tav>
                                        <p:tav tm="100000">
                                          <p:val>
                                            <p:strVal val="0-ppt_w/2"/>
                                          </p:val>
                                        </p:tav>
                                      </p:tavLst>
                                    </p:anim>
                                    <p:anim calcmode="lin" valueType="num">
                                      <p:cBhvr additive="base">
                                        <p:cTn id="18" dur="750"/>
                                        <p:tgtEl>
                                          <p:spTgt spid="9"/>
                                        </p:tgtEl>
                                        <p:attrNameLst>
                                          <p:attrName>ppt_y</p:attrName>
                                        </p:attrNameLst>
                                      </p:cBhvr>
                                      <p:tavLst>
                                        <p:tav tm="0">
                                          <p:val>
                                            <p:strVal val="ppt_y"/>
                                          </p:val>
                                        </p:tav>
                                        <p:tav tm="100000">
                                          <p:val>
                                            <p:strVal val="ppt_y"/>
                                          </p:val>
                                        </p:tav>
                                      </p:tavLst>
                                    </p:anim>
                                    <p:set>
                                      <p:cBhvr>
                                        <p:cTn id="19" dur="1" fill="hold">
                                          <p:stCondLst>
                                            <p:cond delay="749"/>
                                          </p:stCondLst>
                                        </p:cTn>
                                        <p:tgtEl>
                                          <p:spTgt spid="9"/>
                                        </p:tgtEl>
                                        <p:attrNameLst>
                                          <p:attrName>style.visibility</p:attrName>
                                        </p:attrNameLst>
                                      </p:cBhvr>
                                      <p:to>
                                        <p:strVal val="hidden"/>
                                      </p:to>
                                    </p:set>
                                  </p:childTnLst>
                                </p:cTn>
                              </p:par>
                              <p:par>
                                <p:cTn id="20" presetID="2" presetClass="exit" presetSubtype="2" fill="hold" nodeType="withEffect">
                                  <p:stCondLst>
                                    <p:cond delay="0"/>
                                  </p:stCondLst>
                                  <p:childTnLst>
                                    <p:anim calcmode="lin" valueType="num">
                                      <p:cBhvr additive="base">
                                        <p:cTn id="21" dur="750"/>
                                        <p:tgtEl>
                                          <p:spTgt spid="10"/>
                                        </p:tgtEl>
                                        <p:attrNameLst>
                                          <p:attrName>ppt_x</p:attrName>
                                        </p:attrNameLst>
                                      </p:cBhvr>
                                      <p:tavLst>
                                        <p:tav tm="0">
                                          <p:val>
                                            <p:strVal val="ppt_x"/>
                                          </p:val>
                                        </p:tav>
                                        <p:tav tm="100000">
                                          <p:val>
                                            <p:strVal val="1+ppt_w/2"/>
                                          </p:val>
                                        </p:tav>
                                      </p:tavLst>
                                    </p:anim>
                                    <p:anim calcmode="lin" valueType="num">
                                      <p:cBhvr additive="base">
                                        <p:cTn id="22" dur="750"/>
                                        <p:tgtEl>
                                          <p:spTgt spid="10"/>
                                        </p:tgtEl>
                                        <p:attrNameLst>
                                          <p:attrName>ppt_y</p:attrName>
                                        </p:attrNameLst>
                                      </p:cBhvr>
                                      <p:tavLst>
                                        <p:tav tm="0">
                                          <p:val>
                                            <p:strVal val="ppt_y"/>
                                          </p:val>
                                        </p:tav>
                                        <p:tav tm="100000">
                                          <p:val>
                                            <p:strVal val="ppt_y"/>
                                          </p:val>
                                        </p:tav>
                                      </p:tavLst>
                                    </p:anim>
                                    <p:set>
                                      <p:cBhvr>
                                        <p:cTn id="23" dur="1" fill="hold">
                                          <p:stCondLst>
                                            <p:cond delay="749"/>
                                          </p:stCondLst>
                                        </p:cTn>
                                        <p:tgtEl>
                                          <p:spTgt spid="10"/>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250"/>
                                        <p:tgtEl>
                                          <p:spTgt spid="14"/>
                                        </p:tgtEl>
                                      </p:cBhvr>
                                    </p:animEffect>
                                    <p:set>
                                      <p:cBhvr>
                                        <p:cTn id="26" dur="1" fill="hold">
                                          <p:stCondLst>
                                            <p:cond delay="24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a:t>Podemos prever a altura de uma pessoa</a:t>
            </a:r>
            <a:r>
              <a:rPr lang="pt-BR" dirty="0"/>
              <a:t>?</a:t>
            </a:r>
          </a:p>
        </p:txBody>
      </p:sp>
      <p:sp>
        <p:nvSpPr>
          <p:cNvPr id="3" name="Espaço Reservado para Conteúdo 2"/>
          <p:cNvSpPr>
            <a:spLocks noGrp="1"/>
          </p:cNvSpPr>
          <p:nvPr>
            <p:ph idx="1"/>
          </p:nvPr>
        </p:nvSpPr>
        <p:spPr>
          <a:xfrm>
            <a:off x="323528" y="1340768"/>
            <a:ext cx="8820472" cy="4785395"/>
          </a:xfrm>
        </p:spPr>
        <p:txBody>
          <a:bodyPr>
            <a:normAutofit fontScale="62500" lnSpcReduction="20000"/>
          </a:bodyPr>
          <a:lstStyle/>
          <a:p>
            <a:r>
              <a:rPr lang="pt-BR" dirty="0"/>
              <a:t>1. Na cama, você frequentemente sente frio nos pés?</a:t>
            </a:r>
          </a:p>
          <a:p>
            <a:r>
              <a:rPr lang="pt-BR" dirty="0"/>
              <a:t>2. Você frequentemente desce as escadas de dois em dois degraus? </a:t>
            </a:r>
          </a:p>
          <a:p>
            <a:r>
              <a:rPr lang="pt-BR" dirty="0"/>
              <a:t>3. Você acha que se daria bem em um time de basquete?</a:t>
            </a:r>
          </a:p>
          <a:p>
            <a:r>
              <a:rPr lang="pt-BR" dirty="0"/>
              <a:t>4. Como policial, você impressionaria bastante?</a:t>
            </a:r>
          </a:p>
          <a:p>
            <a:r>
              <a:rPr lang="pt-BR" dirty="0"/>
              <a:t>5. Na maioria dos carros você se sente desconfortável?</a:t>
            </a:r>
          </a:p>
          <a:p>
            <a:r>
              <a:rPr lang="pt-BR" dirty="0"/>
              <a:t>6. Você literalmente olha para seus colegas de cima para baixo?</a:t>
            </a:r>
          </a:p>
          <a:p>
            <a:r>
              <a:rPr lang="pt-BR" dirty="0"/>
              <a:t>7. Você é capaz de pegar um objeto no alto de um armário, sem usar escada? </a:t>
            </a:r>
          </a:p>
          <a:p>
            <a:r>
              <a:rPr lang="pt-BR" dirty="0"/>
              <a:t>8. Você abaixa quando vai passar por uma porta? </a:t>
            </a:r>
          </a:p>
          <a:p>
            <a:r>
              <a:rPr lang="pt-BR" dirty="0"/>
              <a:t>9. Você consegue guardar a bagagem no porta-malas do avião ou ônibus? </a:t>
            </a:r>
          </a:p>
          <a:p>
            <a:r>
              <a:rPr lang="pt-BR" dirty="0"/>
              <a:t>10. Você costuma ajustar o banco do carro para trás? </a:t>
            </a:r>
          </a:p>
          <a:p>
            <a:r>
              <a:rPr lang="pt-BR" dirty="0"/>
              <a:t>11. Quando você está andando de carona lhe oferecem o banco da frente? </a:t>
            </a:r>
          </a:p>
          <a:p>
            <a:r>
              <a:rPr lang="pt-BR" dirty="0"/>
              <a:t>12. Se você e várias pessoas forem tirar fotos, formando-se três fileiras, onde   ninguém ficará agachado, você ficaria atrás?</a:t>
            </a:r>
          </a:p>
          <a:p>
            <a:r>
              <a:rPr lang="pt-BR" dirty="0"/>
              <a:t>13. Você tem dificuldade para se acomodar no ônibus? </a:t>
            </a:r>
          </a:p>
          <a:p>
            <a:r>
              <a:rPr lang="pt-BR" dirty="0"/>
              <a:t>14. Entre vários amigos, você seria o preferido para trocar lâmpadas?</a:t>
            </a:r>
          </a:p>
        </p:txBody>
      </p:sp>
      <p:pic>
        <p:nvPicPr>
          <p:cNvPr id="7" name="Imagem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019256" y="5733256"/>
            <a:ext cx="1124744" cy="1124744"/>
          </a:xfrm>
          <a:prstGeom prst="rect">
            <a:avLst/>
          </a:prstGeom>
        </p:spPr>
      </p:pic>
    </p:spTree>
    <p:extLst>
      <p:ext uri="{BB962C8B-B14F-4D97-AF65-F5344CB8AC3E}">
        <p14:creationId xmlns:p14="http://schemas.microsoft.com/office/powerpoint/2010/main" val="865810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istribuição do </a:t>
            </a:r>
            <a:r>
              <a:rPr lang="pt-BR" dirty="0" err="1"/>
              <a:t>Heliton</a:t>
            </a:r>
            <a:r>
              <a:rPr lang="pt-BR" dirty="0"/>
              <a:t> Tavares </a:t>
            </a:r>
            <a:r>
              <a:rPr lang="pt-BR" sz="2000" dirty="0">
                <a:hlinkClick r:id="rId2" action="ppaction://hlinkfile"/>
              </a:rPr>
              <a:t>(link)</a:t>
            </a:r>
            <a:endParaRPr lang="pt-BR" dirty="0"/>
          </a:p>
        </p:txBody>
      </p:sp>
      <p:pic>
        <p:nvPicPr>
          <p:cNvPr id="2050" name="Picture 2"/>
          <p:cNvPicPr>
            <a:picLocks noChangeAspect="1" noChangeArrowheads="1"/>
          </p:cNvPicPr>
          <p:nvPr/>
        </p:nvPicPr>
        <p:blipFill>
          <a:blip r:embed="rId3" cstate="print"/>
          <a:srcRect/>
          <a:stretch>
            <a:fillRect/>
          </a:stretch>
        </p:blipFill>
        <p:spPr bwMode="auto">
          <a:xfrm>
            <a:off x="1403648" y="1772816"/>
            <a:ext cx="6336704" cy="4460021"/>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251520" y="908720"/>
            <a:ext cx="8352928" cy="792088"/>
          </a:xfrm>
          <a:prstGeom prst="rect">
            <a:avLst/>
          </a:prstGeom>
          <a:noFill/>
          <a:ln w="9525">
            <a:noFill/>
            <a:miter lim="800000"/>
            <a:headEnd/>
            <a:tailEnd/>
          </a:ln>
        </p:spPr>
      </p:pic>
    </p:spTree>
    <p:extLst>
      <p:ext uri="{BB962C8B-B14F-4D97-AF65-F5344CB8AC3E}">
        <p14:creationId xmlns:p14="http://schemas.microsoft.com/office/powerpoint/2010/main" val="1038132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bwMode="auto">
          <a:xfrm>
            <a:off x="1071563" y="2979738"/>
            <a:ext cx="8072437" cy="831850"/>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anchor="ctr">
            <a:spAutoFit/>
          </a:bodyPr>
          <a:lstStyle/>
          <a:p>
            <a:pPr eaLnBrk="0" hangingPunct="0">
              <a:defRPr/>
            </a:pPr>
            <a:endParaRPr lang="pt-BR" sz="2000" dirty="0">
              <a:solidFill>
                <a:srgbClr val="002060"/>
              </a:solidFill>
              <a:latin typeface="Tahoma" pitchFamily="34" charset="0"/>
            </a:endParaRPr>
          </a:p>
          <a:p>
            <a:pPr eaLnBrk="0" hangingPunct="0">
              <a:defRPr/>
            </a:pPr>
            <a:r>
              <a:rPr lang="pt-BR" sz="2800" dirty="0">
                <a:solidFill>
                  <a:srgbClr val="002060"/>
                </a:solidFill>
                <a:latin typeface="Tahoma" pitchFamily="34" charset="0"/>
              </a:rPr>
              <a:t>        </a:t>
            </a:r>
          </a:p>
        </p:txBody>
      </p:sp>
      <p:sp>
        <p:nvSpPr>
          <p:cNvPr id="22532" name="Retângulo 4"/>
          <p:cNvSpPr>
            <a:spLocks noChangeArrowheads="1"/>
          </p:cNvSpPr>
          <p:nvPr/>
        </p:nvSpPr>
        <p:spPr bwMode="auto">
          <a:xfrm>
            <a:off x="1128713" y="1571625"/>
            <a:ext cx="78009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kumimoji="1" lang="en-US" altLang="pt-BR">
              <a:latin typeface="Times New Roman" panose="02020603050405020304" pitchFamily="18" charset="0"/>
              <a:cs typeface="Times New Roman" panose="02020603050405020304" pitchFamily="18" charset="0"/>
            </a:endParaRPr>
          </a:p>
          <a:p>
            <a:pPr eaLnBrk="1" hangingPunct="1"/>
            <a:endParaRPr kumimoji="1" lang="en-US" altLang="pt-BR">
              <a:latin typeface="Times New Roman" panose="02020603050405020304" pitchFamily="18" charset="0"/>
              <a:cs typeface="Times New Roman" panose="02020603050405020304" pitchFamily="18" charset="0"/>
            </a:endParaRPr>
          </a:p>
          <a:p>
            <a:pPr eaLnBrk="1" hangingPunct="1"/>
            <a:endParaRPr kumimoji="1" lang="pt-BR" altLang="pt-BR">
              <a:latin typeface="Times New Roman" panose="02020603050405020304" pitchFamily="18" charset="0"/>
              <a:cs typeface="Times New Roman" panose="02020603050405020304" pitchFamily="18" charset="0"/>
            </a:endParaRPr>
          </a:p>
        </p:txBody>
      </p:sp>
      <p:graphicFrame>
        <p:nvGraphicFramePr>
          <p:cNvPr id="4" name="Tabela 3"/>
          <p:cNvGraphicFramePr>
            <a:graphicFrameLocks noGrp="1"/>
          </p:cNvGraphicFramePr>
          <p:nvPr>
            <p:extLst>
              <p:ext uri="{D42A27DB-BD31-4B8C-83A1-F6EECF244321}">
                <p14:modId xmlns:p14="http://schemas.microsoft.com/office/powerpoint/2010/main" val="464006941"/>
              </p:ext>
            </p:extLst>
          </p:nvPr>
        </p:nvGraphicFramePr>
        <p:xfrm>
          <a:off x="827584" y="2282598"/>
          <a:ext cx="7499350" cy="3284539"/>
        </p:xfrm>
        <a:graphic>
          <a:graphicData uri="http://schemas.openxmlformats.org/drawingml/2006/table">
            <a:tbl>
              <a:tblPr firstRow="1" firstCol="1" bandRow="1">
                <a:tableStyleId>{5C22544A-7EE6-4342-B048-85BDC9FD1C3A}</a:tableStyleId>
              </a:tblPr>
              <a:tblGrid>
                <a:gridCol w="5065722">
                  <a:extLst>
                    <a:ext uri="{9D8B030D-6E8A-4147-A177-3AD203B41FA5}">
                      <a16:colId xmlns:a16="http://schemas.microsoft.com/office/drawing/2014/main" val="20000"/>
                    </a:ext>
                  </a:extLst>
                </a:gridCol>
                <a:gridCol w="641359">
                  <a:extLst>
                    <a:ext uri="{9D8B030D-6E8A-4147-A177-3AD203B41FA5}">
                      <a16:colId xmlns:a16="http://schemas.microsoft.com/office/drawing/2014/main" val="20001"/>
                    </a:ext>
                  </a:extLst>
                </a:gridCol>
                <a:gridCol w="603988">
                  <a:extLst>
                    <a:ext uri="{9D8B030D-6E8A-4147-A177-3AD203B41FA5}">
                      <a16:colId xmlns:a16="http://schemas.microsoft.com/office/drawing/2014/main" val="20002"/>
                    </a:ext>
                  </a:extLst>
                </a:gridCol>
                <a:gridCol w="620653">
                  <a:extLst>
                    <a:ext uri="{9D8B030D-6E8A-4147-A177-3AD203B41FA5}">
                      <a16:colId xmlns:a16="http://schemas.microsoft.com/office/drawing/2014/main" val="20003"/>
                    </a:ext>
                  </a:extLst>
                </a:gridCol>
                <a:gridCol w="567628">
                  <a:extLst>
                    <a:ext uri="{9D8B030D-6E8A-4147-A177-3AD203B41FA5}">
                      <a16:colId xmlns:a16="http://schemas.microsoft.com/office/drawing/2014/main" val="20004"/>
                    </a:ext>
                  </a:extLst>
                </a:gridCol>
              </a:tblGrid>
              <a:tr h="1048773">
                <a:tc>
                  <a:txBody>
                    <a:bodyPr/>
                    <a:lstStyle/>
                    <a:p>
                      <a:pPr algn="ctr">
                        <a:spcAft>
                          <a:spcPts val="0"/>
                        </a:spcAft>
                      </a:pPr>
                      <a:r>
                        <a:rPr lang="pt-BR" sz="1000" dirty="0">
                          <a:effectLst/>
                        </a:rPr>
                        <a:t> </a:t>
                      </a:r>
                      <a:endParaRPr lang="pt-BR" sz="10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Raramente</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Às vezes</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Com </a:t>
                      </a:r>
                      <a:r>
                        <a:rPr lang="pt-BR" sz="1400" dirty="0" err="1">
                          <a:effectLst/>
                        </a:rPr>
                        <a:t>freqüência</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Sempre</a:t>
                      </a:r>
                      <a:endParaRPr lang="pt-BR" sz="1400" dirty="0">
                        <a:effectLst/>
                        <a:latin typeface="Times New Roman"/>
                        <a:ea typeface="Times New Roman"/>
                      </a:endParaRPr>
                    </a:p>
                  </a:txBody>
                  <a:tcPr marL="54541" marR="54541" marT="0" marB="0" anchor="ctr"/>
                </a:tc>
                <a:extLst>
                  <a:ext uri="{0D108BD9-81ED-4DB2-BD59-A6C34878D82A}">
                    <a16:rowId xmlns:a16="http://schemas.microsoft.com/office/drawing/2014/main" val="10000"/>
                  </a:ext>
                </a:extLst>
              </a:tr>
              <a:tr h="349592">
                <a:tc>
                  <a:txBody>
                    <a:bodyPr/>
                    <a:lstStyle/>
                    <a:p>
                      <a:pPr>
                        <a:spcAft>
                          <a:spcPts val="300"/>
                        </a:spcAft>
                      </a:pPr>
                      <a:r>
                        <a:rPr lang="pt-BR" sz="1600" dirty="0">
                          <a:effectLst/>
                        </a:rPr>
                        <a:t>01 compromissos</a:t>
                      </a: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1"/>
                  </a:ext>
                </a:extLst>
              </a:tr>
              <a:tr h="349592">
                <a:tc>
                  <a:txBody>
                    <a:bodyPr/>
                    <a:lstStyle/>
                    <a:p>
                      <a:pPr>
                        <a:spcAft>
                          <a:spcPts val="300"/>
                        </a:spcAft>
                      </a:pPr>
                      <a:r>
                        <a:rPr lang="pt-BR" sz="1600" dirty="0">
                          <a:effectLst/>
                        </a:rPr>
                        <a:t>02 pagar contas</a:t>
                      </a:r>
                      <a:endParaRPr lang="pt-BR" sz="16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2"/>
                  </a:ext>
                </a:extLst>
              </a:tr>
              <a:tr h="349592">
                <a:tc>
                  <a:txBody>
                    <a:bodyPr/>
                    <a:lstStyle/>
                    <a:p>
                      <a:pPr>
                        <a:spcAft>
                          <a:spcPts val="300"/>
                        </a:spcAft>
                      </a:pPr>
                      <a:r>
                        <a:rPr lang="pt-BR" sz="1600" dirty="0">
                          <a:effectLst/>
                        </a:rPr>
                        <a:t>03 levar suas coisas com você</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3"/>
                  </a:ext>
                </a:extLst>
              </a:tr>
              <a:tr h="349592">
                <a:tc>
                  <a:txBody>
                    <a:bodyPr/>
                    <a:lstStyle/>
                    <a:p>
                      <a:pPr>
                        <a:spcAft>
                          <a:spcPts val="300"/>
                        </a:spcAft>
                      </a:pPr>
                      <a:r>
                        <a:rPr lang="pt-BR" sz="1600" dirty="0">
                          <a:effectLst/>
                        </a:rPr>
                        <a:t>04 objetos pessoais em lugares públic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extLst>
                  <a:ext uri="{0D108BD9-81ED-4DB2-BD59-A6C34878D82A}">
                    <a16:rowId xmlns:a16="http://schemas.microsoft.com/office/drawing/2014/main" val="10004"/>
                  </a:ext>
                </a:extLst>
              </a:tr>
              <a:tr h="349592">
                <a:tc>
                  <a:txBody>
                    <a:bodyPr/>
                    <a:lstStyle/>
                    <a:p>
                      <a:pPr>
                        <a:spcAft>
                          <a:spcPts val="300"/>
                        </a:spcAft>
                      </a:pPr>
                      <a:r>
                        <a:rPr lang="pt-BR" sz="1600" dirty="0">
                          <a:effectLst/>
                        </a:rPr>
                        <a:t>05 dar recad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5"/>
                  </a:ext>
                </a:extLst>
              </a:tr>
              <a:tr h="487806">
                <a:tc>
                  <a:txBody>
                    <a:bodyPr/>
                    <a:lstStyle/>
                    <a:p>
                      <a:pPr>
                        <a:spcAft>
                          <a:spcPts val="300"/>
                        </a:spcAft>
                      </a:pPr>
                      <a:r>
                        <a:rPr lang="pt-BR" sz="1600" dirty="0">
                          <a:effectLst/>
                        </a:rPr>
                        <a:t>06 o caminho a ser tomado para chegar a lugares conhecid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6"/>
                  </a:ext>
                </a:extLst>
              </a:tr>
            </a:tbl>
          </a:graphicData>
        </a:graphic>
      </p:graphicFrame>
      <p:sp>
        <p:nvSpPr>
          <p:cNvPr id="22583" name="Rectangle 5"/>
          <p:cNvSpPr>
            <a:spLocks noChangeArrowheads="1"/>
          </p:cNvSpPr>
          <p:nvPr/>
        </p:nvSpPr>
        <p:spPr bwMode="auto">
          <a:xfrm>
            <a:off x="899592" y="2486025"/>
            <a:ext cx="51244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pt-BR" altLang="pt-BR" sz="2000" b="1" dirty="0">
                <a:cs typeface="Times New Roman" panose="02020603050405020304" pitchFamily="18" charset="0"/>
              </a:rPr>
              <a:t>Assinale os itens que se aplicam a você.</a:t>
            </a:r>
            <a:endParaRPr lang="pt-BR" altLang="pt-BR" sz="2000" dirty="0"/>
          </a:p>
          <a:p>
            <a:r>
              <a:rPr lang="pt-BR" altLang="pt-BR" sz="2000" b="1" dirty="0">
                <a:cs typeface="Times New Roman" panose="02020603050405020304" pitchFamily="18" charset="0"/>
              </a:rPr>
              <a:t>Você se esquece de...</a:t>
            </a:r>
            <a:endParaRPr lang="pt-BR" altLang="pt-BR" sz="2000" dirty="0"/>
          </a:p>
        </p:txBody>
      </p:sp>
      <p:sp>
        <p:nvSpPr>
          <p:cNvPr id="6" name="CaixaDeTexto 5"/>
          <p:cNvSpPr txBox="1"/>
          <p:nvPr/>
        </p:nvSpPr>
        <p:spPr bwMode="auto">
          <a:xfrm>
            <a:off x="1051549" y="341914"/>
            <a:ext cx="7800975" cy="1681162"/>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a:spAutoFit/>
          </a:bodyPr>
          <a:lstStyle/>
          <a:p>
            <a:pPr>
              <a:buFont typeface="Arial" pitchFamily="34" charset="0"/>
              <a:buChar char="•"/>
              <a:defRPr/>
            </a:pPr>
            <a:r>
              <a:rPr lang="en-US" sz="2000" b="1" dirty="0">
                <a:latin typeface="Arial" pitchFamily="34" charset="0"/>
                <a:cs typeface="Arial" pitchFamily="34" charset="0"/>
              </a:rPr>
              <a:t> </a:t>
            </a:r>
            <a:r>
              <a:rPr lang="en-US" sz="2400" b="1" dirty="0">
                <a:latin typeface="Arial" pitchFamily="34" charset="0"/>
                <a:cs typeface="Arial" pitchFamily="34" charset="0"/>
              </a:rPr>
              <a:t>TESTE DE MEMÓRIA</a:t>
            </a:r>
          </a:p>
          <a:p>
            <a:pPr eaLnBrk="0" hangingPunct="0">
              <a:lnSpc>
                <a:spcPct val="90000"/>
              </a:lnSpc>
              <a:defRPr/>
            </a:pPr>
            <a:endParaRPr kumimoji="1" lang="pt-BR" sz="2000" dirty="0">
              <a:latin typeface="Arial" pitchFamily="34" charset="0"/>
              <a:ea typeface="Times New Roman" pitchFamily="18" charset="0"/>
              <a:cs typeface="Arial" pitchFamily="34" charset="0"/>
            </a:endParaRPr>
          </a:p>
          <a:p>
            <a:pPr eaLnBrk="0" hangingPunct="0">
              <a:lnSpc>
                <a:spcPct val="90000"/>
              </a:lnSpc>
              <a:defRPr/>
            </a:pPr>
            <a:r>
              <a:rPr lang="pt-BR" sz="2000" dirty="0">
                <a:latin typeface="Arial" pitchFamily="34" charset="0"/>
                <a:cs typeface="Arial" pitchFamily="34" charset="0"/>
              </a:rPr>
              <a:t>Fonte: Alvarez, Ana (2004). </a:t>
            </a:r>
            <a:r>
              <a:rPr lang="pt-BR" sz="2000" b="1" dirty="0">
                <a:latin typeface="Arial" pitchFamily="34" charset="0"/>
                <a:cs typeface="Arial" pitchFamily="34" charset="0"/>
              </a:rPr>
              <a:t>Deu Branco</a:t>
            </a:r>
            <a:r>
              <a:rPr lang="pt-BR" sz="2000" dirty="0">
                <a:latin typeface="Arial" pitchFamily="34" charset="0"/>
                <a:cs typeface="Arial" pitchFamily="34" charset="0"/>
              </a:rPr>
              <a:t>. São Paulo: Editora Best </a:t>
            </a:r>
            <a:r>
              <a:rPr lang="pt-BR" sz="2000" dirty="0" err="1">
                <a:latin typeface="Arial" pitchFamily="34" charset="0"/>
                <a:cs typeface="Arial" pitchFamily="34" charset="0"/>
              </a:rPr>
              <a:t>Seller</a:t>
            </a:r>
            <a:r>
              <a:rPr lang="pt-BR" sz="2000" dirty="0">
                <a:latin typeface="Arial" pitchFamily="34" charset="0"/>
                <a:cs typeface="Arial" pitchFamily="34" charset="0"/>
              </a:rPr>
              <a:t>.</a:t>
            </a:r>
          </a:p>
          <a:p>
            <a:pPr eaLnBrk="0" hangingPunct="0">
              <a:lnSpc>
                <a:spcPct val="90000"/>
              </a:lnSpc>
              <a:defRPr/>
            </a:pPr>
            <a:endParaRPr lang="pt-BR" sz="800" dirty="0">
              <a:latin typeface="Arial" pitchFamily="34" charset="0"/>
              <a:cs typeface="Arial" pitchFamily="34" charset="0"/>
            </a:endParaRPr>
          </a:p>
          <a:p>
            <a:pPr eaLnBrk="0" hangingPunct="0">
              <a:lnSpc>
                <a:spcPct val="90000"/>
              </a:lnSpc>
              <a:defRPr/>
            </a:pPr>
            <a:r>
              <a:rPr lang="pt-BR" sz="2000" b="1" dirty="0">
                <a:latin typeface="Arial" pitchFamily="34" charset="0"/>
                <a:cs typeface="Arial" pitchFamily="34" charset="0"/>
              </a:rPr>
              <a:t>Itens </a:t>
            </a:r>
            <a:r>
              <a:rPr lang="pt-BR" sz="2000" b="1" dirty="0" err="1">
                <a:latin typeface="Arial" pitchFamily="34" charset="0"/>
                <a:cs typeface="Arial" pitchFamily="34" charset="0"/>
              </a:rPr>
              <a:t>politômicos</a:t>
            </a:r>
            <a:r>
              <a:rPr lang="pt-BR" sz="2000" dirty="0">
                <a:latin typeface="Arial" pitchFamily="34" charset="0"/>
                <a:cs typeface="Arial" pitchFamily="34" charset="0"/>
              </a:rPr>
              <a:t>: quatro categorias de resposta ordinais</a:t>
            </a:r>
            <a:endParaRPr lang="pt-BR" sz="2000" dirty="0">
              <a:solidFill>
                <a:srgbClr val="002060"/>
              </a:solidFill>
              <a:latin typeface="Arial" pitchFamily="34" charset="0"/>
              <a:cs typeface="Arial" pitchFamily="34" charset="0"/>
            </a:endParaRPr>
          </a:p>
        </p:txBody>
      </p:sp>
    </p:spTree>
    <p:extLst>
      <p:ext uri="{BB962C8B-B14F-4D97-AF65-F5344CB8AC3E}">
        <p14:creationId xmlns:p14="http://schemas.microsoft.com/office/powerpoint/2010/main" val="1202904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custDataLst>
              <p:tags r:id="rId1"/>
            </p:custDataLst>
          </p:nvPr>
        </p:nvSpPr>
        <p:spPr>
          <a:xfrm>
            <a:off x="395536" y="1484784"/>
            <a:ext cx="6319604" cy="4658860"/>
          </a:xfrm>
          <a:prstGeom prst="rect">
            <a:avLst/>
          </a:prstGeom>
        </p:spPr>
        <p:txBody>
          <a:bodyPr>
            <a:normAutofit/>
          </a:bodyPr>
          <a:lstStyle/>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Belez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Romantismo</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Dedicação ao Trabalho / Estudo</a:t>
            </a:r>
            <a:endParaRPr lang="pt-BR" sz="2200" dirty="0">
              <a:solidFill>
                <a:prstClr val="black">
                  <a:lumMod val="85000"/>
                  <a:lumOff val="15000"/>
                </a:prstClr>
              </a:solidFill>
            </a:endParaRP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Extroversão </a:t>
            </a:r>
            <a:r>
              <a:rPr sz="2400"/>
              <a:t> / Timidez</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ca de Predisposição à Gripe 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Amor pelo Futebol</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Brasilidade</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Conhecedor de Cervej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Inovação Tecnológic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Confiabilidade</a:t>
            </a:r>
            <a:endParaRPr lang="pt-BR" sz="2200" dirty="0">
              <a:solidFill>
                <a:prstClr val="black">
                  <a:lumMod val="85000"/>
                  <a:lumOff val="15000"/>
                </a:prstClr>
              </a:solidFill>
            </a:endParaRPr>
          </a:p>
          <a:p>
            <a:pPr marL="457200" indent="-457200">
              <a:lnSpc>
                <a:spcPct val="114000"/>
              </a:lnSpc>
              <a:spcBef>
                <a:spcPct val="20000"/>
              </a:spcBef>
              <a:buFont typeface="Arial" pitchFamily="34" charset="0"/>
              <a:buAutoNum type="arabicPeriod"/>
              <a:defRPr lang="pt-BR"/>
            </a:pPr>
            <a:endParaRPr lang="pt-BR" sz="2200" dirty="0">
              <a:solidFill>
                <a:prstClr val="black">
                  <a:lumMod val="85000"/>
                  <a:lumOff val="15000"/>
                </a:prstClr>
              </a:solidFill>
            </a:endParaRPr>
          </a:p>
        </p:txBody>
      </p:sp>
      <p:grpSp>
        <p:nvGrpSpPr>
          <p:cNvPr id="2" name="Group 9"/>
          <p:cNvGrpSpPr/>
          <p:nvPr/>
        </p:nvGrpSpPr>
        <p:grpSpPr>
          <a:xfrm>
            <a:off x="7164288" y="692696"/>
            <a:ext cx="1438275" cy="1438275"/>
            <a:chOff x="762001" y="1946209"/>
            <a:chExt cx="2057400" cy="2057400"/>
          </a:xfrm>
        </p:grpSpPr>
        <p:sp>
          <p:nvSpPr>
            <p:cNvPr id="8" name="Oval 7"/>
            <p:cNvSpPr/>
            <p:nvPr/>
          </p:nvSpPr>
          <p:spPr>
            <a:xfrm>
              <a:off x="762001" y="1946209"/>
              <a:ext cx="2057400" cy="2057400"/>
            </a:xfrm>
            <a:prstGeom prst="ellipse">
              <a:avLst/>
            </a:prstGeom>
            <a:gradFill>
              <a:gsLst>
                <a:gs pos="38000">
                  <a:srgbClr val="00B0F0"/>
                </a:gs>
                <a:gs pos="79000">
                  <a:srgbClr val="0065B0"/>
                </a:gs>
              </a:gsLst>
              <a:path path="circle">
                <a:fillToRect l="50000" t="50000" r="50000" b="50000"/>
              </a:path>
            </a:gradFill>
            <a:ln w="82550">
              <a:noFill/>
            </a:ln>
            <a:effectLst>
              <a:outerShdw blurRad="1270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9" name="Oval 8"/>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grpSp>
      <p:pic>
        <p:nvPicPr>
          <p:cNvPr id="12" name="Picture 11"/>
          <p:cNvPicPr>
            <a:picLocks noChangeAspect="1"/>
          </p:cNvPicPr>
          <p:nvPr/>
        </p:nvPicPr>
        <p:blipFill>
          <a:blip r:embed="rId4" cstate="print"/>
          <a:stretch>
            <a:fillRect/>
          </a:stretch>
        </p:blipFill>
        <p:spPr>
          <a:xfrm>
            <a:off x="7308304" y="836712"/>
            <a:ext cx="1133856" cy="1133856"/>
          </a:xfrm>
          <a:prstGeom prst="rect">
            <a:avLst/>
          </a:prstGeom>
        </p:spPr>
      </p:pic>
      <p:sp>
        <p:nvSpPr>
          <p:cNvPr id="19" name="Title 18"/>
          <p:cNvSpPr>
            <a:spLocks noGrp="1"/>
          </p:cNvSpPr>
          <p:nvPr>
            <p:ph type="title"/>
          </p:nvPr>
        </p:nvSpPr>
        <p:spPr>
          <a:xfrm>
            <a:off x="445911" y="76200"/>
            <a:ext cx="8229600" cy="1143000"/>
          </a:xfrm>
        </p:spPr>
        <p:txBody>
          <a:bodyPr>
            <a:normAutofit/>
          </a:bodyPr>
          <a:lstStyle/>
          <a:p>
            <a:pPr lvl="0" algn="l">
              <a:spcBef>
                <a:spcPts val="0"/>
              </a:spcBef>
            </a:pPr>
            <a:r>
              <a:rPr lang="pt-BR" b="1" dirty="0">
                <a:solidFill>
                  <a:prstClr val="black">
                    <a:lumMod val="85000"/>
                    <a:lumOff val="15000"/>
                  </a:prstClr>
                </a:solidFill>
                <a:ea typeface="+mn-ea"/>
                <a:cs typeface="+mn-cs"/>
              </a:rPr>
              <a:t>Possíveis escalas a mensurar</a:t>
            </a:r>
            <a:endParaRPr lang="pt-BR" dirty="0"/>
          </a:p>
        </p:txBody>
      </p:sp>
      <p:pic>
        <p:nvPicPr>
          <p:cNvPr id="17" name="Picture 16"/>
          <p:cNvPicPr>
            <a:picLocks noChangeAspect="1"/>
          </p:cNvPicPr>
          <p:nvPr/>
        </p:nvPicPr>
        <p:blipFill>
          <a:blip r:embed="rId5" cstate="print"/>
          <a:stretch>
            <a:fillRect/>
          </a:stretch>
        </p:blipFill>
        <p:spPr>
          <a:xfrm>
            <a:off x="7308304" y="5301208"/>
            <a:ext cx="1134454" cy="1134454"/>
          </a:xfrm>
          <a:prstGeom prst="rect">
            <a:avLst/>
          </a:prstGeom>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372599" y="2062304"/>
            <a:ext cx="559337" cy="452296"/>
          </a:xfrm>
          <a:prstGeom prst="rect">
            <a:avLst/>
          </a:prstGeom>
          <a:extLst>
            <a:ext uri="{53640926-AAD7-44D8-BBD7-CCE9431645EC}">
              <a14:shadowObscured xmlns:a14="http://schemas.microsoft.com/office/drawing/2010/main" val="1"/>
            </a:ext>
          </a:extLst>
        </p:spPr>
      </p:pic>
      <p:pic>
        <p:nvPicPr>
          <p:cNvPr id="10" name="Espaço Reservado para Conteúdo 4"/>
          <p:cNvPicPr>
            <a:picLocks noGrp="1" noChangeAspect="1"/>
          </p:cNvPicPr>
          <p:nvPr>
            <p:ph sz="half" idx="4294967295"/>
          </p:nvPr>
        </p:nvPicPr>
        <p:blipFill>
          <a:blip r:embed="rId7" cstate="print">
            <a:extLst>
              <a:ext uri="{28A0092B-C50C-407E-A947-70E740481C1C}">
                <a14:useLocalDpi xmlns:a14="http://schemas.microsoft.com/office/drawing/2010/main" val="0"/>
              </a:ext>
            </a:extLst>
          </a:blip>
          <a:stretch>
            <a:fillRect/>
          </a:stretch>
        </p:blipFill>
        <p:spPr>
          <a:xfrm>
            <a:off x="5862428" y="2420240"/>
            <a:ext cx="2787947" cy="278794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50000" decel="50000" fill="hold" nodeType="withEffect">
                                  <p:stCondLst>
                                    <p:cond delay="500"/>
                                  </p:stCondLst>
                                  <p:childTnLst>
                                    <p:animRot by="21600000">
                                      <p:cBhvr>
                                        <p:cTn id="6" dur="500" fill="hold"/>
                                        <p:tgtEl>
                                          <p:spTgt spid="12"/>
                                        </p:tgtEl>
                                        <p:attrNameLst>
                                          <p:attrName>r</p:attrName>
                                        </p:attrNameLst>
                                      </p:cBhvr>
                                    </p:animRot>
                                  </p:childTnLst>
                                </p:cTn>
                              </p:par>
                              <p:par>
                                <p:cTn id="7" presetID="10" presetClass="entr" presetSubtype="0" fill="hold" nodeType="withEffect">
                                  <p:stCondLst>
                                    <p:cond delay="5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childTnLst>
                                </p:cTn>
                              </p:par>
                            </p:childTnLst>
                          </p:cTn>
                        </p:par>
                        <p:par>
                          <p:cTn id="10" fill="hold">
                            <p:stCondLst>
                              <p:cond delay="1500"/>
                            </p:stCondLst>
                            <p:childTnLst>
                              <p:par>
                                <p:cTn id="11" presetID="42" presetClass="path" presetSubtype="0" accel="19000" decel="40000" fill="hold" nodeType="afterEffect">
                                  <p:stCondLst>
                                    <p:cond delay="0"/>
                                  </p:stCondLst>
                                  <p:childTnLst>
                                    <p:animMotion origin="layout" path="M -0.01389 -0.01134 L -0.50556 -0.00764 " pathEditMode="relative" rAng="0" ptsTypes="AA">
                                      <p:cBhvr>
                                        <p:cTn id="12" dur="1000" fill="hold"/>
                                        <p:tgtEl>
                                          <p:spTgt spid="2050"/>
                                        </p:tgtEl>
                                        <p:attrNameLst>
                                          <p:attrName>ppt_x</p:attrName>
                                          <p:attrName>ppt_y</p:attrName>
                                        </p:attrNameLst>
                                      </p:cBhvr>
                                      <p:rCtr x="-24583" y="185"/>
                                    </p:animMotion>
                                  </p:childTnLst>
                                </p:cTn>
                              </p:par>
                            </p:childTnLst>
                          </p:cTn>
                        </p:par>
                        <p:par>
                          <p:cTn id="13" fill="hold">
                            <p:stCondLst>
                              <p:cond delay="2500"/>
                            </p:stCondLst>
                            <p:childTnLst>
                              <p:par>
                                <p:cTn id="14" presetID="0" presetClass="path" presetSubtype="0" accel="50000" decel="50000" fill="hold" nodeType="afterEffect">
                                  <p:stCondLst>
                                    <p:cond delay="0"/>
                                  </p:stCondLst>
                                  <p:childTnLst>
                                    <p:animMotion origin="layout" path="M -0.50452 -0.0081 C -0.49844 -0.00555 -0.49306 -0.00139 -0.48716 0.00092 C -0.48368 0.00439 -0.48073 0.00462 -0.47691 0.00717 C -0.47344 0.00948 -0.46997 0.01248 -0.4665 0.0148 C -0.45886 0.01989 -0.45 0.02197 -0.44237 0.02705 C -0.43073 0.03492 -0.41928 0.04486 -0.40678 0.04995 C -0.40365 0.05458 -0.39636 0.05735 -0.39184 0.06082 C -0.38438 0.0666 -0.37605 0.07007 -0.36875 0.07608 C -0.36493 0.07932 -0.36459 0.08117 -0.36077 0.08372 C -0.35625 0.08672 -0.35816 0.08348 -0.35382 0.08834 C -0.34792 0.09505 -0.33612 0.10892 -0.32865 0.11147 C -0.32587 0.11679 -0.32344 0.12026 -0.31945 0.12372 C -0.31823 0.12581 -0.31737 0.12812 -0.31598 0.12997 C -0.31459 0.13182 -0.3125 0.13251 -0.31129 0.13436 C -0.31059 0.13552 -0.31077 0.1376 -0.31025 0.13899 C -0.30973 0.14038 -0.30868 0.14107 -0.30799 0.14223 C -0.30521 0.15263 -0.30712 0.14893 -0.3033 0.15448 C -0.30035 0.16512 -0.29775 0.17576 -0.29532 0.18663 C -0.29219 0.21878 -0.30053 0.26272 -0.31719 0.28769 C -0.32066 0.29301 -0.32483 0.29787 -0.32865 0.30296 C -0.33056 0.3055 -0.33351 0.30643 -0.33542 0.30897 C -0.33924 0.31383 -0.34202 0.31753 -0.34705 0.31984 C -0.35226 0.32631 -0.36059 0.33372 -0.36771 0.33649 C -0.37171 0.34227 -0.38351 0.3462 -0.38959 0.34875 C -0.3941 0.35522 -0.40921 0.35915 -0.41598 0.36124 C -0.42934 0.3647 -0.44219 0.37072 -0.45504 0.37673 C -0.4632 0.38043 -0.47084 0.38506 -0.47917 0.38876 C -0.48664 0.39199 -0.47848 0.38829 -0.48612 0.39338 C -0.48716 0.39408 -0.50782 0.39801 -0.50782 0.39824 " pathEditMode="relative" rAng="0" ptsTypes="fffffffffffffffffffffffffffff">
                                      <p:cBhvr>
                                        <p:cTn id="15" dur="1500" fill="hold"/>
                                        <p:tgtEl>
                                          <p:spTgt spid="2050"/>
                                        </p:tgtEl>
                                        <p:attrNameLst>
                                          <p:attrName>ppt_x</p:attrName>
                                          <p:attrName>ppt_y</p:attrName>
                                        </p:attrNameLst>
                                      </p:cBhvr>
                                      <p:rCtr x="10451" y="20305"/>
                                    </p:animMotion>
                                  </p:childTnLst>
                                </p:cTn>
                              </p:par>
                            </p:childTnLst>
                          </p:cTn>
                        </p:par>
                        <p:par>
                          <p:cTn id="16" fill="hold">
                            <p:stCondLst>
                              <p:cond delay="4000"/>
                            </p:stCondLst>
                            <p:childTnLst>
                              <p:par>
                                <p:cTn id="17" presetID="0" presetClass="path" presetSubtype="0" accel="50000" decel="50000" fill="hold" nodeType="afterEffect">
                                  <p:stCondLst>
                                    <p:cond delay="0"/>
                                  </p:stCondLst>
                                  <p:childTnLst>
                                    <p:animMotion origin="layout" path="M -0.50834 0.39939 L -0.38889 0.42853 " pathEditMode="relative" rAng="0" ptsTypes="AA">
                                      <p:cBhvr>
                                        <p:cTn id="18" dur="1000" fill="hold"/>
                                        <p:tgtEl>
                                          <p:spTgt spid="2050"/>
                                        </p:tgtEl>
                                        <p:attrNameLst>
                                          <p:attrName>ppt_x</p:attrName>
                                          <p:attrName>ppt_y</p:attrName>
                                        </p:attrNameLst>
                                      </p:cBhvr>
                                      <p:rCtr x="5972" y="1457"/>
                                    </p:animMotion>
                                  </p:childTnLst>
                                </p:cTn>
                              </p:par>
                              <p:par>
                                <p:cTn id="19" presetID="8" presetClass="emph" presetSubtype="0" accel="50000" decel="50000" fill="hold" nodeType="withEffect">
                                  <p:stCondLst>
                                    <p:cond delay="500"/>
                                  </p:stCondLst>
                                  <p:childTnLst>
                                    <p:animRot by="21600000">
                                      <p:cBhvr>
                                        <p:cTn id="20" dur="5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4" cstate="print"/>
          <a:stretch>
            <a:fillRect/>
          </a:stretch>
        </p:blipFill>
        <p:spPr>
          <a:xfrm rot="198018">
            <a:off x="7834024" y="2845970"/>
            <a:ext cx="1031813" cy="2283364"/>
          </a:xfrm>
          <a:prstGeom prst="rect">
            <a:avLst/>
          </a:prstGeom>
        </p:spPr>
      </p:pic>
      <p:pic>
        <p:nvPicPr>
          <p:cNvPr id="16" name="Picture 15"/>
          <p:cNvPicPr>
            <a:picLocks noChangeAspect="1"/>
          </p:cNvPicPr>
          <p:nvPr/>
        </p:nvPicPr>
        <p:blipFill>
          <a:blip r:embed="rId5" cstate="print"/>
          <a:stretch>
            <a:fillRect/>
          </a:stretch>
        </p:blipFill>
        <p:spPr>
          <a:xfrm>
            <a:off x="7416882" y="267512"/>
            <a:ext cx="1584446" cy="2438400"/>
          </a:xfrm>
          <a:prstGeom prst="rect">
            <a:avLst/>
          </a:prstGeom>
        </p:spPr>
      </p:pic>
      <p:pic>
        <p:nvPicPr>
          <p:cNvPr id="18" name="Picture 17"/>
          <p:cNvPicPr>
            <a:picLocks noChangeAspect="1"/>
          </p:cNvPicPr>
          <p:nvPr/>
        </p:nvPicPr>
        <p:blipFill>
          <a:blip r:embed="rId6" cstate="print"/>
          <a:stretch>
            <a:fillRect/>
          </a:stretch>
        </p:blipFill>
        <p:spPr>
          <a:xfrm>
            <a:off x="6110596" y="356541"/>
            <a:ext cx="828109" cy="2133600"/>
          </a:xfrm>
          <a:prstGeom prst="rect">
            <a:avLst/>
          </a:prstGeom>
        </p:spPr>
      </p:pic>
      <p:sp>
        <p:nvSpPr>
          <p:cNvPr id="19" name="Left-Right Arrow 18"/>
          <p:cNvSpPr/>
          <p:nvPr/>
        </p:nvSpPr>
        <p:spPr>
          <a:xfrm rot="5400000">
            <a:off x="6208854" y="2544283"/>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0" name="Left-Right Arrow 19"/>
          <p:cNvSpPr/>
          <p:nvPr/>
        </p:nvSpPr>
        <p:spPr>
          <a:xfrm rot="10800000">
            <a:off x="7298752" y="3868422"/>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1" name="Left-Right Arrow 20"/>
          <p:cNvSpPr/>
          <p:nvPr/>
        </p:nvSpPr>
        <p:spPr>
          <a:xfrm rot="7846803">
            <a:off x="7097263" y="2788412"/>
            <a:ext cx="819804"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2" name="Oval 21"/>
          <p:cNvSpPr/>
          <p:nvPr/>
        </p:nvSpPr>
        <p:spPr>
          <a:xfrm>
            <a:off x="6462818" y="2490141"/>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Oval 22"/>
          <p:cNvSpPr/>
          <p:nvPr/>
        </p:nvSpPr>
        <p:spPr>
          <a:xfrm>
            <a:off x="6488050" y="3994685"/>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Oval 23"/>
          <p:cNvSpPr/>
          <p:nvPr/>
        </p:nvSpPr>
        <p:spPr>
          <a:xfrm>
            <a:off x="6488050" y="3993389"/>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Oval 24"/>
          <p:cNvSpPr/>
          <p:nvPr/>
        </p:nvSpPr>
        <p:spPr>
          <a:xfrm>
            <a:off x="7729263" y="399030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Oval 25"/>
          <p:cNvSpPr/>
          <p:nvPr/>
        </p:nvSpPr>
        <p:spPr>
          <a:xfrm>
            <a:off x="6485609" y="3995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Oval 26"/>
          <p:cNvSpPr/>
          <p:nvPr/>
        </p:nvSpPr>
        <p:spPr>
          <a:xfrm>
            <a:off x="6483258" y="399379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TextBox 4"/>
          <p:cNvSpPr txBox="1"/>
          <p:nvPr/>
        </p:nvSpPr>
        <p:spPr>
          <a:xfrm>
            <a:off x="154649" y="2967138"/>
            <a:ext cx="5333751" cy="2412097"/>
          </a:xfrm>
          <a:prstGeom prst="rect">
            <a:avLst/>
          </a:prstGeom>
          <a:noFill/>
        </p:spPr>
        <p:txBody>
          <a:bodyPr wrap="square" rtlCol="0" anchor="b">
            <a:normAutofit/>
          </a:bodyPr>
          <a:lstStyle/>
          <a:p>
            <a:r>
              <a:rPr lang="pt-BR" sz="4400" b="1" dirty="0">
                <a:solidFill>
                  <a:srgbClr val="7BCF27"/>
                </a:solidFill>
              </a:rPr>
              <a:t>Avaliando os Itens: Teoria Clássica dos Testes</a:t>
            </a:r>
          </a:p>
        </p:txBody>
      </p:sp>
      <p:pic>
        <p:nvPicPr>
          <p:cNvPr id="30" name="Picture 4" descr="http://t0.gstatic.com/images?q=tbn:ANd9GcQPh_HkpOPShe-hx11O3zWvYtppHIQ9Bh6oS0B7VOJZGIvQ1Nr4vukzapcu">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6798" y="3453681"/>
            <a:ext cx="1047750" cy="126682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23"/>
          <p:cNvGrpSpPr/>
          <p:nvPr/>
        </p:nvGrpSpPr>
        <p:grpSpPr>
          <a:xfrm>
            <a:off x="539552" y="109729"/>
            <a:ext cx="2057400" cy="2708434"/>
            <a:chOff x="6324600" y="1587511"/>
            <a:chExt cx="2057400" cy="2708434"/>
          </a:xfrm>
        </p:grpSpPr>
        <p:sp>
          <p:nvSpPr>
            <p:cNvPr id="3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3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3</a:t>
              </a:r>
            </a:p>
          </p:txBody>
        </p:sp>
        <p:sp>
          <p:nvSpPr>
            <p:cNvPr id="3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3200" b="1" spc="60" dirty="0">
                  <a:solidFill>
                    <a:schemeClr val="bg1"/>
                  </a:solidFill>
                  <a:effectLst>
                    <a:outerShdw blurRad="50800" dist="25400" dir="5400000" algn="t" rotWithShape="0">
                      <a:prstClr val="black">
                        <a:alpha val="15000"/>
                      </a:prstClr>
                    </a:outerShdw>
                  </a:effectLst>
                </a:rPr>
                <a:t>TCT</a:t>
              </a:r>
              <a:endParaRPr lang="pt-BR" sz="2300" b="1" dirty="0">
                <a:solidFill>
                  <a:schemeClr val="bg1"/>
                </a:solidFill>
                <a:effectLst>
                  <a:outerShdw blurRad="50800" dist="25400" dir="5400000" algn="t" rotWithShape="0">
                    <a:prstClr val="black">
                      <a:alpha val="15000"/>
                    </a:prstClr>
                  </a:outerShdw>
                </a:effectLst>
              </a:endParaRPr>
            </a:p>
          </p:txBody>
        </p:sp>
      </p:grpSp>
    </p:spTree>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par>
                                <p:cTn id="14" presetID="16" presetClass="entr" presetSubtype="37"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arn(outVertical)">
                                      <p:cBhvr>
                                        <p:cTn id="16" dur="500"/>
                                        <p:tgtEl>
                                          <p:spTgt spid="20"/>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barn(outHorizontal)">
                                      <p:cBhvr>
                                        <p:cTn id="19" dur="500"/>
                                        <p:tgtEl>
                                          <p:spTgt spid="19"/>
                                        </p:tgtEl>
                                      </p:cBhvr>
                                    </p:animEffect>
                                  </p:childTnLst>
                                </p:cTn>
                              </p:par>
                              <p:par>
                                <p:cTn id="20" presetID="16" presetClass="entr" presetSubtype="37"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500"/>
                                        <p:tgtEl>
                                          <p:spTgt spid="21"/>
                                        </p:tgtEl>
                                      </p:cBhvr>
                                    </p:animEffect>
                                  </p:childTnLst>
                                </p:cTn>
                              </p:par>
                            </p:childTnLst>
                          </p:cTn>
                        </p:par>
                        <p:par>
                          <p:cTn id="23" fill="hold">
                            <p:stCondLst>
                              <p:cond delay="1500"/>
                            </p:stCondLst>
                            <p:childTnLst>
                              <p:par>
                                <p:cTn id="24" presetID="10" presetClass="entr" presetSubtype="0" fill="hold" grpId="1"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42" presetClass="path" presetSubtype="0" accel="50000" decel="50000" fill="hold" grpId="0" nodeType="afterEffect">
                                  <p:stCondLst>
                                    <p:cond delay="0"/>
                                  </p:stCondLst>
                                  <p:childTnLst>
                                    <p:animMotion origin="layout" path="M 0.00017 0.00023 L 0.00278 0.22037 " pathEditMode="relative" rAng="0" ptsTypes="AA">
                                      <p:cBhvr>
                                        <p:cTn id="29" dur="1500" fill="hold"/>
                                        <p:tgtEl>
                                          <p:spTgt spid="22"/>
                                        </p:tgtEl>
                                        <p:attrNameLst>
                                          <p:attrName>ppt_x</p:attrName>
                                          <p:attrName>ppt_y</p:attrName>
                                        </p:attrNameLst>
                                      </p:cBhvr>
                                      <p:rCtr x="1" y="110"/>
                                    </p:animMotion>
                                  </p:childTnLst>
                                  <p:subTnLst>
                                    <p:set>
                                      <p:cBhvr override="childStyle">
                                        <p:cTn dur="1" fill="hold" display="0" masterRel="sameClick" afterEffect="1">
                                          <p:stCondLst>
                                            <p:cond evt="end" delay="0">
                                              <p:tn val="28"/>
                                            </p:cond>
                                          </p:stCondLst>
                                        </p:cTn>
                                        <p:tgtEl>
                                          <p:spTgt spid="22"/>
                                        </p:tgtEl>
                                        <p:attrNameLst>
                                          <p:attrName>style.visibility</p:attrName>
                                        </p:attrNameLst>
                                      </p:cBhvr>
                                      <p:to>
                                        <p:strVal val="hidden"/>
                                      </p:to>
                                    </p:set>
                                  </p:subTnLst>
                                </p:cTn>
                              </p:par>
                            </p:childTnLst>
                          </p:cTn>
                        </p:par>
                        <p:par>
                          <p:cTn id="30" fill="hold">
                            <p:stCondLst>
                              <p:cond delay="3500"/>
                            </p:stCondLst>
                            <p:childTnLst>
                              <p:par>
                                <p:cTn id="31" presetID="10" presetClass="exit" presetSubtype="0" fill="hold" grpId="2" nodeType="afterEffect">
                                  <p:stCondLst>
                                    <p:cond delay="0"/>
                                  </p:stCondLst>
                                  <p:childTnLst>
                                    <p:animEffect transition="out" filter="fade">
                                      <p:cBhvr>
                                        <p:cTn id="32" dur="500"/>
                                        <p:tgtEl>
                                          <p:spTgt spid="22"/>
                                        </p:tgtEl>
                                      </p:cBhvr>
                                    </p:animEffect>
                                    <p:set>
                                      <p:cBhvr>
                                        <p:cTn id="33" dur="1" fill="hold">
                                          <p:stCondLst>
                                            <p:cond delay="499"/>
                                          </p:stCondLst>
                                        </p:cTn>
                                        <p:tgtEl>
                                          <p:spTgt spid="22"/>
                                        </p:tgtEl>
                                        <p:attrNameLst>
                                          <p:attrName>style.visibility</p:attrName>
                                        </p:attrNameLst>
                                      </p:cBhvr>
                                      <p:to>
                                        <p:strVal val="hidden"/>
                                      </p:to>
                                    </p:set>
                                  </p:childTnLst>
                                </p:cTn>
                              </p:par>
                              <p:par>
                                <p:cTn id="34" presetID="1" presetClass="entr" presetSubtype="0" fill="hold" grpId="1" nodeType="withEffect">
                                  <p:stCondLst>
                                    <p:cond delay="0"/>
                                  </p:stCondLst>
                                  <p:childTnLst>
                                    <p:set>
                                      <p:cBhvr>
                                        <p:cTn id="35" dur="1" fill="hold">
                                          <p:stCondLst>
                                            <p:cond delay="0"/>
                                          </p:stCondLst>
                                        </p:cTn>
                                        <p:tgtEl>
                                          <p:spTgt spid="24"/>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23"/>
                                        </p:tgtEl>
                                        <p:attrNameLst>
                                          <p:attrName>style.visibility</p:attrName>
                                        </p:attrNameLst>
                                      </p:cBhvr>
                                      <p:to>
                                        <p:strVal val="visible"/>
                                      </p:to>
                                    </p:set>
                                  </p:childTnLst>
                                </p:cTn>
                              </p:par>
                              <p:par>
                                <p:cTn id="38" presetID="42" presetClass="path" presetSubtype="0" accel="50000" decel="50000" fill="hold" grpId="0" nodeType="withEffect">
                                  <p:stCondLst>
                                    <p:cond delay="0"/>
                                  </p:stCondLst>
                                  <p:childTnLst>
                                    <p:animMotion origin="layout" path="M 3.33333E-6 -1.11111E-6 L 0.13889 -1.11111E-6 " pathEditMode="relative" rAng="0" ptsTypes="AA">
                                      <p:cBhvr>
                                        <p:cTn id="39" dur="1500" fill="hold"/>
                                        <p:tgtEl>
                                          <p:spTgt spid="24"/>
                                        </p:tgtEl>
                                        <p:attrNameLst>
                                          <p:attrName>ppt_x</p:attrName>
                                          <p:attrName>ppt_y</p:attrName>
                                        </p:attrNameLst>
                                      </p:cBhvr>
                                      <p:rCtr x="69" y="0"/>
                                    </p:animMotion>
                                  </p:childTnLst>
                                </p:cTn>
                              </p:par>
                              <p:par>
                                <p:cTn id="40" presetID="42" presetClass="path" presetSubtype="0" accel="50000" decel="50000" fill="hold" grpId="0" nodeType="withEffect">
                                  <p:stCondLst>
                                    <p:cond delay="0"/>
                                  </p:stCondLst>
                                  <p:childTnLst>
                                    <p:animMotion origin="layout" path="M 3.33333E-6 -1.11111E-6 L 0.11788 -0.18403 " pathEditMode="relative" rAng="0" ptsTypes="AA">
                                      <p:cBhvr>
                                        <p:cTn id="41" dur="1500" fill="hold"/>
                                        <p:tgtEl>
                                          <p:spTgt spid="23"/>
                                        </p:tgtEl>
                                        <p:attrNameLst>
                                          <p:attrName>ppt_x</p:attrName>
                                          <p:attrName>ppt_y</p:attrName>
                                        </p:attrNameLst>
                                      </p:cBhvr>
                                      <p:rCtr x="59" y="-92"/>
                                    </p:animMotion>
                                  </p:childTnLst>
                                </p:cTn>
                              </p:par>
                            </p:childTnLst>
                          </p:cTn>
                        </p:par>
                        <p:par>
                          <p:cTn id="42" fill="hold">
                            <p:stCondLst>
                              <p:cond delay="5000"/>
                            </p:stCondLst>
                            <p:childTnLst>
                              <p:par>
                                <p:cTn id="43" presetID="10" presetClass="exit" presetSubtype="0" fill="hold" grpId="2" nodeType="afterEffect">
                                  <p:stCondLst>
                                    <p:cond delay="0"/>
                                  </p:stCondLst>
                                  <p:childTnLst>
                                    <p:animEffect transition="out" filter="fade">
                                      <p:cBhvr>
                                        <p:cTn id="44" dur="250"/>
                                        <p:tgtEl>
                                          <p:spTgt spid="24"/>
                                        </p:tgtEl>
                                      </p:cBhvr>
                                    </p:animEffect>
                                    <p:set>
                                      <p:cBhvr>
                                        <p:cTn id="45" dur="1" fill="hold">
                                          <p:stCondLst>
                                            <p:cond delay="249"/>
                                          </p:stCondLst>
                                        </p:cTn>
                                        <p:tgtEl>
                                          <p:spTgt spid="2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23"/>
                                        </p:tgtEl>
                                      </p:cBhvr>
                                    </p:animEffect>
                                    <p:set>
                                      <p:cBhvr>
                                        <p:cTn id="48" dur="1" fill="hold">
                                          <p:stCondLst>
                                            <p:cond delay="499"/>
                                          </p:stCondLst>
                                        </p:cTn>
                                        <p:tgtEl>
                                          <p:spTgt spid="23"/>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50"/>
                                        <p:tgtEl>
                                          <p:spTgt spid="25"/>
                                        </p:tgtEl>
                                      </p:cBhvr>
                                    </p:animEffect>
                                  </p:childTnLst>
                                </p:cTn>
                              </p:par>
                            </p:childTnLst>
                          </p:cTn>
                        </p:par>
                        <p:par>
                          <p:cTn id="52" fill="hold">
                            <p:stCondLst>
                              <p:cond delay="5500"/>
                            </p:stCondLst>
                            <p:childTnLst>
                              <p:par>
                                <p:cTn id="53" presetID="42" presetClass="path" presetSubtype="0" accel="50000" decel="50000" fill="hold" grpId="1" nodeType="afterEffect">
                                  <p:stCondLst>
                                    <p:cond delay="0"/>
                                  </p:stCondLst>
                                  <p:childTnLst>
                                    <p:animMotion origin="layout" path="M 3.61111E-6 1.82786E-6 L -0.13664 0.00046 " pathEditMode="relative" rAng="0" ptsTypes="AA">
                                      <p:cBhvr>
                                        <p:cTn id="54" dur="1500" fill="hold"/>
                                        <p:tgtEl>
                                          <p:spTgt spid="25"/>
                                        </p:tgtEl>
                                        <p:attrNameLst>
                                          <p:attrName>ppt_x</p:attrName>
                                          <p:attrName>ppt_y</p:attrName>
                                        </p:attrNameLst>
                                      </p:cBhvr>
                                      <p:rCtr x="-68" y="0"/>
                                    </p:animMotion>
                                  </p:childTnLst>
                                  <p:subTnLst>
                                    <p:set>
                                      <p:cBhvr override="childStyle">
                                        <p:cTn dur="1" fill="hold" display="0" masterRel="sameClick" afterEffect="1">
                                          <p:stCondLst>
                                            <p:cond evt="end" delay="0">
                                              <p:tn val="53"/>
                                            </p:cond>
                                          </p:stCondLst>
                                        </p:cTn>
                                        <p:tgtEl>
                                          <p:spTgt spid="25"/>
                                        </p:tgtEl>
                                        <p:attrNameLst>
                                          <p:attrName>style.visibility</p:attrName>
                                        </p:attrNameLst>
                                      </p:cBhvr>
                                      <p:to>
                                        <p:strVal val="hidden"/>
                                      </p:to>
                                    </p:set>
                                  </p:subTnLst>
                                </p:cTn>
                              </p:par>
                            </p:childTnLst>
                          </p:cTn>
                        </p:par>
                        <p:par>
                          <p:cTn id="55" fill="hold">
                            <p:stCondLst>
                              <p:cond delay="7000"/>
                            </p:stCondLst>
                            <p:childTnLst>
                              <p:par>
                                <p:cTn id="56" presetID="10" presetClass="exit" presetSubtype="0" fill="hold" grpId="2" nodeType="afterEffect">
                                  <p:stCondLst>
                                    <p:cond delay="0"/>
                                  </p:stCondLst>
                                  <p:childTnLst>
                                    <p:animEffect transition="out" filter="fade">
                                      <p:cBhvr>
                                        <p:cTn id="57" dur="500"/>
                                        <p:tgtEl>
                                          <p:spTgt spid="25"/>
                                        </p:tgtEl>
                                      </p:cBhvr>
                                    </p:animEffect>
                                    <p:set>
                                      <p:cBhvr>
                                        <p:cTn id="58" dur="1" fill="hold">
                                          <p:stCondLst>
                                            <p:cond delay="499"/>
                                          </p:stCondLst>
                                        </p:cTn>
                                        <p:tgtEl>
                                          <p:spTgt spid="25"/>
                                        </p:tgtEl>
                                        <p:attrNameLst>
                                          <p:attrName>style.visibility</p:attrName>
                                        </p:attrNameLst>
                                      </p:cBhvr>
                                      <p:to>
                                        <p:strVal val="hidden"/>
                                      </p:to>
                                    </p:set>
                                  </p:childTnLst>
                                </p:cTn>
                              </p:par>
                              <p:par>
                                <p:cTn id="59" presetID="1" presetClass="entr" presetSubtype="0" fill="hold" grpId="1"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par>
                                <p:cTn id="63" presetID="42" presetClass="path" presetSubtype="0" accel="50000" decel="50000" fill="hold" grpId="0" nodeType="withEffect">
                                  <p:stCondLst>
                                    <p:cond delay="0"/>
                                  </p:stCondLst>
                                  <p:childTnLst>
                                    <p:animMotion origin="layout" path="M 0.00035 0.00093 L -0.00261 -0.21911 " pathEditMode="relative" rAng="0" ptsTypes="AA">
                                      <p:cBhvr>
                                        <p:cTn id="64" dur="1500" fill="hold"/>
                                        <p:tgtEl>
                                          <p:spTgt spid="26"/>
                                        </p:tgtEl>
                                        <p:attrNameLst>
                                          <p:attrName>ppt_x</p:attrName>
                                          <p:attrName>ppt_y</p:attrName>
                                        </p:attrNameLst>
                                      </p:cBhvr>
                                      <p:rCtr x="-2" y="-110"/>
                                    </p:animMotion>
                                  </p:childTnLst>
                                </p:cTn>
                              </p:par>
                              <p:par>
                                <p:cTn id="65" presetID="42" presetClass="path" presetSubtype="0" accel="50000" decel="50000" fill="hold" grpId="0" nodeType="withEffect">
                                  <p:stCondLst>
                                    <p:cond delay="0"/>
                                  </p:stCondLst>
                                  <p:childTnLst>
                                    <p:animMotion origin="layout" path="M 0.00139 0.00046 L 0.11458 -0.18079 " pathEditMode="relative" rAng="0" ptsTypes="AA">
                                      <p:cBhvr>
                                        <p:cTn id="66" dur="1500" fill="hold"/>
                                        <p:tgtEl>
                                          <p:spTgt spid="27"/>
                                        </p:tgtEl>
                                        <p:attrNameLst>
                                          <p:attrName>ppt_x</p:attrName>
                                          <p:attrName>ppt_y</p:attrName>
                                        </p:attrNameLst>
                                      </p:cBhvr>
                                      <p:rCtr x="57" y="-91"/>
                                    </p:animMotion>
                                  </p:childTnLst>
                                </p:cTn>
                              </p:par>
                            </p:childTnLst>
                          </p:cTn>
                        </p:par>
                        <p:par>
                          <p:cTn id="67" fill="hold">
                            <p:stCondLst>
                              <p:cond delay="8500"/>
                            </p:stCondLst>
                            <p:childTnLst>
                              <p:par>
                                <p:cTn id="68" presetID="10" presetClass="exit" presetSubtype="0" fill="hold" grpId="2" nodeType="after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2" nodeType="withEffect">
                                  <p:stCondLst>
                                    <p:cond delay="0"/>
                                  </p:stCondLst>
                                  <p:childTnLst>
                                    <p:animEffect transition="out" filter="fade">
                                      <p:cBhvr>
                                        <p:cTn id="72" dur="500"/>
                                        <p:tgtEl>
                                          <p:spTgt spid="26"/>
                                        </p:tgtEl>
                                      </p:cBhvr>
                                    </p:animEffect>
                                    <p:set>
                                      <p:cBhvr>
                                        <p:cTn id="73" dur="1" fill="hold">
                                          <p:stCondLst>
                                            <p:cond delay="499"/>
                                          </p:stCondLst>
                                        </p:cTn>
                                        <p:tgtEl>
                                          <p:spTgt spid="26"/>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nodeType="click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wipe(down)">
                                      <p:cBhvr>
                                        <p:cTn id="7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2" grpId="1" animBg="1"/>
      <p:bldP spid="22" grpId="2" animBg="1"/>
      <p:bldP spid="23" grpId="0" animBg="1"/>
      <p:bldP spid="23" grpId="1" animBg="1"/>
      <p:bldP spid="23" grpId="2" animBg="1"/>
      <p:bldP spid="24" grpId="0" animBg="1"/>
      <p:bldP spid="24" grpId="1" animBg="1"/>
      <p:bldP spid="24" grpId="2" animBg="1"/>
      <p:bldP spid="25" grpId="0" animBg="1"/>
      <p:bldP spid="25" grpId="1" animBg="1"/>
      <p:bldP spid="25" grpId="2" animBg="1"/>
      <p:bldP spid="26" grpId="0" animBg="1"/>
      <p:bldP spid="26" grpId="1" animBg="1"/>
      <p:bldP spid="26" grpId="2" animBg="1"/>
      <p:bldP spid="27" grpId="0" animBg="1"/>
      <p:bldP spid="27" grpId="1" animBg="1"/>
      <p:bldP spid="27" grpId="2"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a:t>Características da TCT</a:t>
            </a:r>
          </a:p>
        </p:txBody>
      </p:sp>
      <p:sp>
        <p:nvSpPr>
          <p:cNvPr id="4" name="Rectangle 3"/>
          <p:cNvSpPr txBox="1">
            <a:spLocks noChangeArrowheads="1"/>
          </p:cNvSpPr>
          <p:nvPr/>
        </p:nvSpPr>
        <p:spPr>
          <a:xfrm>
            <a:off x="413484" y="1340768"/>
            <a:ext cx="8208963" cy="4536504"/>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marL="609600" indent="-609600">
              <a:buFontTx/>
              <a:buAutoNum type="arabicPeriod"/>
              <a:defRPr/>
            </a:pPr>
            <a:r>
              <a:rPr lang="pt-BR" sz="2400" dirty="0"/>
              <a:t>Os resultados dos são baseados em Escores (Número de Acertos) ou Proporção de Acertos;</a:t>
            </a:r>
          </a:p>
          <a:p>
            <a:pPr marL="609600" indent="-609600">
              <a:buFontTx/>
              <a:buAutoNum type="arabicPeriod"/>
              <a:defRPr/>
            </a:pPr>
            <a:r>
              <a:rPr lang="pt-BR" sz="2400" dirty="0"/>
              <a:t>Avalia-se algumas características dos ITENS: Dificuldade,  Discriminação e Acerto ao Acaso.</a:t>
            </a:r>
          </a:p>
          <a:p>
            <a:pPr marL="609600" indent="-609600">
              <a:buFontTx/>
              <a:buAutoNum type="arabicPeriod"/>
              <a:defRPr/>
            </a:pPr>
            <a:r>
              <a:rPr lang="pt-BR" sz="2400" dirty="0"/>
              <a:t>Resultados dependem dos itens respondidos;</a:t>
            </a:r>
          </a:p>
          <a:p>
            <a:pPr marL="609600" indent="-609600">
              <a:buFontTx/>
              <a:buAutoNum type="arabicPeriod"/>
              <a:defRPr/>
            </a:pPr>
            <a:r>
              <a:rPr lang="pt-BR" sz="2400" dirty="0"/>
              <a:t>Os itens fáceis e difíceis têm o mesmo peso;</a:t>
            </a:r>
          </a:p>
          <a:p>
            <a:pPr marL="609600" indent="-609600">
              <a:buFontTx/>
              <a:buAutoNum type="arabicPeriod"/>
              <a:defRPr/>
            </a:pPr>
            <a:r>
              <a:rPr lang="pt-BR" sz="2400" dirty="0"/>
              <a:t>Mesmo que os elaboradores atribuam pesos aos seus itens, não funciona!!!</a:t>
            </a:r>
          </a:p>
          <a:p>
            <a:pPr marL="609600" indent="-609600">
              <a:buFontTx/>
              <a:buAutoNum type="arabicPeriod"/>
              <a:defRPr/>
            </a:pPr>
            <a:r>
              <a:rPr lang="pt-BR" sz="2400" dirty="0"/>
              <a:t>Não permite comparar indivíduos que realizaram provas diferentes (vários itens, cobrindo a matriz);</a:t>
            </a:r>
          </a:p>
          <a:p>
            <a:pPr marL="609600" indent="-609600">
              <a:buFontTx/>
              <a:buAutoNum type="arabicPeriod"/>
              <a:defRPr/>
            </a:pPr>
            <a:r>
              <a:rPr lang="pt-BR" sz="2400" dirty="0"/>
              <a:t>Não permite criar uma escala única de “comparabilidade”;</a:t>
            </a:r>
          </a:p>
          <a:p>
            <a:pPr marL="609600" indent="-609600">
              <a:buFontTx/>
              <a:buAutoNum type="arabicPeriod"/>
              <a:defRPr/>
            </a:pPr>
            <a:r>
              <a:rPr lang="pt-BR" sz="2400" dirty="0"/>
              <a:t>Maior erro-padrão;</a:t>
            </a:r>
          </a:p>
          <a:p>
            <a:pPr marL="609600" indent="-609600">
              <a:buFontTx/>
              <a:buAutoNum type="arabicPeriod"/>
              <a:defRPr/>
            </a:pPr>
            <a:r>
              <a:rPr lang="pt-BR" sz="2400" dirty="0"/>
              <a:t>Estatisticamente menos poderoso;</a:t>
            </a:r>
          </a:p>
          <a:p>
            <a:pPr marL="609600" indent="-609600">
              <a:buFontTx/>
              <a:buAutoNum type="arabicPeriod"/>
              <a:defRPr/>
            </a:pPr>
            <a:r>
              <a:rPr lang="pt-BR" sz="2400" dirty="0"/>
              <a:t>Vários outros...</a:t>
            </a:r>
          </a:p>
        </p:txBody>
      </p:sp>
    </p:spTree>
    <p:extLst>
      <p:ext uri="{BB962C8B-B14F-4D97-AF65-F5344CB8AC3E}">
        <p14:creationId xmlns:p14="http://schemas.microsoft.com/office/powerpoint/2010/main" val="2407026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Rectangle 2"/>
          <p:cNvSpPr>
            <a:spLocks noGrp="1" noChangeArrowheads="1"/>
          </p:cNvSpPr>
          <p:nvPr>
            <p:ph type="title"/>
          </p:nvPr>
        </p:nvSpPr>
        <p:spPr/>
        <p:txBody>
          <a:bodyPr/>
          <a:lstStyle/>
          <a:p>
            <a:pPr eaLnBrk="1" hangingPunct="1">
              <a:defRPr/>
            </a:pPr>
            <a:r>
              <a:rPr lang="pt-BR" b="1" dirty="0"/>
              <a:t>Medidas de Interesse na TCT</a:t>
            </a:r>
          </a:p>
        </p:txBody>
      </p:sp>
      <p:sp>
        <p:nvSpPr>
          <p:cNvPr id="544771" name="Rectangle 3"/>
          <p:cNvSpPr>
            <a:spLocks noGrp="1" noChangeArrowheads="1"/>
          </p:cNvSpPr>
          <p:nvPr>
            <p:ph type="body" idx="1"/>
          </p:nvPr>
        </p:nvSpPr>
        <p:spPr/>
        <p:txBody>
          <a:bodyPr/>
          <a:lstStyle/>
          <a:p>
            <a:pPr eaLnBrk="1" hangingPunct="1">
              <a:defRPr/>
            </a:pPr>
            <a:r>
              <a:rPr lang="pt-BR" sz="2400" dirty="0"/>
              <a:t>Coeficiente de Dificuldade do Item: Proporção de Acerto</a:t>
            </a:r>
          </a:p>
          <a:p>
            <a:pPr>
              <a:defRPr/>
            </a:pPr>
            <a:r>
              <a:rPr lang="pt-BR" sz="2400" dirty="0"/>
              <a:t>Coeficiente de Discriminação do Item</a:t>
            </a:r>
          </a:p>
          <a:p>
            <a:pPr>
              <a:defRPr/>
            </a:pPr>
            <a:r>
              <a:rPr lang="pt-BR" sz="2400" dirty="0"/>
              <a:t>Correlação Ponto-Bisserial (Pearson)</a:t>
            </a:r>
          </a:p>
          <a:p>
            <a:pPr>
              <a:defRPr/>
            </a:pPr>
            <a:r>
              <a:rPr lang="pt-BR" sz="2400" dirty="0"/>
              <a:t>Correlação Bisserial</a:t>
            </a:r>
          </a:p>
          <a:p>
            <a:pPr>
              <a:defRPr/>
            </a:pPr>
            <a:r>
              <a:rPr lang="pt-BR" sz="2400" dirty="0"/>
              <a:t>Correlação </a:t>
            </a:r>
            <a:r>
              <a:rPr lang="pt-BR" sz="2400" dirty="0" err="1"/>
              <a:t>Tetracórica</a:t>
            </a:r>
            <a:endParaRPr lang="pt-BR" sz="2400" dirty="0"/>
          </a:p>
          <a:p>
            <a:pPr>
              <a:defRPr/>
            </a:pPr>
            <a:r>
              <a:rPr lang="pt-BR" sz="2400" dirty="0"/>
              <a:t>Teste de Fidedignidade Alfa de </a:t>
            </a:r>
            <a:r>
              <a:rPr lang="pt-BR" sz="2400" dirty="0" err="1"/>
              <a:t>Crombach</a:t>
            </a:r>
            <a:endParaRPr lang="pt-BR" sz="2400" dirty="0"/>
          </a:p>
          <a:p>
            <a:r>
              <a:rPr lang="pt-BR" sz="2400" dirty="0"/>
              <a:t>teste-</a:t>
            </a:r>
            <a:r>
              <a:rPr lang="pt-BR" sz="2400" dirty="0" err="1"/>
              <a:t>reteste</a:t>
            </a:r>
            <a:r>
              <a:rPr lang="pt-BR" sz="2400" dirty="0"/>
              <a:t>, formas alternativas, bipartição, </a:t>
            </a:r>
            <a:r>
              <a:rPr lang="pt-BR" sz="2400" dirty="0" err="1"/>
              <a:t>Kuder</a:t>
            </a:r>
            <a:r>
              <a:rPr lang="pt-BR" sz="2400" dirty="0"/>
              <a:t>-Richardson;</a:t>
            </a:r>
          </a:p>
          <a:p>
            <a:pPr eaLnBrk="1" hangingPunct="1">
              <a:defRPr/>
            </a:pPr>
            <a:endParaRPr lang="pt-BR" dirty="0"/>
          </a:p>
        </p:txBody>
      </p:sp>
    </p:spTree>
    <p:extLst>
      <p:ext uri="{BB962C8B-B14F-4D97-AF65-F5344CB8AC3E}">
        <p14:creationId xmlns:p14="http://schemas.microsoft.com/office/powerpoint/2010/main" val="3310233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sz="3200" b="1" dirty="0"/>
              <a:t>Nomenclaturas Gerais</a:t>
            </a:r>
          </a:p>
        </p:txBody>
      </p:sp>
      <p:sp>
        <p:nvSpPr>
          <p:cNvPr id="3" name="Espaço Reservado para Conteúdo 2"/>
          <p:cNvSpPr>
            <a:spLocks noGrp="1"/>
          </p:cNvSpPr>
          <p:nvPr>
            <p:ph idx="1"/>
          </p:nvPr>
        </p:nvSpPr>
        <p:spPr>
          <a:xfrm>
            <a:off x="522890" y="1124744"/>
            <a:ext cx="8229600" cy="4525963"/>
          </a:xfrm>
        </p:spPr>
        <p:txBody>
          <a:bodyPr>
            <a:normAutofit fontScale="92500" lnSpcReduction="10000"/>
          </a:bodyPr>
          <a:lstStyle/>
          <a:p>
            <a:r>
              <a:rPr lang="pt-BR" b="1" dirty="0"/>
              <a:t>Item</a:t>
            </a:r>
            <a:r>
              <a:rPr lang="pt-BR" dirty="0"/>
              <a:t>: Questão de uma prova ou pergunta de um questionário, formulário etc.</a:t>
            </a:r>
          </a:p>
          <a:p>
            <a:r>
              <a:rPr lang="pt-BR" b="1" dirty="0"/>
              <a:t>Escore</a:t>
            </a:r>
            <a:r>
              <a:rPr lang="pt-BR" dirty="0"/>
              <a:t>: Total de acertos de um indivíduo</a:t>
            </a:r>
          </a:p>
          <a:p>
            <a:r>
              <a:rPr lang="pt-BR" b="1" dirty="0"/>
              <a:t>Parâmetro</a:t>
            </a:r>
            <a:r>
              <a:rPr lang="pt-BR" dirty="0"/>
              <a:t>: quantidade desconhecida que deve ser estimada.</a:t>
            </a:r>
          </a:p>
          <a:p>
            <a:r>
              <a:rPr lang="pt-BR" b="1" dirty="0"/>
              <a:t>Gabarito</a:t>
            </a:r>
            <a:r>
              <a:rPr lang="pt-BR" dirty="0"/>
              <a:t>: alternativa correta de um item</a:t>
            </a:r>
          </a:p>
          <a:p>
            <a:r>
              <a:rPr lang="pt-BR" b="1" dirty="0" err="1"/>
              <a:t>Distrator</a:t>
            </a:r>
            <a:r>
              <a:rPr lang="pt-BR" dirty="0"/>
              <a:t>: alternativa incorreta de um item</a:t>
            </a:r>
          </a:p>
          <a:p>
            <a:r>
              <a:rPr lang="pt-BR" b="1" dirty="0"/>
              <a:t>Omitido / Não Apresentado</a:t>
            </a:r>
            <a:r>
              <a:rPr lang="pt-BR" dirty="0"/>
              <a:t>: item que o respondente não recebe no seu teste</a:t>
            </a:r>
          </a:p>
          <a:p>
            <a:endParaRPr lang="pt-BR" dirty="0"/>
          </a:p>
        </p:txBody>
      </p:sp>
    </p:spTree>
    <p:extLst>
      <p:ext uri="{BB962C8B-B14F-4D97-AF65-F5344CB8AC3E}">
        <p14:creationId xmlns:p14="http://schemas.microsoft.com/office/powerpoint/2010/main" val="4144943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8" name="Rectangle 2"/>
          <p:cNvSpPr>
            <a:spLocks noGrp="1" noChangeArrowheads="1"/>
          </p:cNvSpPr>
          <p:nvPr>
            <p:ph type="title"/>
          </p:nvPr>
        </p:nvSpPr>
        <p:spPr/>
        <p:txBody>
          <a:bodyPr/>
          <a:lstStyle/>
          <a:p>
            <a:pPr eaLnBrk="1" hangingPunct="1">
              <a:defRPr/>
            </a:pPr>
            <a:r>
              <a:rPr lang="pt-BR" dirty="0"/>
              <a:t>Dificuldade do item </a:t>
            </a:r>
            <a:r>
              <a:rPr lang="pt-BR" i="1" dirty="0"/>
              <a:t>i (proporção de acerto)</a:t>
            </a:r>
          </a:p>
        </p:txBody>
      </p:sp>
      <p:sp>
        <p:nvSpPr>
          <p:cNvPr id="551939" name="Rectangle 3"/>
          <p:cNvSpPr>
            <a:spLocks noGrp="1" noChangeArrowheads="1"/>
          </p:cNvSpPr>
          <p:nvPr>
            <p:ph type="body" idx="1"/>
          </p:nvPr>
        </p:nvSpPr>
        <p:spPr/>
        <p:txBody>
          <a:bodyPr/>
          <a:lstStyle/>
          <a:p>
            <a:pPr eaLnBrk="1" hangingPunct="1">
              <a:defRPr/>
            </a:pPr>
            <a:r>
              <a:rPr lang="pt-BR" dirty="0"/>
              <a:t>Número de indivíduos que respondeu corretamente ao item  (S</a:t>
            </a:r>
            <a:r>
              <a:rPr lang="pt-BR" i="1" baseline="-25000" dirty="0"/>
              <a:t>i</a:t>
            </a:r>
            <a:r>
              <a:rPr lang="pt-BR" dirty="0"/>
              <a:t>), dividido pelo número de indivíduos submetidos ao item (</a:t>
            </a:r>
            <a:r>
              <a:rPr lang="pt-BR" dirty="0" err="1"/>
              <a:t>N</a:t>
            </a:r>
            <a:r>
              <a:rPr lang="pt-BR" i="1" baseline="-25000" dirty="0" err="1"/>
              <a:t>i</a:t>
            </a:r>
            <a:r>
              <a:rPr lang="pt-BR" dirty="0"/>
              <a:t>)</a:t>
            </a:r>
          </a:p>
          <a:p>
            <a:pPr eaLnBrk="1" hangingPunct="1">
              <a:buFontTx/>
              <a:buNone/>
              <a:defRPr/>
            </a:pPr>
            <a:r>
              <a:rPr lang="pt-BR" dirty="0"/>
              <a:t>                       </a:t>
            </a:r>
          </a:p>
          <a:p>
            <a:pPr eaLnBrk="1" hangingPunct="1">
              <a:defRPr/>
            </a:pPr>
            <a:endParaRPr lang="pt-BR" dirty="0"/>
          </a:p>
          <a:p>
            <a:pPr eaLnBrk="1" hangingPunct="1">
              <a:defRPr/>
            </a:pPr>
            <a:r>
              <a:rPr lang="pt-BR" dirty="0"/>
              <a:t>Obs. Geralmente trata-se como respondidos incorretamente àqueles itens deixados em branco, ou com duas respostas, rasurados, etc.</a:t>
            </a:r>
          </a:p>
          <a:p>
            <a:pPr eaLnBrk="1" hangingPunct="1">
              <a:buFontTx/>
              <a:buNone/>
              <a:defRPr/>
            </a:pPr>
            <a:endParaRPr lang="pt-BR" dirty="0"/>
          </a:p>
        </p:txBody>
      </p:sp>
      <p:sp>
        <p:nvSpPr>
          <p:cNvPr id="1029" name="Rectangle 8"/>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graphicFrame>
        <p:nvGraphicFramePr>
          <p:cNvPr id="1026" name="Object 7"/>
          <p:cNvGraphicFramePr>
            <a:graphicFrameLocks noChangeAspect="1"/>
          </p:cNvGraphicFramePr>
          <p:nvPr>
            <p:extLst>
              <p:ext uri="{D42A27DB-BD31-4B8C-83A1-F6EECF244321}">
                <p14:modId xmlns:p14="http://schemas.microsoft.com/office/powerpoint/2010/main" val="2686075686"/>
              </p:ext>
            </p:extLst>
          </p:nvPr>
        </p:nvGraphicFramePr>
        <p:xfrm>
          <a:off x="3246438" y="3403600"/>
          <a:ext cx="1049337" cy="892175"/>
        </p:xfrm>
        <a:graphic>
          <a:graphicData uri="http://schemas.openxmlformats.org/presentationml/2006/ole">
            <mc:AlternateContent xmlns:mc="http://schemas.openxmlformats.org/markup-compatibility/2006">
              <mc:Choice xmlns:v="urn:schemas-microsoft-com:vml" Requires="v">
                <p:oleObj spid="_x0000_s2050" name="Equação" r:id="rId4" imgW="507960" imgH="431640" progId="Equation.3">
                  <p:embed/>
                </p:oleObj>
              </mc:Choice>
              <mc:Fallback>
                <p:oleObj name="Equação" r:id="rId4" imgW="507960" imgH="431640" progId="Equation.3">
                  <p:embed/>
                  <p:pic>
                    <p:nvPicPr>
                      <p:cNvPr id="1026" name="Object 7"/>
                      <p:cNvPicPr>
                        <a:picLocks noChangeAspect="1" noChangeArrowheads="1"/>
                      </p:cNvPicPr>
                      <p:nvPr/>
                    </p:nvPicPr>
                    <p:blipFill>
                      <a:blip r:embed="rId5"/>
                      <a:srcRect/>
                      <a:stretch>
                        <a:fillRect/>
                      </a:stretch>
                    </p:blipFill>
                    <p:spPr bwMode="auto">
                      <a:xfrm>
                        <a:off x="3246438" y="3403600"/>
                        <a:ext cx="1049337" cy="892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09056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11CC2A-F8D9-428F-962A-448B2D6B9015}"/>
              </a:ext>
            </a:extLst>
          </p:cNvPr>
          <p:cNvSpPr>
            <a:spLocks noGrp="1"/>
          </p:cNvSpPr>
          <p:nvPr>
            <p:ph type="title"/>
          </p:nvPr>
        </p:nvSpPr>
        <p:spPr/>
        <p:txBody>
          <a:bodyPr/>
          <a:lstStyle/>
          <a:p>
            <a:r>
              <a:rPr lang="en-US" dirty="0" err="1"/>
              <a:t>Materiais</a:t>
            </a:r>
            <a:endParaRPr lang="en-US" dirty="0"/>
          </a:p>
        </p:txBody>
      </p:sp>
      <p:sp>
        <p:nvSpPr>
          <p:cNvPr id="3" name="Espaço Reservado para Conteúdo 2">
            <a:extLst>
              <a:ext uri="{FF2B5EF4-FFF2-40B4-BE49-F238E27FC236}">
                <a16:creationId xmlns:a16="http://schemas.microsoft.com/office/drawing/2014/main" id="{65490301-F20C-4DA0-A755-B002498BB3F4}"/>
              </a:ext>
            </a:extLst>
          </p:cNvPr>
          <p:cNvSpPr>
            <a:spLocks noGrp="1"/>
          </p:cNvSpPr>
          <p:nvPr>
            <p:ph idx="1"/>
          </p:nvPr>
        </p:nvSpPr>
        <p:spPr/>
        <p:txBody>
          <a:bodyPr>
            <a:normAutofit fontScale="92500" lnSpcReduction="20000"/>
          </a:bodyPr>
          <a:lstStyle/>
          <a:p>
            <a:r>
              <a:rPr lang="en-US" dirty="0" err="1"/>
              <a:t>Página</a:t>
            </a:r>
            <a:r>
              <a:rPr lang="en-US" dirty="0"/>
              <a:t> </a:t>
            </a:r>
            <a:r>
              <a:rPr lang="en-US" dirty="0">
                <a:hlinkClick r:id="rId2"/>
              </a:rPr>
              <a:t>www.helitontavares.com/educacional</a:t>
            </a:r>
            <a:endParaRPr lang="en-US" dirty="0"/>
          </a:p>
          <a:p>
            <a:r>
              <a:rPr lang="en-US" dirty="0" err="1"/>
              <a:t>Arquivos</a:t>
            </a:r>
            <a:r>
              <a:rPr lang="en-US" dirty="0"/>
              <a:t>:</a:t>
            </a:r>
          </a:p>
          <a:p>
            <a:pPr lvl="1"/>
            <a:r>
              <a:rPr lang="en-US" dirty="0" err="1"/>
              <a:t>Estatistica</a:t>
            </a:r>
            <a:r>
              <a:rPr lang="en-US" dirty="0"/>
              <a:t> Educacional.ppt</a:t>
            </a:r>
          </a:p>
          <a:p>
            <a:pPr lvl="1"/>
            <a:r>
              <a:rPr lang="en-US" dirty="0"/>
              <a:t>RTRIsinape.pdf</a:t>
            </a:r>
          </a:p>
          <a:p>
            <a:pPr lvl="1"/>
            <a:r>
              <a:rPr lang="en-US" dirty="0"/>
              <a:t>LivroTRI.pdf</a:t>
            </a:r>
          </a:p>
          <a:p>
            <a:r>
              <a:rPr lang="en-US" dirty="0" err="1"/>
              <a:t>Programas</a:t>
            </a:r>
            <a:r>
              <a:rPr lang="en-US" dirty="0"/>
              <a:t>:</a:t>
            </a:r>
          </a:p>
          <a:p>
            <a:pPr lvl="1"/>
            <a:r>
              <a:rPr lang="en-US" dirty="0"/>
              <a:t>Excel</a:t>
            </a:r>
          </a:p>
          <a:p>
            <a:pPr lvl="1"/>
            <a:r>
              <a:rPr lang="en-US" dirty="0"/>
              <a:t>R</a:t>
            </a:r>
          </a:p>
          <a:p>
            <a:pPr lvl="1"/>
            <a:r>
              <a:rPr lang="en-US" dirty="0" err="1"/>
              <a:t>Bilog</a:t>
            </a:r>
            <a:r>
              <a:rPr lang="en-US" dirty="0"/>
              <a:t>-MG</a:t>
            </a:r>
          </a:p>
          <a:p>
            <a:pPr lvl="1"/>
            <a:r>
              <a:rPr lang="en-US" dirty="0" err="1"/>
              <a:t>Multilog</a:t>
            </a:r>
            <a:endParaRPr lang="en-US" dirty="0"/>
          </a:p>
          <a:p>
            <a:endParaRPr lang="en-US" dirty="0"/>
          </a:p>
        </p:txBody>
      </p:sp>
    </p:spTree>
    <p:extLst>
      <p:ext uri="{BB962C8B-B14F-4D97-AF65-F5344CB8AC3E}">
        <p14:creationId xmlns:p14="http://schemas.microsoft.com/office/powerpoint/2010/main" val="1177391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705" name="Rectangle 265"/>
          <p:cNvSpPr>
            <a:spLocks noGrp="1" noChangeArrowheads="1"/>
          </p:cNvSpPr>
          <p:nvPr>
            <p:ph type="title"/>
          </p:nvPr>
        </p:nvSpPr>
        <p:spPr/>
        <p:txBody>
          <a:bodyPr/>
          <a:lstStyle/>
          <a:p>
            <a:pPr eaLnBrk="1" hangingPunct="1">
              <a:defRPr/>
            </a:pPr>
            <a:r>
              <a:rPr lang="pt-BR"/>
              <a:t>Ilustração 1</a:t>
            </a:r>
          </a:p>
        </p:txBody>
      </p:sp>
      <p:graphicFrame>
        <p:nvGraphicFramePr>
          <p:cNvPr id="573718" name="Group 278"/>
          <p:cNvGraphicFramePr>
            <a:graphicFrameLocks noGrp="1"/>
          </p:cNvGraphicFramePr>
          <p:nvPr>
            <p:ph idx="1"/>
            <p:extLst>
              <p:ext uri="{D42A27DB-BD31-4B8C-83A1-F6EECF244321}">
                <p14:modId xmlns:p14="http://schemas.microsoft.com/office/powerpoint/2010/main" val="2804199591"/>
              </p:ext>
            </p:extLst>
          </p:nvPr>
        </p:nvGraphicFramePr>
        <p:xfrm>
          <a:off x="457200" y="1600200"/>
          <a:ext cx="8626475" cy="4495804"/>
        </p:xfrm>
        <a:graphic>
          <a:graphicData uri="http://schemas.openxmlformats.org/drawingml/2006/table">
            <a:tbl>
              <a:tblPr/>
              <a:tblGrid>
                <a:gridCol w="704850">
                  <a:extLst>
                    <a:ext uri="{9D8B030D-6E8A-4147-A177-3AD203B41FA5}">
                      <a16:colId xmlns:a16="http://schemas.microsoft.com/office/drawing/2014/main" val="20000"/>
                    </a:ext>
                  </a:extLst>
                </a:gridCol>
                <a:gridCol w="942975">
                  <a:extLst>
                    <a:ext uri="{9D8B030D-6E8A-4147-A177-3AD203B41FA5}">
                      <a16:colId xmlns:a16="http://schemas.microsoft.com/office/drawing/2014/main" val="20001"/>
                    </a:ext>
                  </a:extLst>
                </a:gridCol>
                <a:gridCol w="623888">
                  <a:extLst>
                    <a:ext uri="{9D8B030D-6E8A-4147-A177-3AD203B41FA5}">
                      <a16:colId xmlns:a16="http://schemas.microsoft.com/office/drawing/2014/main" val="20002"/>
                    </a:ext>
                  </a:extLst>
                </a:gridCol>
                <a:gridCol w="942975">
                  <a:extLst>
                    <a:ext uri="{9D8B030D-6E8A-4147-A177-3AD203B41FA5}">
                      <a16:colId xmlns:a16="http://schemas.microsoft.com/office/drawing/2014/main" val="20003"/>
                    </a:ext>
                  </a:extLst>
                </a:gridCol>
                <a:gridCol w="666750">
                  <a:extLst>
                    <a:ext uri="{9D8B030D-6E8A-4147-A177-3AD203B41FA5}">
                      <a16:colId xmlns:a16="http://schemas.microsoft.com/office/drawing/2014/main" val="20004"/>
                    </a:ext>
                  </a:extLst>
                </a:gridCol>
                <a:gridCol w="942975">
                  <a:extLst>
                    <a:ext uri="{9D8B030D-6E8A-4147-A177-3AD203B41FA5}">
                      <a16:colId xmlns:a16="http://schemas.microsoft.com/office/drawing/2014/main" val="20005"/>
                    </a:ext>
                  </a:extLst>
                </a:gridCol>
                <a:gridCol w="623887">
                  <a:extLst>
                    <a:ext uri="{9D8B030D-6E8A-4147-A177-3AD203B41FA5}">
                      <a16:colId xmlns:a16="http://schemas.microsoft.com/office/drawing/2014/main" val="20006"/>
                    </a:ext>
                  </a:extLst>
                </a:gridCol>
                <a:gridCol w="942975">
                  <a:extLst>
                    <a:ext uri="{9D8B030D-6E8A-4147-A177-3AD203B41FA5}">
                      <a16:colId xmlns:a16="http://schemas.microsoft.com/office/drawing/2014/main" val="20007"/>
                    </a:ext>
                  </a:extLst>
                </a:gridCol>
                <a:gridCol w="666750">
                  <a:extLst>
                    <a:ext uri="{9D8B030D-6E8A-4147-A177-3AD203B41FA5}">
                      <a16:colId xmlns:a16="http://schemas.microsoft.com/office/drawing/2014/main" val="20008"/>
                    </a:ext>
                  </a:extLst>
                </a:gridCol>
                <a:gridCol w="942975">
                  <a:extLst>
                    <a:ext uri="{9D8B030D-6E8A-4147-A177-3AD203B41FA5}">
                      <a16:colId xmlns:a16="http://schemas.microsoft.com/office/drawing/2014/main" val="20009"/>
                    </a:ext>
                  </a:extLst>
                </a:gridCol>
                <a:gridCol w="625475">
                  <a:extLst>
                    <a:ext uri="{9D8B030D-6E8A-4147-A177-3AD203B41FA5}">
                      <a16:colId xmlns:a16="http://schemas.microsoft.com/office/drawing/2014/main" val="20010"/>
                    </a:ext>
                  </a:extLst>
                </a:gridCol>
              </a:tblGrid>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0" i="0" u="none" strike="noStrike" cap="none" normalizeH="0" baseline="0" dirty="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extLst>
                  <a:ext uri="{0D108BD9-81ED-4DB2-BD59-A6C34878D82A}">
                    <a16:rowId xmlns:a16="http://schemas.microsoft.com/office/drawing/2014/main" val="10000"/>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a:ln>
                            <a:noFill/>
                          </a:ln>
                          <a:solidFill>
                            <a:schemeClr val="tx1"/>
                          </a:solidFill>
                          <a:effectLst/>
                          <a:latin typeface="Albertus Extra Bold" pitchFamily="34" charset="0"/>
                        </a:rPr>
                        <a:t>Branc</a:t>
                      </a:r>
                      <a:endParaRPr kumimoji="0" lang="pt-BR" sz="1200" b="0" i="0" u="none" strike="noStrike" cap="none" normalizeH="0" baseline="0" dirty="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Nulo</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19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7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95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6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09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1,9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6.833</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62,04</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8.893</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65,51</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4"/>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B</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4.58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4,5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67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6,3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6.482</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44,60</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03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3,5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18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0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C</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1.428</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6,09</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8.951</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48,76</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5.47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6,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73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6,4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34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2,3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D</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5.25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5,7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8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8,3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36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74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6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26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5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E</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80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79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7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84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4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88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1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60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4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TOTAL</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216367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514" name="Rectangle 2"/>
          <p:cNvSpPr>
            <a:spLocks noGrp="1" noChangeArrowheads="1"/>
          </p:cNvSpPr>
          <p:nvPr>
            <p:ph type="title"/>
          </p:nvPr>
        </p:nvSpPr>
        <p:spPr/>
        <p:txBody>
          <a:bodyPr/>
          <a:lstStyle/>
          <a:p>
            <a:pPr eaLnBrk="1" hangingPunct="1">
              <a:defRPr/>
            </a:pPr>
            <a:r>
              <a:rPr lang="pt-BR"/>
              <a:t>Ilustração 2</a:t>
            </a:r>
          </a:p>
        </p:txBody>
      </p:sp>
      <p:graphicFrame>
        <p:nvGraphicFramePr>
          <p:cNvPr id="576662" name="Group 150"/>
          <p:cNvGraphicFramePr>
            <a:graphicFrameLocks noGrp="1"/>
          </p:cNvGraphicFramePr>
          <p:nvPr>
            <p:ph idx="1"/>
          </p:nvPr>
        </p:nvGraphicFramePr>
        <p:xfrm>
          <a:off x="457200" y="1600200"/>
          <a:ext cx="8075613" cy="3989391"/>
        </p:xfrm>
        <a:graphic>
          <a:graphicData uri="http://schemas.openxmlformats.org/drawingml/2006/table">
            <a:tbl>
              <a:tblPr/>
              <a:tblGrid>
                <a:gridCol w="781050">
                  <a:extLst>
                    <a:ext uri="{9D8B030D-6E8A-4147-A177-3AD203B41FA5}">
                      <a16:colId xmlns:a16="http://schemas.microsoft.com/office/drawing/2014/main" val="20000"/>
                    </a:ext>
                  </a:extLst>
                </a:gridCol>
                <a:gridCol w="738188">
                  <a:extLst>
                    <a:ext uri="{9D8B030D-6E8A-4147-A177-3AD203B41FA5}">
                      <a16:colId xmlns:a16="http://schemas.microsoft.com/office/drawing/2014/main" val="20001"/>
                    </a:ext>
                  </a:extLst>
                </a:gridCol>
                <a:gridCol w="760412">
                  <a:extLst>
                    <a:ext uri="{9D8B030D-6E8A-4147-A177-3AD203B41FA5}">
                      <a16:colId xmlns:a16="http://schemas.microsoft.com/office/drawing/2014/main" val="20002"/>
                    </a:ext>
                  </a:extLst>
                </a:gridCol>
                <a:gridCol w="738188">
                  <a:extLst>
                    <a:ext uri="{9D8B030D-6E8A-4147-A177-3AD203B41FA5}">
                      <a16:colId xmlns:a16="http://schemas.microsoft.com/office/drawing/2014/main" val="20003"/>
                    </a:ext>
                  </a:extLst>
                </a:gridCol>
                <a:gridCol w="711200">
                  <a:extLst>
                    <a:ext uri="{9D8B030D-6E8A-4147-A177-3AD203B41FA5}">
                      <a16:colId xmlns:a16="http://schemas.microsoft.com/office/drawing/2014/main" val="20004"/>
                    </a:ext>
                  </a:extLst>
                </a:gridCol>
                <a:gridCol w="738187">
                  <a:extLst>
                    <a:ext uri="{9D8B030D-6E8A-4147-A177-3AD203B41FA5}">
                      <a16:colId xmlns:a16="http://schemas.microsoft.com/office/drawing/2014/main" val="20005"/>
                    </a:ext>
                  </a:extLst>
                </a:gridCol>
                <a:gridCol w="709613">
                  <a:extLst>
                    <a:ext uri="{9D8B030D-6E8A-4147-A177-3AD203B41FA5}">
                      <a16:colId xmlns:a16="http://schemas.microsoft.com/office/drawing/2014/main" val="20006"/>
                    </a:ext>
                  </a:extLst>
                </a:gridCol>
                <a:gridCol w="738187">
                  <a:extLst>
                    <a:ext uri="{9D8B030D-6E8A-4147-A177-3AD203B41FA5}">
                      <a16:colId xmlns:a16="http://schemas.microsoft.com/office/drawing/2014/main" val="20007"/>
                    </a:ext>
                  </a:extLst>
                </a:gridCol>
                <a:gridCol w="711200">
                  <a:extLst>
                    <a:ext uri="{9D8B030D-6E8A-4147-A177-3AD203B41FA5}">
                      <a16:colId xmlns:a16="http://schemas.microsoft.com/office/drawing/2014/main" val="20008"/>
                    </a:ext>
                  </a:extLst>
                </a:gridCol>
                <a:gridCol w="738188">
                  <a:extLst>
                    <a:ext uri="{9D8B030D-6E8A-4147-A177-3AD203B41FA5}">
                      <a16:colId xmlns:a16="http://schemas.microsoft.com/office/drawing/2014/main" val="20009"/>
                    </a:ext>
                  </a:extLst>
                </a:gridCol>
                <a:gridCol w="711200">
                  <a:extLst>
                    <a:ext uri="{9D8B030D-6E8A-4147-A177-3AD203B41FA5}">
                      <a16:colId xmlns:a16="http://schemas.microsoft.com/office/drawing/2014/main" val="20010"/>
                    </a:ext>
                  </a:extLst>
                </a:gridCol>
              </a:tblGrid>
              <a:tr h="550863">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1</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2</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3</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4</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5</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extLst>
                  <a:ext uri="{0D108BD9-81ED-4DB2-BD59-A6C34878D82A}">
                    <a16:rowId xmlns:a16="http://schemas.microsoft.com/office/drawing/2014/main" val="10000"/>
                  </a:ext>
                </a:extLst>
              </a:tr>
              <a:tr h="334963">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Branc</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65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Nulo</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A</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44.163</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74,38</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9.08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5,3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9.34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2,5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14.28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24,06</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09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0,3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B</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80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7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79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0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2.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7,2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0.6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4,7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1.42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9,2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3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C</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35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9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26.164</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44,07</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83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4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3.48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2,7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59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1,2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D</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15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6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78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8,1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86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3,2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59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8.76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14,76</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7"/>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E</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8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41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4,1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1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2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27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2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4.34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4,1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5588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TOTAL</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025828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Rectangle 2"/>
          <p:cNvSpPr>
            <a:spLocks noGrp="1" noChangeArrowheads="1"/>
          </p:cNvSpPr>
          <p:nvPr>
            <p:ph type="title"/>
          </p:nvPr>
        </p:nvSpPr>
        <p:spPr/>
        <p:txBody>
          <a:bodyPr/>
          <a:lstStyle/>
          <a:p>
            <a:pPr eaLnBrk="1" hangingPunct="1">
              <a:defRPr/>
            </a:pPr>
            <a:r>
              <a:rPr lang="pt-BR"/>
              <a:t>Discriminação do Item</a:t>
            </a:r>
          </a:p>
        </p:txBody>
      </p:sp>
      <p:sp>
        <p:nvSpPr>
          <p:cNvPr id="553987" name="Rectangle 3"/>
          <p:cNvSpPr>
            <a:spLocks noGrp="1" noChangeArrowheads="1"/>
          </p:cNvSpPr>
          <p:nvPr>
            <p:ph type="body" idx="1"/>
          </p:nvPr>
        </p:nvSpPr>
        <p:spPr/>
        <p:txBody>
          <a:bodyPr>
            <a:normAutofit/>
          </a:bodyPr>
          <a:lstStyle/>
          <a:p>
            <a:pPr eaLnBrk="1" hangingPunct="1">
              <a:lnSpc>
                <a:spcPct val="90000"/>
              </a:lnSpc>
              <a:defRPr/>
            </a:pPr>
            <a:r>
              <a:rPr lang="pt-BR" sz="2800" dirty="0"/>
              <a:t>Propriedade de discriminar (diferenciar) indivíduos com proficiências distintas.</a:t>
            </a:r>
          </a:p>
          <a:p>
            <a:pPr eaLnBrk="1" hangingPunct="1">
              <a:lnSpc>
                <a:spcPct val="90000"/>
              </a:lnSpc>
              <a:defRPr/>
            </a:pPr>
            <a:r>
              <a:rPr lang="pt-BR" sz="2800" dirty="0"/>
              <a:t>Separamos o conjuntos de indivíduos em 3 grupos, de acordo com a nota (escore), denominados de </a:t>
            </a:r>
            <a:r>
              <a:rPr lang="pt-BR" sz="2800" b="1" i="1" dirty="0"/>
              <a:t>Grupo Inferior, Grupo Intermediário </a:t>
            </a:r>
            <a:r>
              <a:rPr lang="pt-BR" sz="2800" dirty="0"/>
              <a:t>e</a:t>
            </a:r>
            <a:r>
              <a:rPr lang="pt-BR" sz="2800" b="1" i="1" dirty="0"/>
              <a:t> Grupo Superior</a:t>
            </a:r>
          </a:p>
          <a:p>
            <a:pPr eaLnBrk="1" hangingPunct="1">
              <a:lnSpc>
                <a:spcPct val="90000"/>
              </a:lnSpc>
              <a:defRPr/>
            </a:pPr>
            <a:r>
              <a:rPr lang="pt-BR" sz="2800" b="1" i="1" dirty="0"/>
              <a:t>Grupo Superior</a:t>
            </a:r>
            <a:r>
              <a:rPr lang="pt-BR" sz="2800" dirty="0"/>
              <a:t>: </a:t>
            </a:r>
            <a:r>
              <a:rPr lang="pt-BR" sz="2800" dirty="0">
                <a:effectLst/>
              </a:rPr>
              <a:t>os 27% de maior desempenho</a:t>
            </a:r>
          </a:p>
          <a:p>
            <a:pPr eaLnBrk="1" hangingPunct="1">
              <a:lnSpc>
                <a:spcPct val="90000"/>
              </a:lnSpc>
              <a:defRPr/>
            </a:pPr>
            <a:r>
              <a:rPr lang="pt-BR" sz="2800" b="1" i="1" dirty="0"/>
              <a:t>Grupo Inferior</a:t>
            </a:r>
            <a:r>
              <a:rPr lang="pt-BR" sz="2800" dirty="0"/>
              <a:t>: </a:t>
            </a:r>
            <a:r>
              <a:rPr lang="pt-BR" sz="2800" dirty="0">
                <a:effectLst/>
              </a:rPr>
              <a:t>os 27% de menor desempenho</a:t>
            </a:r>
          </a:p>
          <a:p>
            <a:pPr eaLnBrk="1" hangingPunct="1">
              <a:lnSpc>
                <a:spcPct val="90000"/>
              </a:lnSpc>
              <a:defRPr/>
            </a:pPr>
            <a:r>
              <a:rPr lang="pt-BR" sz="2800" b="1" i="1" dirty="0"/>
              <a:t>Intermediário</a:t>
            </a:r>
            <a:r>
              <a:rPr lang="pt-BR" sz="2800" dirty="0">
                <a:effectLst/>
              </a:rPr>
              <a:t>: os demais 46%</a:t>
            </a:r>
          </a:p>
        </p:txBody>
      </p:sp>
    </p:spTree>
    <p:extLst>
      <p:ext uri="{BB962C8B-B14F-4D97-AF65-F5344CB8AC3E}">
        <p14:creationId xmlns:p14="http://schemas.microsoft.com/office/powerpoint/2010/main" val="3448125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350" name="Rectangle 6"/>
          <p:cNvSpPr>
            <a:spLocks noGrp="1" noChangeArrowheads="1"/>
          </p:cNvSpPr>
          <p:nvPr>
            <p:ph type="title"/>
          </p:nvPr>
        </p:nvSpPr>
        <p:spPr/>
        <p:txBody>
          <a:bodyPr>
            <a:normAutofit fontScale="90000"/>
          </a:bodyPr>
          <a:lstStyle/>
          <a:p>
            <a:pPr eaLnBrk="1" hangingPunct="1">
              <a:defRPr/>
            </a:pPr>
            <a:r>
              <a:rPr lang="pt-BR" sz="4000"/>
              <a:t>Quais as pontuações de determinam os grupos???</a:t>
            </a:r>
          </a:p>
        </p:txBody>
      </p:sp>
      <p:graphicFrame>
        <p:nvGraphicFramePr>
          <p:cNvPr id="2050" name="Object 3"/>
          <p:cNvGraphicFramePr>
            <a:graphicFrameLocks noGrp="1" noChangeAspect="1"/>
          </p:cNvGraphicFramePr>
          <p:nvPr>
            <p:ph idx="1"/>
          </p:nvPr>
        </p:nvGraphicFramePr>
        <p:xfrm>
          <a:off x="468313" y="1470025"/>
          <a:ext cx="7775575" cy="4314825"/>
        </p:xfrm>
        <a:graphic>
          <a:graphicData uri="http://schemas.openxmlformats.org/presentationml/2006/ole">
            <mc:AlternateContent xmlns:mc="http://schemas.openxmlformats.org/markup-compatibility/2006">
              <mc:Choice xmlns:v="urn:schemas-microsoft-com:vml" Requires="v">
                <p:oleObj spid="_x0000_s3074" name="Bitmap Image" r:id="rId4" imgW="5285714" imgH="2933333" progId="Paint.Picture">
                  <p:embed/>
                </p:oleObj>
              </mc:Choice>
              <mc:Fallback>
                <p:oleObj name="Bitmap Image" r:id="rId4" imgW="5285714" imgH="2933333" progId="Paint.Picture">
                  <p:embed/>
                  <p:pic>
                    <p:nvPicPr>
                      <p:cNvPr id="205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3" y="1470025"/>
                        <a:ext cx="7775575" cy="4314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52" name="Text Box 8"/>
          <p:cNvSpPr txBox="1">
            <a:spLocks noChangeArrowheads="1"/>
          </p:cNvSpPr>
          <p:nvPr/>
        </p:nvSpPr>
        <p:spPr bwMode="auto">
          <a:xfrm>
            <a:off x="468313" y="5805488"/>
            <a:ext cx="828040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spcBef>
                <a:spcPct val="50000"/>
              </a:spcBef>
            </a:pPr>
            <a:r>
              <a:rPr lang="pt-BR" altLang="pt-BR"/>
              <a:t>Pegamos os valores mais próximos de 27%  (que é 18 pontos) e 73% (27 pontos)</a:t>
            </a:r>
          </a:p>
          <a:p>
            <a:pPr eaLnBrk="1" hangingPunct="1">
              <a:spcBef>
                <a:spcPct val="50000"/>
              </a:spcBef>
            </a:pPr>
            <a:r>
              <a:rPr lang="pt-BR" altLang="pt-BR"/>
              <a:t>Grupo Inferior: até 18 pontos, Grupo Superior: pelo menos 27 pontos.</a:t>
            </a:r>
          </a:p>
        </p:txBody>
      </p:sp>
      <p:sp>
        <p:nvSpPr>
          <p:cNvPr id="2053" name="Oval 10"/>
          <p:cNvSpPr>
            <a:spLocks noChangeArrowheads="1"/>
          </p:cNvSpPr>
          <p:nvPr/>
        </p:nvSpPr>
        <p:spPr bwMode="auto">
          <a:xfrm>
            <a:off x="4789488" y="1931988"/>
            <a:ext cx="647700" cy="288925"/>
          </a:xfrm>
          <a:prstGeom prst="ellipse">
            <a:avLst/>
          </a:prstGeom>
          <a:noFill/>
          <a:ln w="127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2054" name="Oval 12"/>
          <p:cNvSpPr>
            <a:spLocks noChangeArrowheads="1"/>
          </p:cNvSpPr>
          <p:nvPr/>
        </p:nvSpPr>
        <p:spPr bwMode="auto">
          <a:xfrm>
            <a:off x="4789488" y="4078288"/>
            <a:ext cx="647700" cy="288925"/>
          </a:xfrm>
          <a:prstGeom prst="ellipse">
            <a:avLst/>
          </a:pr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Tree>
    <p:extLst>
      <p:ext uri="{BB962C8B-B14F-4D97-AF65-F5344CB8AC3E}">
        <p14:creationId xmlns:p14="http://schemas.microsoft.com/office/powerpoint/2010/main" val="17495596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8562" name="Rectangle 2"/>
          <p:cNvSpPr>
            <a:spLocks noGrp="1" noChangeArrowheads="1"/>
          </p:cNvSpPr>
          <p:nvPr>
            <p:ph type="title"/>
          </p:nvPr>
        </p:nvSpPr>
        <p:spPr/>
        <p:txBody>
          <a:bodyPr>
            <a:normAutofit fontScale="90000"/>
          </a:bodyPr>
          <a:lstStyle/>
          <a:p>
            <a:pPr eaLnBrk="1" hangingPunct="1">
              <a:defRPr/>
            </a:pPr>
            <a:r>
              <a:rPr lang="pt-BR" sz="4000"/>
              <a:t>Proporção de Acerto em cada Grupo</a:t>
            </a:r>
          </a:p>
        </p:txBody>
      </p:sp>
      <p:sp>
        <p:nvSpPr>
          <p:cNvPr id="578563" name="Rectangle 3"/>
          <p:cNvSpPr>
            <a:spLocks noGrp="1" noChangeArrowheads="1"/>
          </p:cNvSpPr>
          <p:nvPr>
            <p:ph type="body" idx="1"/>
          </p:nvPr>
        </p:nvSpPr>
        <p:spPr/>
        <p:txBody>
          <a:bodyPr>
            <a:normAutofit lnSpcReduction="10000"/>
          </a:bodyPr>
          <a:lstStyle/>
          <a:p>
            <a:pPr eaLnBrk="1" hangingPunct="1">
              <a:defRPr/>
            </a:pPr>
            <a:r>
              <a:rPr lang="pt-BR"/>
              <a:t>Esperamos que, para cada item, os indivíduos do Grupo Superior apresentem uma proporção de acerto maior que o do Grupo Intermediário, e que este apresente uma proporção de acertos maior que do Grupo Inferior.</a:t>
            </a:r>
          </a:p>
          <a:p>
            <a:pPr eaLnBrk="1" hangingPunct="1">
              <a:defRPr/>
            </a:pPr>
            <a:r>
              <a:rPr lang="pt-BR" sz="2400"/>
              <a:t>Psup: Percentual de Acerto no Grupo Superior</a:t>
            </a:r>
          </a:p>
          <a:p>
            <a:pPr eaLnBrk="1" hangingPunct="1">
              <a:defRPr/>
            </a:pPr>
            <a:r>
              <a:rPr lang="pt-BR" sz="2400"/>
              <a:t>Pint: Percentual de Acerto no Grupo Intermediário</a:t>
            </a:r>
          </a:p>
          <a:p>
            <a:pPr eaLnBrk="1" hangingPunct="1">
              <a:defRPr/>
            </a:pPr>
            <a:r>
              <a:rPr lang="pt-BR" sz="2400"/>
              <a:t>Pinf: Percentual de Acerto no Grupo Inferior</a:t>
            </a:r>
          </a:p>
          <a:p>
            <a:pPr eaLnBrk="1" hangingPunct="1">
              <a:buFontTx/>
              <a:buNone/>
              <a:defRPr/>
            </a:pPr>
            <a:r>
              <a:rPr lang="pt-BR" sz="2400">
                <a:solidFill>
                  <a:srgbClr val="000099"/>
                </a:solidFill>
              </a:rPr>
              <a:t>                               Pinf &lt; Pint &lt; Psup</a:t>
            </a:r>
          </a:p>
          <a:p>
            <a:pPr eaLnBrk="1" hangingPunct="1">
              <a:defRPr/>
            </a:pPr>
            <a:endParaRPr lang="pt-BR">
              <a:solidFill>
                <a:srgbClr val="000099"/>
              </a:solidFill>
            </a:endParaRPr>
          </a:p>
          <a:p>
            <a:pPr eaLnBrk="1" hangingPunct="1">
              <a:defRPr/>
            </a:pPr>
            <a:endParaRPr lang="pt-BR"/>
          </a:p>
        </p:txBody>
      </p:sp>
    </p:spTree>
    <p:extLst>
      <p:ext uri="{BB962C8B-B14F-4D97-AF65-F5344CB8AC3E}">
        <p14:creationId xmlns:p14="http://schemas.microsoft.com/office/powerpoint/2010/main" val="4927770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p:txBody>
          <a:bodyPr/>
          <a:lstStyle/>
          <a:p>
            <a:pPr eaLnBrk="1" hangingPunct="1">
              <a:defRPr/>
            </a:pPr>
            <a:r>
              <a:rPr lang="pt-BR"/>
              <a:t>Parâmetro de Discriminação</a:t>
            </a:r>
          </a:p>
        </p:txBody>
      </p:sp>
      <p:sp>
        <p:nvSpPr>
          <p:cNvPr id="579587" name="Rectangle 3"/>
          <p:cNvSpPr>
            <a:spLocks noGrp="1" noChangeArrowheads="1"/>
          </p:cNvSpPr>
          <p:nvPr>
            <p:ph type="body" idx="1"/>
          </p:nvPr>
        </p:nvSpPr>
        <p:spPr/>
        <p:txBody>
          <a:bodyPr/>
          <a:lstStyle/>
          <a:p>
            <a:pPr eaLnBrk="1" hangingPunct="1">
              <a:lnSpc>
                <a:spcPct val="90000"/>
              </a:lnSpc>
              <a:defRPr/>
            </a:pPr>
            <a:r>
              <a:rPr lang="pt-BR" sz="2800"/>
              <a:t>Quanto maior a diferença Psup-Pinf, maior será o potencial de discriminação do item.  Vamos, então, adotar</a:t>
            </a:r>
          </a:p>
          <a:p>
            <a:pPr eaLnBrk="1" hangingPunct="1">
              <a:lnSpc>
                <a:spcPct val="90000"/>
              </a:lnSpc>
              <a:buFontTx/>
              <a:buNone/>
              <a:defRPr/>
            </a:pPr>
            <a:r>
              <a:rPr lang="pt-BR" sz="4000"/>
              <a:t>                    Disc = Psup-Pinf</a:t>
            </a:r>
          </a:p>
          <a:p>
            <a:pPr eaLnBrk="1" hangingPunct="1">
              <a:lnSpc>
                <a:spcPct val="90000"/>
              </a:lnSpc>
              <a:buFontTx/>
              <a:buNone/>
              <a:defRPr/>
            </a:pPr>
            <a:r>
              <a:rPr lang="pt-BR" sz="2800"/>
              <a:t>Escala:</a:t>
            </a:r>
          </a:p>
          <a:p>
            <a:pPr eaLnBrk="1" hangingPunct="1">
              <a:lnSpc>
                <a:spcPct val="90000"/>
              </a:lnSpc>
              <a:defRPr/>
            </a:pPr>
            <a:r>
              <a:rPr lang="pt-BR" sz="2800" b="1">
                <a:effectLst/>
              </a:rPr>
              <a:t>≥ 40	Bom</a:t>
            </a:r>
          </a:p>
          <a:p>
            <a:pPr eaLnBrk="1" hangingPunct="1">
              <a:lnSpc>
                <a:spcPct val="90000"/>
              </a:lnSpc>
              <a:defRPr/>
            </a:pPr>
            <a:r>
              <a:rPr lang="pt-BR" sz="2800" b="1">
                <a:effectLst/>
              </a:rPr>
              <a:t>30 a 39      Bom, mas sujeito a aprimoramento</a:t>
            </a:r>
          </a:p>
          <a:p>
            <a:pPr eaLnBrk="1" hangingPunct="1">
              <a:lnSpc>
                <a:spcPct val="90000"/>
              </a:lnSpc>
              <a:defRPr/>
            </a:pPr>
            <a:r>
              <a:rPr lang="pt-BR" sz="2800" b="1">
                <a:effectLst/>
              </a:rPr>
              <a:t>20 a 29      Item marginal, sujeito a reelaboração</a:t>
            </a:r>
          </a:p>
          <a:p>
            <a:pPr eaLnBrk="1" hangingPunct="1">
              <a:lnSpc>
                <a:spcPct val="90000"/>
              </a:lnSpc>
              <a:defRPr/>
            </a:pPr>
            <a:r>
              <a:rPr lang="pt-BR" sz="2800" b="1">
                <a:effectLst/>
              </a:rPr>
              <a:t>≤ 19	Item deficiente, que deve ser rejeitado</a:t>
            </a:r>
            <a:r>
              <a:rPr lang="pt-BR" sz="2800">
                <a:effectLst/>
              </a:rPr>
              <a:t> </a:t>
            </a:r>
          </a:p>
          <a:p>
            <a:pPr eaLnBrk="1" hangingPunct="1">
              <a:lnSpc>
                <a:spcPct val="90000"/>
              </a:lnSpc>
              <a:buFontTx/>
              <a:buNone/>
              <a:defRPr/>
            </a:pPr>
            <a:endParaRPr lang="pt-BR" sz="2800"/>
          </a:p>
        </p:txBody>
      </p:sp>
    </p:spTree>
    <p:extLst>
      <p:ext uri="{BB962C8B-B14F-4D97-AF65-F5344CB8AC3E}">
        <p14:creationId xmlns:p14="http://schemas.microsoft.com/office/powerpoint/2010/main" val="13053824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80" name="Rectangle 72"/>
          <p:cNvSpPr>
            <a:spLocks noGrp="1" noChangeArrowheads="1"/>
          </p:cNvSpPr>
          <p:nvPr>
            <p:ph type="title"/>
          </p:nvPr>
        </p:nvSpPr>
        <p:spPr/>
        <p:txBody>
          <a:bodyPr/>
          <a:lstStyle/>
          <a:p>
            <a:pPr eaLnBrk="1" hangingPunct="1">
              <a:defRPr/>
            </a:pPr>
            <a:r>
              <a:rPr lang="pt-BR" dirty="0"/>
              <a:t>Resumo TCT</a:t>
            </a:r>
          </a:p>
        </p:txBody>
      </p:sp>
      <p:graphicFrame>
        <p:nvGraphicFramePr>
          <p:cNvPr id="580682" name="Group 74"/>
          <p:cNvGraphicFramePr>
            <a:graphicFrameLocks noGrp="1"/>
          </p:cNvGraphicFramePr>
          <p:nvPr>
            <p:ph idx="1"/>
            <p:extLst>
              <p:ext uri="{D42A27DB-BD31-4B8C-83A1-F6EECF244321}">
                <p14:modId xmlns:p14="http://schemas.microsoft.com/office/powerpoint/2010/main" val="1001102810"/>
              </p:ext>
            </p:extLst>
          </p:nvPr>
        </p:nvGraphicFramePr>
        <p:xfrm>
          <a:off x="457200" y="1600200"/>
          <a:ext cx="8229600" cy="4760912"/>
        </p:xfrm>
        <a:graphic>
          <a:graphicData uri="http://schemas.openxmlformats.org/drawingml/2006/table">
            <a:tbl>
              <a:tblPr/>
              <a:tblGrid>
                <a:gridCol w="1227138">
                  <a:extLst>
                    <a:ext uri="{9D8B030D-6E8A-4147-A177-3AD203B41FA5}">
                      <a16:colId xmlns:a16="http://schemas.microsoft.com/office/drawing/2014/main" val="20000"/>
                    </a:ext>
                  </a:extLst>
                </a:gridCol>
                <a:gridCol w="1558925">
                  <a:extLst>
                    <a:ext uri="{9D8B030D-6E8A-4147-A177-3AD203B41FA5}">
                      <a16:colId xmlns:a16="http://schemas.microsoft.com/office/drawing/2014/main" val="20001"/>
                    </a:ext>
                  </a:extLst>
                </a:gridCol>
                <a:gridCol w="1712912">
                  <a:extLst>
                    <a:ext uri="{9D8B030D-6E8A-4147-A177-3AD203B41FA5}">
                      <a16:colId xmlns:a16="http://schemas.microsoft.com/office/drawing/2014/main" val="20002"/>
                    </a:ext>
                  </a:extLst>
                </a:gridCol>
                <a:gridCol w="1276350">
                  <a:extLst>
                    <a:ext uri="{9D8B030D-6E8A-4147-A177-3AD203B41FA5}">
                      <a16:colId xmlns:a16="http://schemas.microsoft.com/office/drawing/2014/main" val="20003"/>
                    </a:ext>
                  </a:extLst>
                </a:gridCol>
                <a:gridCol w="643731">
                  <a:extLst>
                    <a:ext uri="{9D8B030D-6E8A-4147-A177-3AD203B41FA5}">
                      <a16:colId xmlns:a16="http://schemas.microsoft.com/office/drawing/2014/main" val="20004"/>
                    </a:ext>
                  </a:extLst>
                </a:gridCol>
                <a:gridCol w="1810544">
                  <a:extLst>
                    <a:ext uri="{9D8B030D-6E8A-4147-A177-3AD203B41FA5}">
                      <a16:colId xmlns:a16="http://schemas.microsoft.com/office/drawing/2014/main" val="20005"/>
                    </a:ext>
                  </a:extLst>
                </a:gridCol>
              </a:tblGrid>
              <a:tr h="70113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 </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nferior</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ntermediário</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Superior</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cap="flat">
                      <a:noFill/>
                    </a:lnT>
                    <a:lnB>
                      <a:noFill/>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Discriminação</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7477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11,18</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7,5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2,0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50,8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7954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2</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9,4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7,65</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2,47</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3,0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7477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6,1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1,78</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59,76</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3,62</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7636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6,39</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1,5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79,10</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2,7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7795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1,89</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3,1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83,4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1,53</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636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Geral</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9,0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8,3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9,36</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cap="flat">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0,35</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34545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2661" name="Rectangle 5"/>
          <p:cNvSpPr>
            <a:spLocks noGrp="1" noChangeArrowheads="1"/>
          </p:cNvSpPr>
          <p:nvPr>
            <p:ph type="title"/>
          </p:nvPr>
        </p:nvSpPr>
        <p:spPr/>
        <p:txBody>
          <a:bodyPr/>
          <a:lstStyle/>
          <a:p>
            <a:pPr eaLnBrk="1" hangingPunct="1">
              <a:defRPr/>
            </a:pPr>
            <a:r>
              <a:rPr lang="pt-BR"/>
              <a:t>Plotando...</a:t>
            </a:r>
          </a:p>
        </p:txBody>
      </p:sp>
      <p:graphicFrame>
        <p:nvGraphicFramePr>
          <p:cNvPr id="3074" name="Object 4"/>
          <p:cNvGraphicFramePr>
            <a:graphicFrameLocks noGrp="1" noChangeAspect="1"/>
          </p:cNvGraphicFramePr>
          <p:nvPr>
            <p:ph idx="1"/>
          </p:nvPr>
        </p:nvGraphicFramePr>
        <p:xfrm>
          <a:off x="468313" y="1655763"/>
          <a:ext cx="8424862" cy="4273550"/>
        </p:xfrm>
        <a:graphic>
          <a:graphicData uri="http://schemas.openxmlformats.org/presentationml/2006/ole">
            <mc:AlternateContent xmlns:mc="http://schemas.openxmlformats.org/markup-compatibility/2006">
              <mc:Choice xmlns:v="urn:schemas-microsoft-com:vml" Requires="v">
                <p:oleObj spid="_x0000_s4098" name="Gráfico" r:id="rId4" imgW="4619549" imgH="2343302" progId="Excel.Chart.8">
                  <p:embed/>
                </p:oleObj>
              </mc:Choice>
              <mc:Fallback>
                <p:oleObj name="Gráfico" r:id="rId4" imgW="4619549" imgH="2343302" progId="Excel.Chart.8">
                  <p:embed/>
                  <p:pic>
                    <p:nvPicPr>
                      <p:cNvPr id="307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3" y="1655763"/>
                        <a:ext cx="8424862" cy="427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9042706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9" name="Rectangle 5"/>
          <p:cNvSpPr>
            <a:spLocks noGrp="1" noChangeArrowheads="1"/>
          </p:cNvSpPr>
          <p:nvPr>
            <p:ph type="title"/>
          </p:nvPr>
        </p:nvSpPr>
        <p:spPr/>
        <p:txBody>
          <a:bodyPr/>
          <a:lstStyle/>
          <a:p>
            <a:pPr eaLnBrk="1" hangingPunct="1">
              <a:defRPr/>
            </a:pPr>
            <a:r>
              <a:rPr lang="pt-BR"/>
              <a:t>E agora José ???</a:t>
            </a:r>
          </a:p>
        </p:txBody>
      </p:sp>
      <p:graphicFrame>
        <p:nvGraphicFramePr>
          <p:cNvPr id="4098" name="Object 4"/>
          <p:cNvGraphicFramePr>
            <a:graphicFrameLocks noGrp="1" noChangeAspect="1"/>
          </p:cNvGraphicFramePr>
          <p:nvPr>
            <p:ph idx="1"/>
          </p:nvPr>
        </p:nvGraphicFramePr>
        <p:xfrm>
          <a:off x="539750" y="1766888"/>
          <a:ext cx="8135938" cy="4125912"/>
        </p:xfrm>
        <a:graphic>
          <a:graphicData uri="http://schemas.openxmlformats.org/presentationml/2006/ole">
            <mc:AlternateContent xmlns:mc="http://schemas.openxmlformats.org/markup-compatibility/2006">
              <mc:Choice xmlns:v="urn:schemas-microsoft-com:vml" Requires="v">
                <p:oleObj spid="_x0000_s5122" name="Gráfico" r:id="rId4" imgW="4619549" imgH="2343302" progId="Excel.Chart.8">
                  <p:embed/>
                </p:oleObj>
              </mc:Choice>
              <mc:Fallback>
                <p:oleObj name="Gráfico" r:id="rId4" imgW="4619549" imgH="2343302" progId="Excel.Chart.8">
                  <p:embed/>
                  <p:pic>
                    <p:nvPicPr>
                      <p:cNvPr id="409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750" y="1766888"/>
                        <a:ext cx="8135938" cy="4125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2155573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ixaDeTexto 11"/>
          <p:cNvSpPr txBox="1"/>
          <p:nvPr/>
        </p:nvSpPr>
        <p:spPr>
          <a:xfrm>
            <a:off x="467544" y="1835532"/>
            <a:ext cx="3744416" cy="369332"/>
          </a:xfrm>
          <a:prstGeom prst="rect">
            <a:avLst/>
          </a:prstGeom>
          <a:noFill/>
        </p:spPr>
        <p:txBody>
          <a:bodyPr wrap="square" rtlCol="0">
            <a:spAutoFit/>
          </a:bodyPr>
          <a:lstStyle/>
          <a:p>
            <a:r>
              <a:rPr lang="pt-BR" dirty="0"/>
              <a:t>Número de Acertos por aluno: CIE 9EF</a:t>
            </a:r>
          </a:p>
        </p:txBody>
      </p:sp>
      <p:sp>
        <p:nvSpPr>
          <p:cNvPr id="13" name="CaixaDeTexto 12"/>
          <p:cNvSpPr txBox="1"/>
          <p:nvPr/>
        </p:nvSpPr>
        <p:spPr>
          <a:xfrm>
            <a:off x="4572000" y="1835532"/>
            <a:ext cx="4104456" cy="369332"/>
          </a:xfrm>
          <a:prstGeom prst="rect">
            <a:avLst/>
          </a:prstGeom>
          <a:noFill/>
        </p:spPr>
        <p:txBody>
          <a:bodyPr wrap="square" rtlCol="0">
            <a:spAutoFit/>
          </a:bodyPr>
          <a:lstStyle/>
          <a:p>
            <a:r>
              <a:rPr lang="pt-BR" dirty="0"/>
              <a:t>Proporção de Acertos por item: CIE 9EF</a:t>
            </a:r>
          </a:p>
        </p:txBody>
      </p:sp>
      <p:sp>
        <p:nvSpPr>
          <p:cNvPr id="14" name="CaixaDeTexto 13"/>
          <p:cNvSpPr txBox="1"/>
          <p:nvPr/>
        </p:nvSpPr>
        <p:spPr>
          <a:xfrm>
            <a:off x="539552" y="548680"/>
            <a:ext cx="7848872" cy="707886"/>
          </a:xfrm>
          <a:prstGeom prst="rect">
            <a:avLst/>
          </a:prstGeom>
          <a:noFill/>
        </p:spPr>
        <p:txBody>
          <a:bodyPr wrap="square" rtlCol="0">
            <a:spAutoFit/>
          </a:bodyPr>
          <a:lstStyle/>
          <a:p>
            <a:r>
              <a:rPr lang="pt-BR" sz="2000" b="1" dirty="0"/>
              <a:t>Exemplo de resultados da Análise Clássica de CIE obtidas com o software </a:t>
            </a:r>
            <a:r>
              <a:rPr lang="pt-BR" sz="2000" b="1" dirty="0" err="1"/>
              <a:t>ItemAN</a:t>
            </a:r>
            <a:r>
              <a:rPr lang="pt-BR" sz="2000" b="1" dirty="0"/>
              <a:t> (http://www.assess.com/xcart/product.php?productid=417)</a:t>
            </a:r>
          </a:p>
        </p:txBody>
      </p:sp>
      <p:pic>
        <p:nvPicPr>
          <p:cNvPr id="99331" name="Imagem 94"/>
          <p:cNvPicPr>
            <a:picLocks noChangeAspect="1" noChangeArrowheads="1"/>
          </p:cNvPicPr>
          <p:nvPr/>
        </p:nvPicPr>
        <p:blipFill>
          <a:blip r:embed="rId2" cstate="print"/>
          <a:srcRect/>
          <a:stretch>
            <a:fillRect/>
          </a:stretch>
        </p:blipFill>
        <p:spPr bwMode="auto">
          <a:xfrm>
            <a:off x="4572000" y="2420888"/>
            <a:ext cx="3816350" cy="2859087"/>
          </a:xfrm>
          <a:prstGeom prst="rect">
            <a:avLst/>
          </a:prstGeom>
          <a:noFill/>
          <a:ln w="9525">
            <a:noFill/>
            <a:miter lim="800000"/>
            <a:headEnd/>
            <a:tailEnd/>
          </a:ln>
        </p:spPr>
      </p:pic>
      <p:pic>
        <p:nvPicPr>
          <p:cNvPr id="99332" name="Imagem 8"/>
          <p:cNvPicPr>
            <a:picLocks noChangeAspect="1" noChangeArrowheads="1"/>
          </p:cNvPicPr>
          <p:nvPr/>
        </p:nvPicPr>
        <p:blipFill>
          <a:blip r:embed="rId3" cstate="print"/>
          <a:srcRect/>
          <a:stretch>
            <a:fillRect/>
          </a:stretch>
        </p:blipFill>
        <p:spPr bwMode="auto">
          <a:xfrm>
            <a:off x="395536" y="2420888"/>
            <a:ext cx="3816350" cy="2859087"/>
          </a:xfrm>
          <a:prstGeom prst="rect">
            <a:avLst/>
          </a:prstGeom>
          <a:noFill/>
          <a:ln w="9525">
            <a:noFill/>
            <a:miter lim="800000"/>
            <a:headEnd/>
            <a:tailEnd/>
          </a:ln>
        </p:spPr>
      </p:pic>
      <p:sp>
        <p:nvSpPr>
          <p:cNvPr id="10" name="CaixaDeTexto 9"/>
          <p:cNvSpPr txBox="1"/>
          <p:nvPr/>
        </p:nvSpPr>
        <p:spPr>
          <a:xfrm>
            <a:off x="395536" y="5373216"/>
            <a:ext cx="8064896" cy="369332"/>
          </a:xfrm>
          <a:prstGeom prst="rect">
            <a:avLst/>
          </a:prstGeom>
          <a:noFill/>
        </p:spPr>
        <p:txBody>
          <a:bodyPr wrap="square" rtlCol="0">
            <a:spAutoFit/>
          </a:bodyPr>
          <a:lstStyle/>
          <a:p>
            <a:r>
              <a:rPr lang="pt-BR" b="1" dirty="0"/>
              <a:t>Grupo 1</a:t>
            </a:r>
            <a:r>
              <a:rPr lang="pt-BR" dirty="0"/>
              <a:t>: os 33% de menor nota (acertos),    </a:t>
            </a:r>
            <a:r>
              <a:rPr lang="pt-BR" b="1" dirty="0"/>
              <a:t>Grupo 3</a:t>
            </a:r>
            <a:r>
              <a:rPr lang="pt-BR" dirty="0"/>
              <a:t>: os 33% de maior not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69E6FA-F9E6-4D23-9F87-C55B622C7873}"/>
              </a:ext>
            </a:extLst>
          </p:cNvPr>
          <p:cNvSpPr>
            <a:spLocks noGrp="1"/>
          </p:cNvSpPr>
          <p:nvPr>
            <p:ph type="title"/>
          </p:nvPr>
        </p:nvSpPr>
        <p:spPr/>
        <p:txBody>
          <a:bodyPr/>
          <a:lstStyle/>
          <a:p>
            <a:r>
              <a:rPr lang="en-US" dirty="0" err="1"/>
              <a:t>Datas</a:t>
            </a:r>
            <a:r>
              <a:rPr lang="en-US" dirty="0"/>
              <a:t> </a:t>
            </a:r>
            <a:r>
              <a:rPr lang="en-US" dirty="0" err="1"/>
              <a:t>Importantes</a:t>
            </a:r>
            <a:r>
              <a:rPr lang="en-US" dirty="0"/>
              <a:t>:</a:t>
            </a:r>
          </a:p>
        </p:txBody>
      </p:sp>
      <p:sp>
        <p:nvSpPr>
          <p:cNvPr id="5" name="Espaço Reservado para Conteúdo 2">
            <a:extLst>
              <a:ext uri="{FF2B5EF4-FFF2-40B4-BE49-F238E27FC236}">
                <a16:creationId xmlns:a16="http://schemas.microsoft.com/office/drawing/2014/main" id="{60468564-9CC7-4B3C-A90C-506471A1BCFA}"/>
              </a:ext>
            </a:extLst>
          </p:cNvPr>
          <p:cNvSpPr>
            <a:spLocks noGrp="1"/>
          </p:cNvSpPr>
          <p:nvPr>
            <p:ph idx="1"/>
          </p:nvPr>
        </p:nvSpPr>
        <p:spPr>
          <a:xfrm>
            <a:off x="457200" y="1268760"/>
            <a:ext cx="8229600" cy="4525963"/>
          </a:xfrm>
        </p:spPr>
        <p:txBody>
          <a:bodyPr>
            <a:normAutofit lnSpcReduction="10000"/>
          </a:bodyPr>
          <a:lstStyle/>
          <a:p>
            <a:r>
              <a:rPr lang="en-US" dirty="0" err="1"/>
              <a:t>Listas</a:t>
            </a:r>
            <a:r>
              <a:rPr lang="en-US" dirty="0"/>
              <a:t>: </a:t>
            </a:r>
          </a:p>
          <a:p>
            <a:pPr lvl="1"/>
            <a:r>
              <a:rPr lang="en-US" dirty="0"/>
              <a:t>L1a: 09/04;    L1b: 23/04</a:t>
            </a:r>
          </a:p>
          <a:p>
            <a:pPr lvl="1"/>
            <a:r>
              <a:rPr lang="en-US" dirty="0"/>
              <a:t>L2a: 07/05;    L2b: 21/05</a:t>
            </a:r>
          </a:p>
          <a:p>
            <a:pPr lvl="1"/>
            <a:r>
              <a:rPr lang="en-US" dirty="0"/>
              <a:t>L3a: 11/06;    L3b: 25/06</a:t>
            </a:r>
          </a:p>
          <a:p>
            <a:r>
              <a:rPr lang="en-US" dirty="0" err="1"/>
              <a:t>Provas</a:t>
            </a:r>
            <a:r>
              <a:rPr lang="en-US" dirty="0"/>
              <a:t>:</a:t>
            </a:r>
          </a:p>
          <a:p>
            <a:pPr lvl="1"/>
            <a:r>
              <a:rPr lang="en-US" dirty="0"/>
              <a:t>P1: 23/04</a:t>
            </a:r>
          </a:p>
          <a:p>
            <a:pPr lvl="1"/>
            <a:r>
              <a:rPr lang="en-US" dirty="0"/>
              <a:t>P2: 21/05</a:t>
            </a:r>
          </a:p>
          <a:p>
            <a:pPr lvl="1"/>
            <a:r>
              <a:rPr lang="en-US" dirty="0"/>
              <a:t>P3: 25/06</a:t>
            </a:r>
          </a:p>
          <a:p>
            <a:pPr lvl="1"/>
            <a:r>
              <a:rPr lang="en-US" dirty="0"/>
              <a:t>P4(Sub): 04/07</a:t>
            </a:r>
          </a:p>
          <a:p>
            <a:endParaRPr lang="en-US" dirty="0"/>
          </a:p>
        </p:txBody>
      </p:sp>
    </p:spTree>
    <p:extLst>
      <p:ext uri="{BB962C8B-B14F-4D97-AF65-F5344CB8AC3E}">
        <p14:creationId xmlns:p14="http://schemas.microsoft.com/office/powerpoint/2010/main" val="1432684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ixaDeTexto 11"/>
          <p:cNvSpPr txBox="1"/>
          <p:nvPr/>
        </p:nvSpPr>
        <p:spPr>
          <a:xfrm>
            <a:off x="467544" y="1835532"/>
            <a:ext cx="3744416" cy="369332"/>
          </a:xfrm>
          <a:prstGeom prst="rect">
            <a:avLst/>
          </a:prstGeom>
          <a:noFill/>
        </p:spPr>
        <p:txBody>
          <a:bodyPr wrap="square" rtlCol="0">
            <a:spAutoFit/>
          </a:bodyPr>
          <a:lstStyle/>
          <a:p>
            <a:r>
              <a:rPr lang="pt-BR" dirty="0"/>
              <a:t>Número de Acertos por aluno: CIE 9EF</a:t>
            </a:r>
          </a:p>
        </p:txBody>
      </p:sp>
      <p:sp>
        <p:nvSpPr>
          <p:cNvPr id="13" name="CaixaDeTexto 12"/>
          <p:cNvSpPr txBox="1"/>
          <p:nvPr/>
        </p:nvSpPr>
        <p:spPr>
          <a:xfrm>
            <a:off x="4572000" y="1835532"/>
            <a:ext cx="4104456" cy="369332"/>
          </a:xfrm>
          <a:prstGeom prst="rect">
            <a:avLst/>
          </a:prstGeom>
          <a:noFill/>
        </p:spPr>
        <p:txBody>
          <a:bodyPr wrap="square" rtlCol="0">
            <a:spAutoFit/>
          </a:bodyPr>
          <a:lstStyle/>
          <a:p>
            <a:r>
              <a:rPr lang="pt-BR" dirty="0"/>
              <a:t>Proporção de Acertos por item: CIE 9EF</a:t>
            </a:r>
          </a:p>
        </p:txBody>
      </p:sp>
      <p:sp>
        <p:nvSpPr>
          <p:cNvPr id="14" name="CaixaDeTexto 13"/>
          <p:cNvSpPr txBox="1"/>
          <p:nvPr/>
        </p:nvSpPr>
        <p:spPr>
          <a:xfrm>
            <a:off x="539552" y="548680"/>
            <a:ext cx="7848872" cy="707886"/>
          </a:xfrm>
          <a:prstGeom prst="rect">
            <a:avLst/>
          </a:prstGeom>
          <a:noFill/>
        </p:spPr>
        <p:txBody>
          <a:bodyPr wrap="square" rtlCol="0">
            <a:spAutoFit/>
          </a:bodyPr>
          <a:lstStyle/>
          <a:p>
            <a:r>
              <a:rPr lang="pt-BR" sz="2000" b="1" dirty="0"/>
              <a:t>Exemplo de resultados da Análise Clássica obtidas com o software </a:t>
            </a:r>
            <a:r>
              <a:rPr lang="pt-BR" sz="2000" b="1" dirty="0" err="1"/>
              <a:t>ItemAN</a:t>
            </a:r>
            <a:endParaRPr lang="pt-BR" sz="2000" b="1" dirty="0"/>
          </a:p>
        </p:txBody>
      </p:sp>
      <p:pic>
        <p:nvPicPr>
          <p:cNvPr id="94211" name="Imagem 3"/>
          <p:cNvPicPr>
            <a:picLocks noChangeAspect="1" noChangeArrowheads="1"/>
          </p:cNvPicPr>
          <p:nvPr/>
        </p:nvPicPr>
        <p:blipFill>
          <a:blip r:embed="rId2" cstate="print"/>
          <a:srcRect/>
          <a:stretch>
            <a:fillRect/>
          </a:stretch>
        </p:blipFill>
        <p:spPr bwMode="auto">
          <a:xfrm>
            <a:off x="467544" y="2420888"/>
            <a:ext cx="3816350" cy="2859087"/>
          </a:xfrm>
          <a:prstGeom prst="rect">
            <a:avLst/>
          </a:prstGeom>
          <a:noFill/>
          <a:ln w="9525">
            <a:noFill/>
            <a:miter lim="800000"/>
            <a:headEnd/>
            <a:tailEnd/>
          </a:ln>
        </p:spPr>
      </p:pic>
      <p:pic>
        <p:nvPicPr>
          <p:cNvPr id="94212" name="Imagem 4"/>
          <p:cNvPicPr>
            <a:picLocks noChangeAspect="1" noChangeArrowheads="1"/>
          </p:cNvPicPr>
          <p:nvPr/>
        </p:nvPicPr>
        <p:blipFill>
          <a:blip r:embed="rId3" cstate="print"/>
          <a:srcRect/>
          <a:stretch>
            <a:fillRect/>
          </a:stretch>
        </p:blipFill>
        <p:spPr bwMode="auto">
          <a:xfrm>
            <a:off x="4572000" y="2420888"/>
            <a:ext cx="3816350" cy="2859087"/>
          </a:xfrm>
          <a:prstGeom prst="rect">
            <a:avLst/>
          </a:prstGeom>
          <a:noFill/>
          <a:ln w="9525">
            <a:noFill/>
            <a:miter lim="800000"/>
            <a:headEnd/>
            <a:tailEnd/>
          </a:ln>
        </p:spPr>
      </p:pic>
    </p:spTree>
    <p:extLst>
      <p:ext uri="{BB962C8B-B14F-4D97-AF65-F5344CB8AC3E}">
        <p14:creationId xmlns:p14="http://schemas.microsoft.com/office/powerpoint/2010/main" val="173294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ItemAN</a:t>
            </a:r>
            <a:r>
              <a:rPr lang="pt-BR" dirty="0"/>
              <a:t> 4.1</a:t>
            </a:r>
          </a:p>
        </p:txBody>
      </p:sp>
      <p:sp>
        <p:nvSpPr>
          <p:cNvPr id="3" name="Espaço Reservado para Conteúdo 2"/>
          <p:cNvSpPr>
            <a:spLocks noGrp="1"/>
          </p:cNvSpPr>
          <p:nvPr>
            <p:ph idx="1"/>
          </p:nvPr>
        </p:nvSpPr>
        <p:spPr/>
        <p:txBody>
          <a:bodyPr/>
          <a:lstStyle/>
          <a:p>
            <a:r>
              <a:rPr lang="pt-BR" dirty="0"/>
              <a:t>Disponível em</a:t>
            </a:r>
            <a:r>
              <a:rPr lang="pt-BR" dirty="0">
                <a:solidFill>
                  <a:srgbClr val="FF0000"/>
                </a:solidFill>
              </a:rPr>
              <a:t> http://www.assess.com/   </a:t>
            </a:r>
          </a:p>
        </p:txBody>
      </p:sp>
      <p:pic>
        <p:nvPicPr>
          <p:cNvPr id="652290" name="Picture 2"/>
          <p:cNvPicPr>
            <a:picLocks noChangeAspect="1" noChangeArrowheads="1"/>
          </p:cNvPicPr>
          <p:nvPr/>
        </p:nvPicPr>
        <p:blipFill>
          <a:blip r:embed="rId2" cstate="print"/>
          <a:srcRect/>
          <a:stretch>
            <a:fillRect/>
          </a:stretch>
        </p:blipFill>
        <p:spPr bwMode="auto">
          <a:xfrm>
            <a:off x="4860032" y="2780928"/>
            <a:ext cx="3810000" cy="2857500"/>
          </a:xfrm>
          <a:prstGeom prst="rect">
            <a:avLst/>
          </a:prstGeom>
          <a:noFill/>
          <a:ln w="9525">
            <a:noFill/>
            <a:miter lim="800000"/>
            <a:headEnd/>
            <a:tailEnd/>
          </a:ln>
        </p:spPr>
      </p:pic>
      <p:pic>
        <p:nvPicPr>
          <p:cNvPr id="652291" name="Picture 3"/>
          <p:cNvPicPr>
            <a:picLocks noChangeAspect="1" noChangeArrowheads="1"/>
          </p:cNvPicPr>
          <p:nvPr/>
        </p:nvPicPr>
        <p:blipFill>
          <a:blip r:embed="rId3" cstate="print"/>
          <a:srcRect/>
          <a:stretch>
            <a:fillRect/>
          </a:stretch>
        </p:blipFill>
        <p:spPr bwMode="auto">
          <a:xfrm>
            <a:off x="755576" y="2780928"/>
            <a:ext cx="3810000" cy="2857500"/>
          </a:xfrm>
          <a:prstGeom prst="rect">
            <a:avLst/>
          </a:prstGeom>
          <a:noFill/>
          <a:ln w="9525">
            <a:noFill/>
            <a:miter lim="800000"/>
            <a:headEnd/>
            <a:tailEnd/>
          </a:ln>
        </p:spPr>
      </p:pic>
      <p:sp>
        <p:nvSpPr>
          <p:cNvPr id="6" name="CaixaDeTexto 5"/>
          <p:cNvSpPr txBox="1"/>
          <p:nvPr/>
        </p:nvSpPr>
        <p:spPr>
          <a:xfrm>
            <a:off x="683568" y="5805264"/>
            <a:ext cx="3888432" cy="646331"/>
          </a:xfrm>
          <a:prstGeom prst="rect">
            <a:avLst/>
          </a:prstGeom>
          <a:noFill/>
        </p:spPr>
        <p:txBody>
          <a:bodyPr wrap="square" rtlCol="0">
            <a:spAutoFit/>
          </a:bodyPr>
          <a:lstStyle/>
          <a:p>
            <a:r>
              <a:rPr lang="pt-BR" dirty="0"/>
              <a:t>Distribuição das Correlações </a:t>
            </a:r>
            <a:r>
              <a:rPr lang="pt-BR" dirty="0" err="1"/>
              <a:t>Ponto-Bisseriais</a:t>
            </a:r>
            <a:r>
              <a:rPr lang="pt-BR" dirty="0"/>
              <a:t> (</a:t>
            </a:r>
            <a:r>
              <a:rPr lang="pt-BR" dirty="0" err="1"/>
              <a:t>Rpbis</a:t>
            </a:r>
            <a:r>
              <a:rPr lang="pt-BR" dirty="0"/>
              <a:t>)</a:t>
            </a:r>
          </a:p>
        </p:txBody>
      </p:sp>
      <p:sp>
        <p:nvSpPr>
          <p:cNvPr id="7" name="CaixaDeTexto 6"/>
          <p:cNvSpPr txBox="1"/>
          <p:nvPr/>
        </p:nvSpPr>
        <p:spPr>
          <a:xfrm>
            <a:off x="4860032" y="5805264"/>
            <a:ext cx="3888432" cy="646331"/>
          </a:xfrm>
          <a:prstGeom prst="rect">
            <a:avLst/>
          </a:prstGeom>
          <a:noFill/>
        </p:spPr>
        <p:txBody>
          <a:bodyPr wrap="square" rtlCol="0">
            <a:spAutoFit/>
          </a:bodyPr>
          <a:lstStyle/>
          <a:p>
            <a:r>
              <a:rPr lang="pt-BR" dirty="0"/>
              <a:t>Relação Proporção de Acerto x </a:t>
            </a:r>
            <a:r>
              <a:rPr lang="pt-BR" dirty="0" err="1"/>
              <a:t>Rpbis</a:t>
            </a:r>
            <a:endParaRPr lang="pt-BR" dirty="0"/>
          </a:p>
        </p:txBody>
      </p:sp>
    </p:spTree>
    <p:extLst>
      <p:ext uri="{BB962C8B-B14F-4D97-AF65-F5344CB8AC3E}">
        <p14:creationId xmlns:p14="http://schemas.microsoft.com/office/powerpoint/2010/main" val="640704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rot="16200000">
            <a:off x="-671492" y="1832780"/>
            <a:ext cx="5796120" cy="2868928"/>
          </a:xfrm>
        </p:spPr>
        <p:txBody>
          <a:bodyPr/>
          <a:lstStyle/>
          <a:p>
            <a:r>
              <a:rPr lang="pt-BR" dirty="0"/>
              <a:t>Informações por item</a:t>
            </a:r>
          </a:p>
        </p:txBody>
      </p:sp>
      <p:pic>
        <p:nvPicPr>
          <p:cNvPr id="4" name="Espaço Reservado para Conteúdo 3" descr="I4.1ItemOutput (1).jpg"/>
          <p:cNvPicPr>
            <a:picLocks noGrp="1" noChangeAspect="1"/>
          </p:cNvPicPr>
          <p:nvPr>
            <p:ph idx="1"/>
          </p:nvPr>
        </p:nvPicPr>
        <p:blipFill>
          <a:blip r:embed="rId2" cstate="print"/>
          <a:stretch>
            <a:fillRect/>
          </a:stretch>
        </p:blipFill>
        <p:spPr>
          <a:xfrm>
            <a:off x="4067944" y="0"/>
            <a:ext cx="5076056" cy="6861135"/>
          </a:xfrm>
        </p:spPr>
      </p:pic>
    </p:spTree>
    <p:extLst>
      <p:ext uri="{BB962C8B-B14F-4D97-AF65-F5344CB8AC3E}">
        <p14:creationId xmlns:p14="http://schemas.microsoft.com/office/powerpoint/2010/main" val="1219402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4" name="Rectangle 2"/>
          <p:cNvSpPr>
            <a:spLocks noGrp="1" noChangeArrowheads="1"/>
          </p:cNvSpPr>
          <p:nvPr>
            <p:ph type="title"/>
          </p:nvPr>
        </p:nvSpPr>
        <p:spPr/>
        <p:txBody>
          <a:bodyPr/>
          <a:lstStyle/>
          <a:p>
            <a:pPr eaLnBrk="1" hangingPunct="1">
              <a:defRPr/>
            </a:pPr>
            <a:r>
              <a:rPr lang="pt-BR"/>
              <a:t>OUTRAS MEDIDAS</a:t>
            </a:r>
          </a:p>
        </p:txBody>
      </p:sp>
      <p:sp>
        <p:nvSpPr>
          <p:cNvPr id="586755" name="Rectangle 3"/>
          <p:cNvSpPr>
            <a:spLocks noGrp="1" noChangeArrowheads="1"/>
          </p:cNvSpPr>
          <p:nvPr>
            <p:ph type="body" idx="1"/>
          </p:nvPr>
        </p:nvSpPr>
        <p:spPr/>
        <p:txBody>
          <a:bodyPr/>
          <a:lstStyle/>
          <a:p>
            <a:pPr eaLnBrk="1" hangingPunct="1">
              <a:defRPr/>
            </a:pPr>
            <a:r>
              <a:rPr lang="pt-BR" dirty="0"/>
              <a:t>Há outras medidas “similares” ao coeficiente de discriminação.  O principal é o Coeficiente de Correlação Ponto-</a:t>
            </a:r>
            <a:r>
              <a:rPr lang="pt-BR" dirty="0" err="1"/>
              <a:t>Bisserial</a:t>
            </a:r>
            <a:r>
              <a:rPr lang="pt-BR" dirty="0"/>
              <a:t>, que varia no intervalo -1 a 1.    Valores próximos de -1 indicam que os indivíduos de maior escore (nota) estão errando os itens, o que não é aceitável.  Espera-se um valor positivo para a alternativa correta e negativo para as incorretas.</a:t>
            </a:r>
          </a:p>
        </p:txBody>
      </p:sp>
    </p:spTree>
    <p:extLst>
      <p:ext uri="{BB962C8B-B14F-4D97-AF65-F5344CB8AC3E}">
        <p14:creationId xmlns:p14="http://schemas.microsoft.com/office/powerpoint/2010/main" val="38421775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5"/>
          <p:cNvSpPr>
            <a:spLocks noGrp="1"/>
          </p:cNvSpPr>
          <p:nvPr>
            <p:ph type="sldNum" sz="quarter" idx="12"/>
          </p:nvPr>
        </p:nvSpPr>
        <p:spPr/>
        <p:txBody>
          <a:bodyPr/>
          <a:lstStyle/>
          <a:p>
            <a:fld id="{28DA1F72-040C-4A9A-85FA-B2A282ACFB3F}" type="slidenum">
              <a:rPr lang="pt-BR"/>
              <a:pPr/>
              <a:t>34</a:t>
            </a:fld>
            <a:endParaRPr lang="pt-BR"/>
          </a:p>
        </p:txBody>
      </p:sp>
      <p:sp>
        <p:nvSpPr>
          <p:cNvPr id="75778" name="Rectangle 2"/>
          <p:cNvSpPr>
            <a:spLocks noGrp="1" noChangeArrowheads="1"/>
          </p:cNvSpPr>
          <p:nvPr>
            <p:ph type="title"/>
          </p:nvPr>
        </p:nvSpPr>
        <p:spPr>
          <a:xfrm>
            <a:off x="684213" y="304800"/>
            <a:ext cx="8231187" cy="603920"/>
          </a:xfrm>
        </p:spPr>
        <p:txBody>
          <a:bodyPr>
            <a:normAutofit/>
          </a:bodyPr>
          <a:lstStyle/>
          <a:p>
            <a:pPr algn="ctr"/>
            <a:r>
              <a:rPr lang="pt-BR" sz="3200" b="1" dirty="0"/>
              <a:t>Correlação Ponto-</a:t>
            </a:r>
            <a:r>
              <a:rPr lang="pt-BR" sz="3200" b="1" dirty="0" err="1"/>
              <a:t>Bisserial</a:t>
            </a:r>
            <a:endParaRPr lang="pt-BR" sz="3200" b="1" dirty="0"/>
          </a:p>
        </p:txBody>
      </p:sp>
      <p:sp>
        <p:nvSpPr>
          <p:cNvPr id="75779" name="Rectangle 3"/>
          <p:cNvSpPr>
            <a:spLocks noGrp="1" noChangeArrowheads="1"/>
          </p:cNvSpPr>
          <p:nvPr>
            <p:ph type="body" idx="1"/>
          </p:nvPr>
        </p:nvSpPr>
        <p:spPr>
          <a:xfrm>
            <a:off x="323850" y="1557338"/>
            <a:ext cx="8820150" cy="4895998"/>
          </a:xfrm>
        </p:spPr>
        <p:txBody>
          <a:bodyPr>
            <a:normAutofit/>
          </a:bodyPr>
          <a:lstStyle/>
          <a:p>
            <a:pPr>
              <a:lnSpc>
                <a:spcPct val="80000"/>
              </a:lnSpc>
            </a:pPr>
            <a:r>
              <a:rPr lang="pt-BR" sz="2400" b="1" dirty="0"/>
              <a:t>Coeficiente de correlação ponto-</a:t>
            </a:r>
            <a:r>
              <a:rPr lang="pt-BR" sz="2400" b="1" dirty="0" err="1"/>
              <a:t>bisserial</a:t>
            </a:r>
            <a:r>
              <a:rPr lang="pt-BR" sz="2400" dirty="0"/>
              <a:t> (item-teste): </a:t>
            </a:r>
            <a:r>
              <a:rPr lang="pt-BR" sz="2000" dirty="0"/>
              <a:t>coeficiente de correlação de Pearson entre o escore total e a resposta ao item (1=acerto, 0=erro) de cada um dos respondentes , </a:t>
            </a:r>
            <a:r>
              <a:rPr lang="pt-BR" sz="2000" u="sng" dirty="0"/>
              <a:t>variando de 0 a 1</a:t>
            </a:r>
            <a:r>
              <a:rPr lang="pt-BR" sz="2000" dirty="0"/>
              <a:t>. </a:t>
            </a:r>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r>
              <a:rPr lang="pt-BR" sz="2000" dirty="0" err="1"/>
              <a:t>M</a:t>
            </a:r>
            <a:r>
              <a:rPr lang="pt-BR" sz="2000" baseline="-25000" dirty="0" err="1"/>
              <a:t>p</a:t>
            </a:r>
            <a:r>
              <a:rPr lang="pt-BR" sz="2000" dirty="0"/>
              <a:t> 	é a média da medida de desempenho no teste para os alunos que acertaram o item;</a:t>
            </a:r>
          </a:p>
          <a:p>
            <a:r>
              <a:rPr lang="pt-BR" sz="2000" dirty="0"/>
              <a:t>M 	é a média geral da medida de desempenho no teste para todos os alunos;</a:t>
            </a:r>
          </a:p>
          <a:p>
            <a:r>
              <a:rPr lang="pt-BR" sz="2000" dirty="0"/>
              <a:t>S 	é o desvio padrão da medida de desempenho no teste para todos os alunos,</a:t>
            </a:r>
          </a:p>
          <a:p>
            <a:r>
              <a:rPr lang="pt-BR" sz="2000" dirty="0"/>
              <a:t>p 	é o percentual de acerto no item;</a:t>
            </a:r>
          </a:p>
          <a:p>
            <a:pPr>
              <a:lnSpc>
                <a:spcPct val="80000"/>
              </a:lnSpc>
              <a:buFont typeface="Wingdings" pitchFamily="2" charset="2"/>
              <a:buNone/>
            </a:pPr>
            <a:endParaRPr lang="pt-BR" sz="2400" dirty="0"/>
          </a:p>
        </p:txBody>
      </p:sp>
      <p:graphicFrame>
        <p:nvGraphicFramePr>
          <p:cNvPr id="2" name="Objeto 1"/>
          <p:cNvGraphicFramePr>
            <a:graphicFrameLocks noChangeAspect="1"/>
          </p:cNvGraphicFramePr>
          <p:nvPr>
            <p:extLst/>
          </p:nvPr>
        </p:nvGraphicFramePr>
        <p:xfrm>
          <a:off x="1979712" y="2780928"/>
          <a:ext cx="3888432" cy="1156021"/>
        </p:xfrm>
        <a:graphic>
          <a:graphicData uri="http://schemas.openxmlformats.org/presentationml/2006/ole">
            <mc:AlternateContent xmlns:mc="http://schemas.openxmlformats.org/markup-compatibility/2006">
              <mc:Choice xmlns:v="urn:schemas-microsoft-com:vml" Requires="v">
                <p:oleObj spid="_x0000_s6146" r:id="rId3" imgW="1536700" imgH="457200" progId="">
                  <p:embed/>
                </p:oleObj>
              </mc:Choice>
              <mc:Fallback>
                <p:oleObj r:id="rId3" imgW="1536700" imgH="457200" progId="">
                  <p:embed/>
                  <p:pic>
                    <p:nvPicPr>
                      <p:cNvPr id="2" name="Objeto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712" y="2780928"/>
                        <a:ext cx="3888432" cy="11560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13388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5"/>
          <p:cNvSpPr>
            <a:spLocks noGrp="1"/>
          </p:cNvSpPr>
          <p:nvPr>
            <p:ph type="sldNum" sz="quarter" idx="12"/>
          </p:nvPr>
        </p:nvSpPr>
        <p:spPr/>
        <p:txBody>
          <a:bodyPr/>
          <a:lstStyle/>
          <a:p>
            <a:fld id="{28DA1F72-040C-4A9A-85FA-B2A282ACFB3F}" type="slidenum">
              <a:rPr lang="pt-BR"/>
              <a:pPr/>
              <a:t>35</a:t>
            </a:fld>
            <a:endParaRPr lang="pt-BR"/>
          </a:p>
        </p:txBody>
      </p:sp>
      <p:sp>
        <p:nvSpPr>
          <p:cNvPr id="75778" name="Rectangle 2"/>
          <p:cNvSpPr>
            <a:spLocks noGrp="1" noChangeArrowheads="1"/>
          </p:cNvSpPr>
          <p:nvPr>
            <p:ph type="title"/>
          </p:nvPr>
        </p:nvSpPr>
        <p:spPr>
          <a:xfrm>
            <a:off x="661293" y="116632"/>
            <a:ext cx="8231187" cy="864096"/>
          </a:xfrm>
        </p:spPr>
        <p:txBody>
          <a:bodyPr/>
          <a:lstStyle/>
          <a:p>
            <a:pPr algn="ctr"/>
            <a:r>
              <a:rPr lang="pt-BR" b="1" dirty="0"/>
              <a:t>Correlação </a:t>
            </a:r>
            <a:r>
              <a:rPr lang="pt-BR" b="1" dirty="0" err="1"/>
              <a:t>Bisserial</a:t>
            </a:r>
            <a:endParaRPr lang="pt-BR" b="1" dirty="0"/>
          </a:p>
        </p:txBody>
      </p:sp>
      <p:sp>
        <p:nvSpPr>
          <p:cNvPr id="75779" name="Rectangle 3"/>
          <p:cNvSpPr>
            <a:spLocks noGrp="1" noChangeArrowheads="1"/>
          </p:cNvSpPr>
          <p:nvPr>
            <p:ph type="body" idx="1"/>
          </p:nvPr>
        </p:nvSpPr>
        <p:spPr>
          <a:xfrm>
            <a:off x="323850" y="1557338"/>
            <a:ext cx="8568630" cy="4895998"/>
          </a:xfrm>
        </p:spPr>
        <p:txBody>
          <a:bodyPr>
            <a:normAutofit/>
          </a:bodyPr>
          <a:lstStyle/>
          <a:p>
            <a:pPr>
              <a:lnSpc>
                <a:spcPct val="80000"/>
              </a:lnSpc>
            </a:pPr>
            <a:r>
              <a:rPr lang="pt-BR" sz="2400" b="1" dirty="0"/>
              <a:t>Coeficiente de correlação </a:t>
            </a:r>
            <a:r>
              <a:rPr lang="pt-BR" sz="2400" b="1" dirty="0" err="1"/>
              <a:t>bisserial</a:t>
            </a:r>
            <a:r>
              <a:rPr lang="pt-BR" sz="2400" dirty="0"/>
              <a:t> (item-teste): </a:t>
            </a:r>
          </a:p>
          <a:p>
            <a:pPr>
              <a:lnSpc>
                <a:spcPct val="80000"/>
              </a:lnSpc>
              <a:buFont typeface="Wingdings" pitchFamily="2" charset="2"/>
              <a:buNone/>
            </a:pPr>
            <a:r>
              <a:rPr lang="pt-BR" sz="2400" dirty="0"/>
              <a:t>     transformação do coeficiente de correlação ponto-</a:t>
            </a:r>
            <a:r>
              <a:rPr lang="pt-BR" sz="2400" dirty="0" err="1"/>
              <a:t>bisserial</a:t>
            </a:r>
            <a:r>
              <a:rPr lang="pt-BR" sz="2400" dirty="0"/>
              <a:t>, v</a:t>
            </a:r>
            <a:r>
              <a:rPr lang="pt-BR" sz="2400" u="sng" dirty="0"/>
              <a:t>ariando de 0 a 1</a:t>
            </a:r>
            <a:r>
              <a:rPr lang="pt-BR" sz="2400" dirty="0"/>
              <a:t>.</a:t>
            </a:r>
          </a:p>
          <a:p>
            <a:pPr>
              <a:lnSpc>
                <a:spcPct val="80000"/>
              </a:lnSpc>
              <a:buFont typeface="Wingdings" pitchFamily="2" charset="2"/>
              <a:buNone/>
            </a:pPr>
            <a:endParaRPr lang="pt-BR" sz="2400" dirty="0"/>
          </a:p>
          <a:p>
            <a:pPr>
              <a:lnSpc>
                <a:spcPct val="80000"/>
              </a:lnSpc>
              <a:buFont typeface="Wingdings" pitchFamily="2" charset="2"/>
              <a:buNone/>
            </a:pPr>
            <a:endParaRPr lang="pt-BR" sz="800" dirty="0"/>
          </a:p>
          <a:p>
            <a:pPr>
              <a:lnSpc>
                <a:spcPct val="80000"/>
              </a:lnSpc>
              <a:buFont typeface="Wingdings" pitchFamily="2" charset="2"/>
              <a:buNone/>
            </a:pPr>
            <a:r>
              <a:rPr lang="pt-BR" sz="2400" dirty="0"/>
              <a:t>    </a:t>
            </a:r>
          </a:p>
          <a:p>
            <a:pPr>
              <a:lnSpc>
                <a:spcPct val="80000"/>
              </a:lnSpc>
              <a:buFont typeface="Wingdings" pitchFamily="2" charset="2"/>
              <a:buNone/>
            </a:pPr>
            <a:endParaRPr lang="pt-BR" sz="1200" dirty="0"/>
          </a:p>
          <a:p>
            <a:pPr>
              <a:lnSpc>
                <a:spcPct val="80000"/>
              </a:lnSpc>
              <a:buFont typeface="Wingdings" pitchFamily="2" charset="2"/>
              <a:buNone/>
            </a:pPr>
            <a:r>
              <a:rPr lang="pt-BR" sz="2400" dirty="0"/>
              <a:t>    com </a:t>
            </a:r>
            <a:r>
              <a:rPr lang="pt-BR" sz="2400" i="1" dirty="0"/>
              <a:t>h(p) sendo </a:t>
            </a:r>
            <a:r>
              <a:rPr lang="pt-BR" sz="2400" dirty="0"/>
              <a:t>o valor da densidade da distribuição normal com média 0 (zero) e variância 1 (um) no ponto em que a área da curva à esquerda deste ponto é igual a p.</a:t>
            </a:r>
          </a:p>
          <a:p>
            <a:pPr>
              <a:lnSpc>
                <a:spcPct val="80000"/>
              </a:lnSpc>
              <a:buFont typeface="Wingdings" pitchFamily="2" charset="2"/>
              <a:buNone/>
            </a:pPr>
            <a:endParaRPr lang="pt-BR" sz="1700" dirty="0"/>
          </a:p>
          <a:p>
            <a:pPr>
              <a:lnSpc>
                <a:spcPct val="80000"/>
              </a:lnSpc>
              <a:buFont typeface="Wingdings" pitchFamily="2" charset="2"/>
              <a:buNone/>
            </a:pPr>
            <a:r>
              <a:rPr lang="pt-BR" sz="1800" i="1" dirty="0"/>
              <a:t>	É a correlação  entre  uma  variável  contínua  que obedece  a  uma  distribuição  normal, a qual  é  artificialmente  </a:t>
            </a:r>
            <a:r>
              <a:rPr lang="pt-BR" sz="1800" i="1" dirty="0" err="1"/>
              <a:t>dicotomizada</a:t>
            </a:r>
            <a:r>
              <a:rPr lang="pt-BR" sz="1800" i="1" dirty="0"/>
              <a:t>, e  uma  variável  numérica, o Escore.</a:t>
            </a:r>
          </a:p>
          <a:p>
            <a:pPr>
              <a:lnSpc>
                <a:spcPct val="80000"/>
              </a:lnSpc>
              <a:buFont typeface="Wingdings" pitchFamily="2" charset="2"/>
              <a:buNone/>
            </a:pPr>
            <a:endParaRPr lang="pt-BR" sz="2400" dirty="0"/>
          </a:p>
        </p:txBody>
      </p:sp>
      <p:graphicFrame>
        <p:nvGraphicFramePr>
          <p:cNvPr id="75780" name="Object 4"/>
          <p:cNvGraphicFramePr>
            <a:graphicFrameLocks noChangeAspect="1"/>
          </p:cNvGraphicFramePr>
          <p:nvPr>
            <p:extLst>
              <p:ext uri="{D42A27DB-BD31-4B8C-83A1-F6EECF244321}">
                <p14:modId xmlns:p14="http://schemas.microsoft.com/office/powerpoint/2010/main" val="3780943238"/>
              </p:ext>
            </p:extLst>
          </p:nvPr>
        </p:nvGraphicFramePr>
        <p:xfrm>
          <a:off x="2232025" y="2659064"/>
          <a:ext cx="4321175" cy="865187"/>
        </p:xfrm>
        <a:graphic>
          <a:graphicData uri="http://schemas.openxmlformats.org/presentationml/2006/ole">
            <mc:AlternateContent xmlns:mc="http://schemas.openxmlformats.org/markup-compatibility/2006">
              <mc:Choice xmlns:v="urn:schemas-microsoft-com:vml" Requires="v">
                <p:oleObj spid="_x0000_s7170" name="Equation" r:id="rId3" imgW="1790700" imgH="406400" progId="Equation.3">
                  <p:embed/>
                </p:oleObj>
              </mc:Choice>
              <mc:Fallback>
                <p:oleObj name="Equation" r:id="rId3" imgW="1790700" imgH="406400" progId="Equation.3">
                  <p:embed/>
                  <p:pic>
                    <p:nvPicPr>
                      <p:cNvPr id="7578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2025" y="2659064"/>
                        <a:ext cx="4321175" cy="8651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82273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ço Reservado para Número de Slide 5"/>
          <p:cNvSpPr>
            <a:spLocks noGrp="1"/>
          </p:cNvSpPr>
          <p:nvPr>
            <p:ph type="sldNum" sz="quarter" idx="12"/>
          </p:nvPr>
        </p:nvSpPr>
        <p:spPr/>
        <p:txBody>
          <a:bodyPr/>
          <a:lstStyle/>
          <a:p>
            <a:fld id="{267C6277-F97F-4F57-BAC5-8A0E8C7143A1}" type="slidenum">
              <a:rPr lang="pt-BR"/>
              <a:pPr/>
              <a:t>36</a:t>
            </a:fld>
            <a:endParaRPr lang="pt-BR"/>
          </a:p>
        </p:txBody>
      </p:sp>
      <p:sp>
        <p:nvSpPr>
          <p:cNvPr id="76802" name="Rectangle 2"/>
          <p:cNvSpPr>
            <a:spLocks noGrp="1" noChangeArrowheads="1"/>
          </p:cNvSpPr>
          <p:nvPr>
            <p:ph type="title"/>
          </p:nvPr>
        </p:nvSpPr>
        <p:spPr>
          <a:xfrm>
            <a:off x="618331" y="164218"/>
            <a:ext cx="8231187" cy="675928"/>
          </a:xfrm>
        </p:spPr>
        <p:txBody>
          <a:bodyPr>
            <a:normAutofit/>
          </a:bodyPr>
          <a:lstStyle/>
          <a:p>
            <a:pPr algn="ctr"/>
            <a:r>
              <a:rPr lang="pt-BR" sz="3200" b="1" dirty="0"/>
              <a:t>Fidedignidade</a:t>
            </a:r>
          </a:p>
        </p:txBody>
      </p:sp>
      <p:sp>
        <p:nvSpPr>
          <p:cNvPr id="76803" name="Rectangle 3"/>
          <p:cNvSpPr>
            <a:spLocks noGrp="1" noChangeArrowheads="1"/>
          </p:cNvSpPr>
          <p:nvPr>
            <p:ph type="body" idx="1"/>
          </p:nvPr>
        </p:nvSpPr>
        <p:spPr>
          <a:xfrm>
            <a:off x="323850" y="1557338"/>
            <a:ext cx="8820150" cy="4321175"/>
          </a:xfrm>
        </p:spPr>
        <p:txBody>
          <a:bodyPr/>
          <a:lstStyle/>
          <a:p>
            <a:r>
              <a:rPr lang="pt-BR" sz="2400" b="1" dirty="0"/>
              <a:t>Coeficiente alpha</a:t>
            </a:r>
            <a:r>
              <a:rPr lang="pt-BR" sz="2400" dirty="0"/>
              <a:t> (teste): medida de fidedignidade do teste – </a:t>
            </a:r>
            <a:r>
              <a:rPr lang="pt-BR" sz="2400" u="sng" dirty="0"/>
              <a:t>varia de 0 a 1</a:t>
            </a:r>
            <a:r>
              <a:rPr lang="pt-BR" sz="2400" dirty="0"/>
              <a:t>.</a:t>
            </a:r>
          </a:p>
          <a:p>
            <a:pPr>
              <a:buFont typeface="Wingdings" pitchFamily="2" charset="2"/>
              <a:buNone/>
            </a:pPr>
            <a:endParaRPr lang="pt-BR" sz="2400" dirty="0"/>
          </a:p>
          <a:p>
            <a:pPr>
              <a:buFont typeface="Wingdings" pitchFamily="2" charset="2"/>
              <a:buNone/>
            </a:pPr>
            <a:endParaRPr lang="en-US" sz="2400" dirty="0">
              <a:sym typeface="Symbol" pitchFamily="18" charset="2"/>
            </a:endParaRPr>
          </a:p>
          <a:p>
            <a:pPr>
              <a:buFont typeface="Wingdings" pitchFamily="2" charset="2"/>
              <a:buNone/>
            </a:pPr>
            <a:endParaRPr lang="pt-BR" sz="800" dirty="0"/>
          </a:p>
          <a:p>
            <a:pPr>
              <a:buFont typeface="Wingdings" pitchFamily="2" charset="2"/>
              <a:buNone/>
            </a:pPr>
            <a:r>
              <a:rPr lang="pt-BR" sz="2400" dirty="0"/>
              <a:t>    onde n é o número total de itens,           é a proporção de acerto do item i  e         é a variância dos escores.</a:t>
            </a:r>
            <a:endParaRPr lang="pt-BR" sz="2400" b="1" dirty="0"/>
          </a:p>
          <a:p>
            <a:endParaRPr lang="pt-BR" sz="2400" b="1" dirty="0"/>
          </a:p>
        </p:txBody>
      </p:sp>
      <p:graphicFrame>
        <p:nvGraphicFramePr>
          <p:cNvPr id="76805" name="Object 5"/>
          <p:cNvGraphicFramePr>
            <a:graphicFrameLocks noChangeAspect="1"/>
          </p:cNvGraphicFramePr>
          <p:nvPr>
            <p:extLst>
              <p:ext uri="{D42A27DB-BD31-4B8C-83A1-F6EECF244321}">
                <p14:modId xmlns:p14="http://schemas.microsoft.com/office/powerpoint/2010/main" val="1452236815"/>
              </p:ext>
            </p:extLst>
          </p:nvPr>
        </p:nvGraphicFramePr>
        <p:xfrm>
          <a:off x="2987675" y="2082800"/>
          <a:ext cx="3311525" cy="1325563"/>
        </p:xfrm>
        <a:graphic>
          <a:graphicData uri="http://schemas.openxmlformats.org/presentationml/2006/ole">
            <mc:AlternateContent xmlns:mc="http://schemas.openxmlformats.org/markup-compatibility/2006">
              <mc:Choice xmlns:v="urn:schemas-microsoft-com:vml" Requires="v">
                <p:oleObj spid="_x0000_s8194" name="Equação" r:id="rId3" imgW="1688760" imgH="863280" progId="Equation.3">
                  <p:embed/>
                </p:oleObj>
              </mc:Choice>
              <mc:Fallback>
                <p:oleObj name="Equação" r:id="rId3" imgW="1688760" imgH="863280" progId="Equation.3">
                  <p:embed/>
                  <p:pic>
                    <p:nvPicPr>
                      <p:cNvPr id="76805" name="Object 5"/>
                      <p:cNvPicPr>
                        <a:picLocks noChangeAspect="1" noChangeArrowheads="1"/>
                      </p:cNvPicPr>
                      <p:nvPr/>
                    </p:nvPicPr>
                    <p:blipFill>
                      <a:blip r:embed="rId4"/>
                      <a:srcRect/>
                      <a:stretch>
                        <a:fillRect/>
                      </a:stretch>
                    </p:blipFill>
                    <p:spPr bwMode="auto">
                      <a:xfrm>
                        <a:off x="2987675" y="2082800"/>
                        <a:ext cx="3311525" cy="13255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6806" name="Object 6"/>
          <p:cNvGraphicFramePr>
            <a:graphicFrameLocks noChangeAspect="1"/>
          </p:cNvGraphicFramePr>
          <p:nvPr>
            <p:extLst/>
          </p:nvPr>
        </p:nvGraphicFramePr>
        <p:xfrm>
          <a:off x="5004048" y="3284538"/>
          <a:ext cx="468313" cy="568325"/>
        </p:xfrm>
        <a:graphic>
          <a:graphicData uri="http://schemas.openxmlformats.org/presentationml/2006/ole">
            <mc:AlternateContent xmlns:mc="http://schemas.openxmlformats.org/markup-compatibility/2006">
              <mc:Choice xmlns:v="urn:schemas-microsoft-com:vml" Requires="v">
                <p:oleObj spid="_x0000_s8195" name="Equation" r:id="rId5" imgW="177646" imgH="228402" progId="Equation.3">
                  <p:embed/>
                </p:oleObj>
              </mc:Choice>
              <mc:Fallback>
                <p:oleObj name="Equation" r:id="rId5" imgW="177646" imgH="228402" progId="Equation.3">
                  <p:embed/>
                  <p:pic>
                    <p:nvPicPr>
                      <p:cNvPr id="76806"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3284538"/>
                        <a:ext cx="468313" cy="5683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6807" name="Object 7"/>
          <p:cNvGraphicFramePr>
            <a:graphicFrameLocks noChangeAspect="1"/>
          </p:cNvGraphicFramePr>
          <p:nvPr>
            <p:extLst/>
          </p:nvPr>
        </p:nvGraphicFramePr>
        <p:xfrm>
          <a:off x="1907704" y="3645024"/>
          <a:ext cx="434975" cy="504825"/>
        </p:xfrm>
        <a:graphic>
          <a:graphicData uri="http://schemas.openxmlformats.org/presentationml/2006/ole">
            <mc:AlternateContent xmlns:mc="http://schemas.openxmlformats.org/markup-compatibility/2006">
              <mc:Choice xmlns:v="urn:schemas-microsoft-com:vml" Requires="v">
                <p:oleObj spid="_x0000_s8196" name="Equation" r:id="rId7" imgW="164957" imgH="203024" progId="Equation.3">
                  <p:embed/>
                </p:oleObj>
              </mc:Choice>
              <mc:Fallback>
                <p:oleObj name="Equation" r:id="rId7" imgW="164957" imgH="203024" progId="Equation.3">
                  <p:embed/>
                  <p:pic>
                    <p:nvPicPr>
                      <p:cNvPr id="76807" name="Object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704" y="3645024"/>
                        <a:ext cx="434975" cy="504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41197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rro-Padrão de Medida</a:t>
            </a:r>
          </a:p>
        </p:txBody>
      </p:sp>
      <p:pic>
        <p:nvPicPr>
          <p:cNvPr id="4" name="Picture 2"/>
          <p:cNvPicPr>
            <a:picLocks noChangeAspect="1" noChangeArrowheads="1"/>
          </p:cNvPicPr>
          <p:nvPr/>
        </p:nvPicPr>
        <p:blipFill>
          <a:blip r:embed="rId3" cstate="print"/>
          <a:srcRect/>
          <a:stretch>
            <a:fillRect/>
          </a:stretch>
        </p:blipFill>
        <p:spPr bwMode="auto">
          <a:xfrm>
            <a:off x="4934010" y="3284984"/>
            <a:ext cx="3888432" cy="2916324"/>
          </a:xfrm>
          <a:prstGeom prst="rect">
            <a:avLst/>
          </a:prstGeom>
          <a:noFill/>
          <a:ln w="9525">
            <a:noFill/>
            <a:miter lim="800000"/>
            <a:headEnd/>
            <a:tailEnd/>
          </a:ln>
        </p:spPr>
      </p:pic>
      <p:sp>
        <p:nvSpPr>
          <p:cNvPr id="5" name="Retângulo 4"/>
          <p:cNvSpPr/>
          <p:nvPr/>
        </p:nvSpPr>
        <p:spPr>
          <a:xfrm>
            <a:off x="456400" y="1340768"/>
            <a:ext cx="7571983" cy="923330"/>
          </a:xfrm>
          <a:prstGeom prst="rect">
            <a:avLst/>
          </a:prstGeom>
        </p:spPr>
        <p:txBody>
          <a:bodyPr wrap="square">
            <a:spAutoFit/>
          </a:bodyPr>
          <a:lstStyle/>
          <a:p>
            <a:r>
              <a:rPr lang="pt-BR" b="1" dirty="0"/>
              <a:t>Erro padrão de medida</a:t>
            </a:r>
            <a:r>
              <a:rPr lang="pt-BR" dirty="0"/>
              <a:t> (teste): medida de precisão do teste – </a:t>
            </a:r>
            <a:r>
              <a:rPr lang="pt-BR" u="sng" dirty="0"/>
              <a:t>valor maior ou igual a zero</a:t>
            </a:r>
            <a:r>
              <a:rPr lang="pt-BR" dirty="0"/>
              <a:t>.</a:t>
            </a:r>
          </a:p>
          <a:p>
            <a:pPr>
              <a:buFont typeface="Wingdings" pitchFamily="2" charset="2"/>
              <a:buNone/>
            </a:pPr>
            <a:endParaRPr lang="pt-BR" dirty="0"/>
          </a:p>
        </p:txBody>
      </p:sp>
      <p:graphicFrame>
        <p:nvGraphicFramePr>
          <p:cNvPr id="6" name="Object 8"/>
          <p:cNvGraphicFramePr>
            <a:graphicFrameLocks noChangeAspect="1"/>
          </p:cNvGraphicFramePr>
          <p:nvPr>
            <p:extLst>
              <p:ext uri="{D42A27DB-BD31-4B8C-83A1-F6EECF244321}">
                <p14:modId xmlns:p14="http://schemas.microsoft.com/office/powerpoint/2010/main" val="2139100524"/>
              </p:ext>
            </p:extLst>
          </p:nvPr>
        </p:nvGraphicFramePr>
        <p:xfrm>
          <a:off x="2339752" y="2198277"/>
          <a:ext cx="3600450" cy="576263"/>
        </p:xfrm>
        <a:graphic>
          <a:graphicData uri="http://schemas.openxmlformats.org/presentationml/2006/ole">
            <mc:AlternateContent xmlns:mc="http://schemas.openxmlformats.org/markup-compatibility/2006">
              <mc:Choice xmlns:v="urn:schemas-microsoft-com:vml" Requires="v">
                <p:oleObj spid="_x0000_s9218" name="Equation" r:id="rId4" imgW="1016000" imgH="228600" progId="Equation.3">
                  <p:embed/>
                </p:oleObj>
              </mc:Choice>
              <mc:Fallback>
                <p:oleObj name="Equation" r:id="rId4" imgW="1016000" imgH="228600" progId="Equation.3">
                  <p:embed/>
                  <p:pic>
                    <p:nvPicPr>
                      <p:cNvPr id="6"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9752" y="2198277"/>
                        <a:ext cx="3600450" cy="5762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3103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pPr algn="ctr"/>
            <a:r>
              <a:rPr lang="pt-BR" b="1" dirty="0"/>
              <a:t>Escore ajustado por </a:t>
            </a:r>
            <a:r>
              <a:rPr lang="pt-BR" b="1" i="1" dirty="0"/>
              <a:t>Caderno</a:t>
            </a:r>
            <a:r>
              <a:rPr lang="pt-BR" b="1" dirty="0"/>
              <a:t>: </a:t>
            </a:r>
            <a:r>
              <a:rPr lang="pt-BR" b="1" dirty="0" err="1"/>
              <a:t>Normit</a:t>
            </a:r>
            <a:endParaRPr lang="pt-BR" b="1" dirty="0"/>
          </a:p>
        </p:txBody>
      </p:sp>
      <p:sp>
        <p:nvSpPr>
          <p:cNvPr id="3" name="Espaço Reservado para Conteúdo 2"/>
          <p:cNvSpPr>
            <a:spLocks noGrp="1"/>
          </p:cNvSpPr>
          <p:nvPr>
            <p:ph idx="1"/>
          </p:nvPr>
        </p:nvSpPr>
        <p:spPr>
          <a:xfrm>
            <a:off x="522890" y="1086392"/>
            <a:ext cx="8229600" cy="4525963"/>
          </a:xfrm>
        </p:spPr>
        <p:txBody>
          <a:bodyPr>
            <a:normAutofit fontScale="92500" lnSpcReduction="10000"/>
          </a:bodyPr>
          <a:lstStyle/>
          <a:p>
            <a:r>
              <a:rPr lang="pt-BR" dirty="0"/>
              <a:t>É frequente em avaliações educacionais</a:t>
            </a:r>
          </a:p>
          <a:p>
            <a:r>
              <a:rPr lang="pt-BR" dirty="0"/>
              <a:t>O escore </a:t>
            </a:r>
            <a:r>
              <a:rPr lang="pt-BR" dirty="0" err="1"/>
              <a:t>normit</a:t>
            </a:r>
            <a:r>
              <a:rPr lang="pt-BR" dirty="0"/>
              <a:t> de um aluno que acerta </a:t>
            </a:r>
            <a:r>
              <a:rPr lang="pt-BR" i="1" dirty="0"/>
              <a:t>i</a:t>
            </a:r>
            <a:r>
              <a:rPr lang="pt-BR" dirty="0"/>
              <a:t> itens de um caderno é definido como:</a:t>
            </a:r>
          </a:p>
          <a:p>
            <a:endParaRPr lang="pt-BR" i="1" dirty="0"/>
          </a:p>
          <a:p>
            <a:endParaRPr lang="pt-BR" i="1" dirty="0"/>
          </a:p>
          <a:p>
            <a:endParaRPr lang="pt-BR" i="1" dirty="0"/>
          </a:p>
          <a:p>
            <a:r>
              <a:rPr lang="pt-BR" sz="2400" dirty="0"/>
              <a:t>onde </a:t>
            </a:r>
            <a:r>
              <a:rPr lang="az-Cyrl-AZ" sz="2400" i="1" dirty="0"/>
              <a:t>Ф</a:t>
            </a:r>
            <a:r>
              <a:rPr lang="pt-BR" sz="2400" i="1" dirty="0"/>
              <a:t>(x)</a:t>
            </a:r>
            <a:r>
              <a:rPr lang="pt-BR" sz="2400" dirty="0"/>
              <a:t> é a função cumulativa da distribuição normal com média 0 e variância 1;</a:t>
            </a:r>
          </a:p>
          <a:p>
            <a:r>
              <a:rPr lang="pt-BR" sz="2400" dirty="0"/>
              <a:t>CF (i) é a frequência cumulativa para </a:t>
            </a:r>
            <a:r>
              <a:rPr lang="pt-BR" sz="2400" i="1" dirty="0"/>
              <a:t>i</a:t>
            </a:r>
            <a:r>
              <a:rPr lang="pt-BR" sz="2400" dirty="0"/>
              <a:t> itens corretos em um caderno e N é o número de alunos que responderam o caderno;</a:t>
            </a:r>
          </a:p>
          <a:p>
            <a:pPr marL="0" indent="0">
              <a:buNone/>
            </a:pPr>
            <a:endParaRPr lang="pt-BR" dirty="0"/>
          </a:p>
        </p:txBody>
      </p:sp>
      <p:pic>
        <p:nvPicPr>
          <p:cNvPr id="581639"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608" y="2996953"/>
            <a:ext cx="3415509" cy="648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1640"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6176" y="2900017"/>
            <a:ext cx="1584176" cy="898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aixaDeTexto 8"/>
          <p:cNvSpPr txBox="1"/>
          <p:nvPr/>
        </p:nvSpPr>
        <p:spPr>
          <a:xfrm>
            <a:off x="4860032" y="3131676"/>
            <a:ext cx="1242648" cy="369332"/>
          </a:xfrm>
          <a:prstGeom prst="rect">
            <a:avLst/>
          </a:prstGeom>
          <a:noFill/>
        </p:spPr>
        <p:txBody>
          <a:bodyPr wrap="none" rtlCol="0">
            <a:spAutoFit/>
          </a:bodyPr>
          <a:lstStyle/>
          <a:p>
            <a:r>
              <a:rPr lang="pt-BR" dirty="0" err="1"/>
              <a:t>normit</a:t>
            </a:r>
            <a:r>
              <a:rPr lang="pt-BR" dirty="0"/>
              <a:t>(0)=</a:t>
            </a:r>
          </a:p>
        </p:txBody>
      </p:sp>
    </p:spTree>
    <p:extLst>
      <p:ext uri="{BB962C8B-B14F-4D97-AF65-F5344CB8AC3E}">
        <p14:creationId xmlns:p14="http://schemas.microsoft.com/office/powerpoint/2010/main" val="10531631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istribuições de notas em testes</a:t>
            </a:r>
          </a:p>
        </p:txBody>
      </p:sp>
      <p:pic>
        <p:nvPicPr>
          <p:cNvPr id="4" name="Espaço Reservado para Conteúdo 3"/>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1043608" y="1196752"/>
            <a:ext cx="6780011" cy="5520680"/>
          </a:xfrm>
        </p:spPr>
      </p:pic>
    </p:spTree>
    <p:extLst>
      <p:ext uri="{BB962C8B-B14F-4D97-AF65-F5344CB8AC3E}">
        <p14:creationId xmlns:p14="http://schemas.microsoft.com/office/powerpoint/2010/main" val="878012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pPr lvl="0">
              <a:spcBef>
                <a:spcPts val="0"/>
              </a:spcBef>
            </a:pPr>
            <a:r>
              <a:rPr lang="pt-BR" sz="2800" b="1" dirty="0">
                <a:solidFill>
                  <a:prstClr val="black">
                    <a:lumMod val="85000"/>
                    <a:lumOff val="15000"/>
                  </a:prstClr>
                </a:solidFill>
                <a:latin typeface="+mn-lt"/>
                <a:ea typeface="+mn-ea"/>
                <a:cs typeface="+mn-cs"/>
              </a:rPr>
              <a:t>Índice</a:t>
            </a:r>
            <a:endParaRPr lang="pt-BR" dirty="0">
              <a:latin typeface="+mn-lt"/>
            </a:endParaRPr>
          </a:p>
        </p:txBody>
      </p:sp>
      <p:sp>
        <p:nvSpPr>
          <p:cNvPr id="12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pt-BR"/>
          </a:p>
        </p:txBody>
      </p:sp>
      <p:sp>
        <p:nvSpPr>
          <p:cNvPr id="10" name="CaixaDeTexto 9"/>
          <p:cNvSpPr txBox="1"/>
          <p:nvPr/>
        </p:nvSpPr>
        <p:spPr>
          <a:xfrm>
            <a:off x="251520" y="1124744"/>
            <a:ext cx="8143932" cy="4893647"/>
          </a:xfrm>
          <a:prstGeom prst="rect">
            <a:avLst/>
          </a:prstGeom>
          <a:noFill/>
        </p:spPr>
        <p:txBody>
          <a:bodyPr wrap="square" rtlCol="0">
            <a:spAutoFit/>
          </a:bodyPr>
          <a:lstStyle/>
          <a:p>
            <a:pPr marL="457200" indent="-457200" algn="just">
              <a:buFont typeface="+mj-lt"/>
              <a:buAutoNum type="arabicPeriod"/>
            </a:pPr>
            <a:r>
              <a:rPr lang="pt-BR" sz="2400" dirty="0"/>
              <a:t>Introdução e Motivação</a:t>
            </a:r>
          </a:p>
          <a:p>
            <a:pPr marL="457200" indent="-457200" algn="just">
              <a:buFont typeface="+mj-lt"/>
              <a:buAutoNum type="arabicPeriod"/>
            </a:pPr>
            <a:r>
              <a:rPr lang="pt-BR" sz="2400" dirty="0"/>
              <a:t>Principais aplicações</a:t>
            </a:r>
          </a:p>
          <a:p>
            <a:pPr marL="457200" indent="-457200" algn="just">
              <a:buFont typeface="+mj-lt"/>
              <a:buAutoNum type="arabicPeriod"/>
            </a:pPr>
            <a:r>
              <a:rPr lang="pt-BR" sz="2400" dirty="0"/>
              <a:t>Teoria Clássica de Testes (TCT)</a:t>
            </a:r>
          </a:p>
          <a:p>
            <a:pPr marL="457200" indent="-457200" algn="just">
              <a:buFont typeface="+mj-lt"/>
              <a:buAutoNum type="arabicPeriod"/>
            </a:pPr>
            <a:r>
              <a:rPr lang="pt-BR" sz="2400" dirty="0"/>
              <a:t>Teoria da Resposta ao Item (TRI)</a:t>
            </a:r>
          </a:p>
          <a:p>
            <a:pPr marL="457200" indent="-457200" algn="just">
              <a:buFont typeface="+mj-lt"/>
              <a:buAutoNum type="arabicPeriod"/>
            </a:pPr>
            <a:r>
              <a:rPr lang="pt-BR" sz="2400" dirty="0"/>
              <a:t>Principais Modelos – Curva Característica do Item</a:t>
            </a:r>
          </a:p>
          <a:p>
            <a:pPr marL="457200" indent="-457200" algn="just">
              <a:buFont typeface="+mj-lt"/>
              <a:buAutoNum type="arabicPeriod"/>
            </a:pPr>
            <a:r>
              <a:rPr lang="pt-BR" sz="2400" dirty="0"/>
              <a:t>Estimação em um único grupo</a:t>
            </a:r>
          </a:p>
          <a:p>
            <a:pPr marL="457200" indent="-457200" algn="just">
              <a:buFont typeface="+mj-lt"/>
              <a:buAutoNum type="arabicPeriod"/>
            </a:pPr>
            <a:r>
              <a:rPr lang="pt-BR" sz="2400" dirty="0"/>
              <a:t>Equalização a Posteriori</a:t>
            </a:r>
          </a:p>
          <a:p>
            <a:pPr marL="457200" indent="-457200" algn="just">
              <a:buFont typeface="+mj-lt"/>
              <a:buAutoNum type="arabicPeriod"/>
            </a:pPr>
            <a:r>
              <a:rPr lang="pt-BR" sz="2400" dirty="0"/>
              <a:t>Calibração com vários grupos</a:t>
            </a:r>
          </a:p>
          <a:p>
            <a:pPr marL="457200" indent="-457200" algn="just">
              <a:buFont typeface="+mj-lt"/>
              <a:buAutoNum type="arabicPeriod"/>
            </a:pPr>
            <a:r>
              <a:rPr lang="pt-BR" sz="2400" dirty="0"/>
              <a:t>Análise Diferencial do Item (DIF)</a:t>
            </a:r>
          </a:p>
          <a:p>
            <a:pPr marL="457200" indent="-457200" algn="just">
              <a:buFont typeface="+mj-lt"/>
              <a:buAutoNum type="arabicPeriod"/>
            </a:pPr>
            <a:r>
              <a:rPr lang="pt-BR" sz="2400" dirty="0"/>
              <a:t>Testes Adaptativos Informatizados (TAI/CAT)</a:t>
            </a:r>
          </a:p>
          <a:p>
            <a:pPr marL="457200" indent="-457200" algn="just">
              <a:buFont typeface="+mj-lt"/>
              <a:buAutoNum type="arabicPeriod"/>
            </a:pPr>
            <a:r>
              <a:rPr lang="pt-BR" sz="2400" dirty="0"/>
              <a:t>Índice de Desenvolvimento da Educação Básica (IDEB)</a:t>
            </a:r>
          </a:p>
          <a:p>
            <a:pPr marL="457200" indent="-457200" algn="just">
              <a:buFont typeface="+mj-lt"/>
              <a:buAutoNum type="arabicPeriod"/>
            </a:pPr>
            <a:r>
              <a:rPr lang="pt-BR" sz="2400" dirty="0"/>
              <a:t>Fatores associados ao desempenho</a:t>
            </a:r>
          </a:p>
          <a:p>
            <a:pPr marL="457200" indent="-457200" algn="just">
              <a:buFont typeface="+mj-lt"/>
              <a:buAutoNum type="arabicPeriod"/>
            </a:pPr>
            <a:endParaRPr lang="pt-BR" sz="2400" dirty="0"/>
          </a:p>
        </p:txBody>
      </p:sp>
    </p:spTree>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4" cstate="print"/>
          <a:stretch>
            <a:fillRect/>
          </a:stretch>
        </p:blipFill>
        <p:spPr>
          <a:xfrm rot="198018">
            <a:off x="7834024" y="2845970"/>
            <a:ext cx="1031813" cy="2283364"/>
          </a:xfrm>
          <a:prstGeom prst="rect">
            <a:avLst/>
          </a:prstGeom>
        </p:spPr>
      </p:pic>
      <p:pic>
        <p:nvPicPr>
          <p:cNvPr id="16" name="Picture 15"/>
          <p:cNvPicPr>
            <a:picLocks noChangeAspect="1"/>
          </p:cNvPicPr>
          <p:nvPr/>
        </p:nvPicPr>
        <p:blipFill>
          <a:blip r:embed="rId5" cstate="print"/>
          <a:stretch>
            <a:fillRect/>
          </a:stretch>
        </p:blipFill>
        <p:spPr>
          <a:xfrm>
            <a:off x="7416882" y="267512"/>
            <a:ext cx="1584446" cy="2438400"/>
          </a:xfrm>
          <a:prstGeom prst="rect">
            <a:avLst/>
          </a:prstGeom>
        </p:spPr>
      </p:pic>
      <p:pic>
        <p:nvPicPr>
          <p:cNvPr id="18" name="Picture 17"/>
          <p:cNvPicPr>
            <a:picLocks noChangeAspect="1"/>
          </p:cNvPicPr>
          <p:nvPr/>
        </p:nvPicPr>
        <p:blipFill>
          <a:blip r:embed="rId6" cstate="print"/>
          <a:stretch>
            <a:fillRect/>
          </a:stretch>
        </p:blipFill>
        <p:spPr>
          <a:xfrm>
            <a:off x="6110596" y="356541"/>
            <a:ext cx="828109" cy="2133600"/>
          </a:xfrm>
          <a:prstGeom prst="rect">
            <a:avLst/>
          </a:prstGeom>
        </p:spPr>
      </p:pic>
      <p:sp>
        <p:nvSpPr>
          <p:cNvPr id="19" name="Left-Right Arrow 18"/>
          <p:cNvSpPr/>
          <p:nvPr/>
        </p:nvSpPr>
        <p:spPr>
          <a:xfrm rot="5400000">
            <a:off x="6208854" y="2544283"/>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0" name="Left-Right Arrow 19"/>
          <p:cNvSpPr/>
          <p:nvPr/>
        </p:nvSpPr>
        <p:spPr>
          <a:xfrm rot="10800000">
            <a:off x="7298752" y="3868422"/>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1" name="Left-Right Arrow 20"/>
          <p:cNvSpPr/>
          <p:nvPr/>
        </p:nvSpPr>
        <p:spPr>
          <a:xfrm rot="7846803">
            <a:off x="7097263" y="2788412"/>
            <a:ext cx="819804"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2" name="Oval 21"/>
          <p:cNvSpPr/>
          <p:nvPr/>
        </p:nvSpPr>
        <p:spPr>
          <a:xfrm>
            <a:off x="6462818" y="2490141"/>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Oval 22"/>
          <p:cNvSpPr/>
          <p:nvPr/>
        </p:nvSpPr>
        <p:spPr>
          <a:xfrm>
            <a:off x="6488050" y="3994685"/>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Oval 23"/>
          <p:cNvSpPr/>
          <p:nvPr/>
        </p:nvSpPr>
        <p:spPr>
          <a:xfrm>
            <a:off x="6488050" y="3993389"/>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Oval 24"/>
          <p:cNvSpPr/>
          <p:nvPr/>
        </p:nvSpPr>
        <p:spPr>
          <a:xfrm>
            <a:off x="7729263" y="399030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Oval 25"/>
          <p:cNvSpPr/>
          <p:nvPr/>
        </p:nvSpPr>
        <p:spPr>
          <a:xfrm>
            <a:off x="6485609" y="3995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Oval 26"/>
          <p:cNvSpPr/>
          <p:nvPr/>
        </p:nvSpPr>
        <p:spPr>
          <a:xfrm>
            <a:off x="6483258" y="399379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TextBox 4"/>
          <p:cNvSpPr txBox="1"/>
          <p:nvPr/>
        </p:nvSpPr>
        <p:spPr>
          <a:xfrm>
            <a:off x="143655" y="2256445"/>
            <a:ext cx="5464966" cy="1362537"/>
          </a:xfrm>
          <a:prstGeom prst="rect">
            <a:avLst/>
          </a:prstGeom>
          <a:noFill/>
        </p:spPr>
        <p:txBody>
          <a:bodyPr wrap="square" rtlCol="0" anchor="b">
            <a:normAutofit fontScale="85000" lnSpcReduction="10000"/>
          </a:bodyPr>
          <a:lstStyle/>
          <a:p>
            <a:r>
              <a:rPr lang="pt-BR" sz="4400" b="1" dirty="0">
                <a:solidFill>
                  <a:srgbClr val="7BCF27"/>
                </a:solidFill>
              </a:rPr>
              <a:t>Avaliando os Itens: Teoria da Resposta ao Item</a:t>
            </a:r>
          </a:p>
        </p:txBody>
      </p:sp>
      <p:pic>
        <p:nvPicPr>
          <p:cNvPr id="30" name="Picture 4" descr="http://t0.gstatic.com/images?q=tbn:ANd9GcQPh_HkpOPShe-hx11O3zWvYtppHIQ9Bh6oS0B7VOJZGIvQ1Nr4vukzapcu">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6798" y="3453681"/>
            <a:ext cx="1047750" cy="1266826"/>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m 16" descr="CCI.png"/>
          <p:cNvPicPr>
            <a:picLocks noChangeAspect="1"/>
          </p:cNvPicPr>
          <p:nvPr/>
        </p:nvPicPr>
        <p:blipFill>
          <a:blip r:embed="rId9" cstate="print"/>
          <a:stretch>
            <a:fillRect/>
          </a:stretch>
        </p:blipFill>
        <p:spPr>
          <a:xfrm>
            <a:off x="323527" y="3665126"/>
            <a:ext cx="5019343" cy="2958557"/>
          </a:xfrm>
          <a:prstGeom prst="rect">
            <a:avLst/>
          </a:prstGeom>
        </p:spPr>
      </p:pic>
      <p:grpSp>
        <p:nvGrpSpPr>
          <p:cNvPr id="29" name="Group 25"/>
          <p:cNvGrpSpPr/>
          <p:nvPr/>
        </p:nvGrpSpPr>
        <p:grpSpPr>
          <a:xfrm>
            <a:off x="310275" y="-235852"/>
            <a:ext cx="2057400" cy="2708434"/>
            <a:chOff x="762000" y="1557456"/>
            <a:chExt cx="2057400" cy="2708434"/>
          </a:xfrm>
        </p:grpSpPr>
        <p:sp>
          <p:nvSpPr>
            <p:cNvPr id="31" name="Oval 5"/>
            <p:cNvSpPr/>
            <p:nvPr/>
          </p:nvSpPr>
          <p:spPr>
            <a:xfrm>
              <a:off x="762000" y="1946209"/>
              <a:ext cx="2057400" cy="2057400"/>
            </a:xfrm>
            <a:prstGeom prst="ellipse">
              <a:avLst/>
            </a:prstGeom>
            <a:gradFill flip="none" rotWithShape="1">
              <a:gsLst>
                <a:gs pos="3000">
                  <a:srgbClr val="FF0000"/>
                </a:gs>
                <a:gs pos="0">
                  <a:schemeClr val="accent5">
                    <a:lumMod val="75000"/>
                  </a:schemeClr>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32" name="TextBox 13"/>
            <p:cNvSpPr txBox="1"/>
            <p:nvPr/>
          </p:nvSpPr>
          <p:spPr>
            <a:xfrm>
              <a:off x="1121392" y="1557456"/>
              <a:ext cx="1219200" cy="2708434"/>
            </a:xfrm>
            <a:prstGeom prst="rect">
              <a:avLst/>
            </a:prstGeom>
            <a:noFill/>
          </p:spPr>
          <p:txBody>
            <a:bodyPr wrap="square" rtlCol="0">
              <a:spAutoFit/>
            </a:bodyPr>
            <a:lstStyle/>
            <a:p>
              <a:r>
                <a:rPr lang="pt-BR" sz="17000" b="1" dirty="0">
                  <a:solidFill>
                    <a:schemeClr val="accent6">
                      <a:lumMod val="75000"/>
                    </a:schemeClr>
                  </a:solidFill>
                  <a:latin typeface="+mj-lt"/>
                  <a:cs typeface="Arial" pitchFamily="34" charset="0"/>
                </a:rPr>
                <a:t>4</a:t>
              </a:r>
            </a:p>
          </p:txBody>
        </p:sp>
        <p:sp>
          <p:nvSpPr>
            <p:cNvPr id="33" name="TextBox 12"/>
            <p:cNvSpPr txBox="1"/>
            <p:nvPr/>
          </p:nvSpPr>
          <p:spPr>
            <a:xfrm>
              <a:off x="823416" y="2666898"/>
              <a:ext cx="1931160" cy="683264"/>
            </a:xfrm>
            <a:prstGeom prst="rect">
              <a:avLst/>
            </a:prstGeom>
            <a:noFill/>
          </p:spPr>
          <p:txBody>
            <a:bodyPr wrap="square" rtlCol="0">
              <a:normAutofit/>
            </a:bodyPr>
            <a:lstStyle/>
            <a:p>
              <a:pPr algn="ctr">
                <a:lnSpc>
                  <a:spcPct val="80000"/>
                </a:lnSpc>
              </a:pPr>
              <a:r>
                <a:rPr lang="pt-BR" sz="2400" b="1" dirty="0">
                  <a:solidFill>
                    <a:schemeClr val="bg1"/>
                  </a:solidFill>
                  <a:effectLst>
                    <a:outerShdw blurRad="50800" dist="25400" dir="5400000" algn="t" rotWithShape="0">
                      <a:prstClr val="black">
                        <a:alpha val="15000"/>
                      </a:prstClr>
                    </a:outerShdw>
                  </a:effectLst>
                </a:rPr>
                <a:t>TRI</a:t>
              </a:r>
            </a:p>
          </p:txBody>
        </p:sp>
        <p:sp>
          <p:nvSpPr>
            <p:cNvPr id="34" name="Oval 18"/>
            <p:cNvSpPr/>
            <p:nvPr/>
          </p:nvSpPr>
          <p:spPr>
            <a:xfrm>
              <a:off x="997260" y="2241933"/>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       </a:t>
              </a:r>
            </a:p>
          </p:txBody>
        </p:sp>
      </p:grpSp>
    </p:spTree>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par>
                                <p:cTn id="14" presetID="16" presetClass="entr" presetSubtype="37"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arn(outVertical)">
                                      <p:cBhvr>
                                        <p:cTn id="16" dur="500"/>
                                        <p:tgtEl>
                                          <p:spTgt spid="20"/>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barn(outHorizontal)">
                                      <p:cBhvr>
                                        <p:cTn id="19" dur="500"/>
                                        <p:tgtEl>
                                          <p:spTgt spid="19"/>
                                        </p:tgtEl>
                                      </p:cBhvr>
                                    </p:animEffect>
                                  </p:childTnLst>
                                </p:cTn>
                              </p:par>
                              <p:par>
                                <p:cTn id="20" presetID="16" presetClass="entr" presetSubtype="37"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500"/>
                                        <p:tgtEl>
                                          <p:spTgt spid="21"/>
                                        </p:tgtEl>
                                      </p:cBhvr>
                                    </p:animEffect>
                                  </p:childTnLst>
                                </p:cTn>
                              </p:par>
                            </p:childTnLst>
                          </p:cTn>
                        </p:par>
                        <p:par>
                          <p:cTn id="23" fill="hold">
                            <p:stCondLst>
                              <p:cond delay="1500"/>
                            </p:stCondLst>
                            <p:childTnLst>
                              <p:par>
                                <p:cTn id="24" presetID="10" presetClass="entr" presetSubtype="0" fill="hold" grpId="1"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42" presetClass="path" presetSubtype="0" accel="50000" decel="50000" fill="hold" grpId="0" nodeType="afterEffect">
                                  <p:stCondLst>
                                    <p:cond delay="0"/>
                                  </p:stCondLst>
                                  <p:childTnLst>
                                    <p:animMotion origin="layout" path="M 0.00017 0.00023 L 0.00278 0.22037 " pathEditMode="relative" rAng="0" ptsTypes="AA">
                                      <p:cBhvr>
                                        <p:cTn id="29" dur="1500" fill="hold"/>
                                        <p:tgtEl>
                                          <p:spTgt spid="22"/>
                                        </p:tgtEl>
                                        <p:attrNameLst>
                                          <p:attrName>ppt_x</p:attrName>
                                          <p:attrName>ppt_y</p:attrName>
                                        </p:attrNameLst>
                                      </p:cBhvr>
                                      <p:rCtr x="1" y="110"/>
                                    </p:animMotion>
                                  </p:childTnLst>
                                  <p:subTnLst>
                                    <p:set>
                                      <p:cBhvr override="childStyle">
                                        <p:cTn dur="1" fill="hold" display="0" masterRel="sameClick" afterEffect="1">
                                          <p:stCondLst>
                                            <p:cond evt="end" delay="0">
                                              <p:tn val="28"/>
                                            </p:cond>
                                          </p:stCondLst>
                                        </p:cTn>
                                        <p:tgtEl>
                                          <p:spTgt spid="22"/>
                                        </p:tgtEl>
                                        <p:attrNameLst>
                                          <p:attrName>style.visibility</p:attrName>
                                        </p:attrNameLst>
                                      </p:cBhvr>
                                      <p:to>
                                        <p:strVal val="hidden"/>
                                      </p:to>
                                    </p:set>
                                  </p:subTnLst>
                                </p:cTn>
                              </p:par>
                            </p:childTnLst>
                          </p:cTn>
                        </p:par>
                        <p:par>
                          <p:cTn id="30" fill="hold">
                            <p:stCondLst>
                              <p:cond delay="3500"/>
                            </p:stCondLst>
                            <p:childTnLst>
                              <p:par>
                                <p:cTn id="31" presetID="10" presetClass="exit" presetSubtype="0" fill="hold" grpId="2" nodeType="afterEffect">
                                  <p:stCondLst>
                                    <p:cond delay="0"/>
                                  </p:stCondLst>
                                  <p:childTnLst>
                                    <p:animEffect transition="out" filter="fade">
                                      <p:cBhvr>
                                        <p:cTn id="32" dur="500"/>
                                        <p:tgtEl>
                                          <p:spTgt spid="22"/>
                                        </p:tgtEl>
                                      </p:cBhvr>
                                    </p:animEffect>
                                    <p:set>
                                      <p:cBhvr>
                                        <p:cTn id="33" dur="1" fill="hold">
                                          <p:stCondLst>
                                            <p:cond delay="499"/>
                                          </p:stCondLst>
                                        </p:cTn>
                                        <p:tgtEl>
                                          <p:spTgt spid="22"/>
                                        </p:tgtEl>
                                        <p:attrNameLst>
                                          <p:attrName>style.visibility</p:attrName>
                                        </p:attrNameLst>
                                      </p:cBhvr>
                                      <p:to>
                                        <p:strVal val="hidden"/>
                                      </p:to>
                                    </p:set>
                                  </p:childTnLst>
                                </p:cTn>
                              </p:par>
                              <p:par>
                                <p:cTn id="34" presetID="1" presetClass="entr" presetSubtype="0" fill="hold" grpId="1" nodeType="withEffect">
                                  <p:stCondLst>
                                    <p:cond delay="0"/>
                                  </p:stCondLst>
                                  <p:childTnLst>
                                    <p:set>
                                      <p:cBhvr>
                                        <p:cTn id="35" dur="1" fill="hold">
                                          <p:stCondLst>
                                            <p:cond delay="0"/>
                                          </p:stCondLst>
                                        </p:cTn>
                                        <p:tgtEl>
                                          <p:spTgt spid="24"/>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23"/>
                                        </p:tgtEl>
                                        <p:attrNameLst>
                                          <p:attrName>style.visibility</p:attrName>
                                        </p:attrNameLst>
                                      </p:cBhvr>
                                      <p:to>
                                        <p:strVal val="visible"/>
                                      </p:to>
                                    </p:set>
                                  </p:childTnLst>
                                </p:cTn>
                              </p:par>
                              <p:par>
                                <p:cTn id="38" presetID="42" presetClass="path" presetSubtype="0" accel="50000" decel="50000" fill="hold" grpId="0" nodeType="withEffect">
                                  <p:stCondLst>
                                    <p:cond delay="0"/>
                                  </p:stCondLst>
                                  <p:childTnLst>
                                    <p:animMotion origin="layout" path="M 3.33333E-6 -1.11111E-6 L 0.13889 -1.11111E-6 " pathEditMode="relative" rAng="0" ptsTypes="AA">
                                      <p:cBhvr>
                                        <p:cTn id="39" dur="1500" fill="hold"/>
                                        <p:tgtEl>
                                          <p:spTgt spid="24"/>
                                        </p:tgtEl>
                                        <p:attrNameLst>
                                          <p:attrName>ppt_x</p:attrName>
                                          <p:attrName>ppt_y</p:attrName>
                                        </p:attrNameLst>
                                      </p:cBhvr>
                                      <p:rCtr x="69" y="0"/>
                                    </p:animMotion>
                                  </p:childTnLst>
                                </p:cTn>
                              </p:par>
                              <p:par>
                                <p:cTn id="40" presetID="42" presetClass="path" presetSubtype="0" accel="50000" decel="50000" fill="hold" grpId="0" nodeType="withEffect">
                                  <p:stCondLst>
                                    <p:cond delay="0"/>
                                  </p:stCondLst>
                                  <p:childTnLst>
                                    <p:animMotion origin="layout" path="M 3.33333E-6 -1.11111E-6 L 0.11788 -0.18403 " pathEditMode="relative" rAng="0" ptsTypes="AA">
                                      <p:cBhvr>
                                        <p:cTn id="41" dur="1500" fill="hold"/>
                                        <p:tgtEl>
                                          <p:spTgt spid="23"/>
                                        </p:tgtEl>
                                        <p:attrNameLst>
                                          <p:attrName>ppt_x</p:attrName>
                                          <p:attrName>ppt_y</p:attrName>
                                        </p:attrNameLst>
                                      </p:cBhvr>
                                      <p:rCtr x="59" y="-92"/>
                                    </p:animMotion>
                                  </p:childTnLst>
                                </p:cTn>
                              </p:par>
                            </p:childTnLst>
                          </p:cTn>
                        </p:par>
                        <p:par>
                          <p:cTn id="42" fill="hold">
                            <p:stCondLst>
                              <p:cond delay="5000"/>
                            </p:stCondLst>
                            <p:childTnLst>
                              <p:par>
                                <p:cTn id="43" presetID="10" presetClass="exit" presetSubtype="0" fill="hold" grpId="2" nodeType="afterEffect">
                                  <p:stCondLst>
                                    <p:cond delay="0"/>
                                  </p:stCondLst>
                                  <p:childTnLst>
                                    <p:animEffect transition="out" filter="fade">
                                      <p:cBhvr>
                                        <p:cTn id="44" dur="250"/>
                                        <p:tgtEl>
                                          <p:spTgt spid="24"/>
                                        </p:tgtEl>
                                      </p:cBhvr>
                                    </p:animEffect>
                                    <p:set>
                                      <p:cBhvr>
                                        <p:cTn id="45" dur="1" fill="hold">
                                          <p:stCondLst>
                                            <p:cond delay="249"/>
                                          </p:stCondLst>
                                        </p:cTn>
                                        <p:tgtEl>
                                          <p:spTgt spid="2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23"/>
                                        </p:tgtEl>
                                      </p:cBhvr>
                                    </p:animEffect>
                                    <p:set>
                                      <p:cBhvr>
                                        <p:cTn id="48" dur="1" fill="hold">
                                          <p:stCondLst>
                                            <p:cond delay="499"/>
                                          </p:stCondLst>
                                        </p:cTn>
                                        <p:tgtEl>
                                          <p:spTgt spid="23"/>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50"/>
                                        <p:tgtEl>
                                          <p:spTgt spid="25"/>
                                        </p:tgtEl>
                                      </p:cBhvr>
                                    </p:animEffect>
                                  </p:childTnLst>
                                </p:cTn>
                              </p:par>
                            </p:childTnLst>
                          </p:cTn>
                        </p:par>
                        <p:par>
                          <p:cTn id="52" fill="hold">
                            <p:stCondLst>
                              <p:cond delay="5500"/>
                            </p:stCondLst>
                            <p:childTnLst>
                              <p:par>
                                <p:cTn id="53" presetID="42" presetClass="path" presetSubtype="0" accel="50000" decel="50000" fill="hold" grpId="1" nodeType="afterEffect">
                                  <p:stCondLst>
                                    <p:cond delay="0"/>
                                  </p:stCondLst>
                                  <p:childTnLst>
                                    <p:animMotion origin="layout" path="M 3.61111E-6 1.82786E-6 L -0.13664 0.00046 " pathEditMode="relative" rAng="0" ptsTypes="AA">
                                      <p:cBhvr>
                                        <p:cTn id="54" dur="1500" fill="hold"/>
                                        <p:tgtEl>
                                          <p:spTgt spid="25"/>
                                        </p:tgtEl>
                                        <p:attrNameLst>
                                          <p:attrName>ppt_x</p:attrName>
                                          <p:attrName>ppt_y</p:attrName>
                                        </p:attrNameLst>
                                      </p:cBhvr>
                                      <p:rCtr x="-68" y="0"/>
                                    </p:animMotion>
                                  </p:childTnLst>
                                  <p:subTnLst>
                                    <p:set>
                                      <p:cBhvr override="childStyle">
                                        <p:cTn dur="1" fill="hold" display="0" masterRel="sameClick" afterEffect="1">
                                          <p:stCondLst>
                                            <p:cond evt="end" delay="0">
                                              <p:tn val="53"/>
                                            </p:cond>
                                          </p:stCondLst>
                                        </p:cTn>
                                        <p:tgtEl>
                                          <p:spTgt spid="25"/>
                                        </p:tgtEl>
                                        <p:attrNameLst>
                                          <p:attrName>style.visibility</p:attrName>
                                        </p:attrNameLst>
                                      </p:cBhvr>
                                      <p:to>
                                        <p:strVal val="hidden"/>
                                      </p:to>
                                    </p:set>
                                  </p:subTnLst>
                                </p:cTn>
                              </p:par>
                            </p:childTnLst>
                          </p:cTn>
                        </p:par>
                        <p:par>
                          <p:cTn id="55" fill="hold">
                            <p:stCondLst>
                              <p:cond delay="7000"/>
                            </p:stCondLst>
                            <p:childTnLst>
                              <p:par>
                                <p:cTn id="56" presetID="10" presetClass="exit" presetSubtype="0" fill="hold" grpId="2" nodeType="afterEffect">
                                  <p:stCondLst>
                                    <p:cond delay="0"/>
                                  </p:stCondLst>
                                  <p:childTnLst>
                                    <p:animEffect transition="out" filter="fade">
                                      <p:cBhvr>
                                        <p:cTn id="57" dur="500"/>
                                        <p:tgtEl>
                                          <p:spTgt spid="25"/>
                                        </p:tgtEl>
                                      </p:cBhvr>
                                    </p:animEffect>
                                    <p:set>
                                      <p:cBhvr>
                                        <p:cTn id="58" dur="1" fill="hold">
                                          <p:stCondLst>
                                            <p:cond delay="499"/>
                                          </p:stCondLst>
                                        </p:cTn>
                                        <p:tgtEl>
                                          <p:spTgt spid="25"/>
                                        </p:tgtEl>
                                        <p:attrNameLst>
                                          <p:attrName>style.visibility</p:attrName>
                                        </p:attrNameLst>
                                      </p:cBhvr>
                                      <p:to>
                                        <p:strVal val="hidden"/>
                                      </p:to>
                                    </p:set>
                                  </p:childTnLst>
                                </p:cTn>
                              </p:par>
                              <p:par>
                                <p:cTn id="59" presetID="1" presetClass="entr" presetSubtype="0" fill="hold" grpId="1"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par>
                                <p:cTn id="63" presetID="42" presetClass="path" presetSubtype="0" accel="50000" decel="50000" fill="hold" grpId="0" nodeType="withEffect">
                                  <p:stCondLst>
                                    <p:cond delay="0"/>
                                  </p:stCondLst>
                                  <p:childTnLst>
                                    <p:animMotion origin="layout" path="M 0.00035 0.00093 L -0.00261 -0.21911 " pathEditMode="relative" rAng="0" ptsTypes="AA">
                                      <p:cBhvr>
                                        <p:cTn id="64" dur="1500" fill="hold"/>
                                        <p:tgtEl>
                                          <p:spTgt spid="26"/>
                                        </p:tgtEl>
                                        <p:attrNameLst>
                                          <p:attrName>ppt_x</p:attrName>
                                          <p:attrName>ppt_y</p:attrName>
                                        </p:attrNameLst>
                                      </p:cBhvr>
                                      <p:rCtr x="-2" y="-110"/>
                                    </p:animMotion>
                                  </p:childTnLst>
                                </p:cTn>
                              </p:par>
                              <p:par>
                                <p:cTn id="65" presetID="42" presetClass="path" presetSubtype="0" accel="50000" decel="50000" fill="hold" grpId="0" nodeType="withEffect">
                                  <p:stCondLst>
                                    <p:cond delay="0"/>
                                  </p:stCondLst>
                                  <p:childTnLst>
                                    <p:animMotion origin="layout" path="M 0.00139 0.00046 L 0.11458 -0.18079 " pathEditMode="relative" rAng="0" ptsTypes="AA">
                                      <p:cBhvr>
                                        <p:cTn id="66" dur="1500" fill="hold"/>
                                        <p:tgtEl>
                                          <p:spTgt spid="27"/>
                                        </p:tgtEl>
                                        <p:attrNameLst>
                                          <p:attrName>ppt_x</p:attrName>
                                          <p:attrName>ppt_y</p:attrName>
                                        </p:attrNameLst>
                                      </p:cBhvr>
                                      <p:rCtr x="57" y="-91"/>
                                    </p:animMotion>
                                  </p:childTnLst>
                                </p:cTn>
                              </p:par>
                            </p:childTnLst>
                          </p:cTn>
                        </p:par>
                        <p:par>
                          <p:cTn id="67" fill="hold">
                            <p:stCondLst>
                              <p:cond delay="8500"/>
                            </p:stCondLst>
                            <p:childTnLst>
                              <p:par>
                                <p:cTn id="68" presetID="10" presetClass="exit" presetSubtype="0" fill="hold" grpId="2" nodeType="after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2" nodeType="withEffect">
                                  <p:stCondLst>
                                    <p:cond delay="0"/>
                                  </p:stCondLst>
                                  <p:childTnLst>
                                    <p:animEffect transition="out" filter="fade">
                                      <p:cBhvr>
                                        <p:cTn id="72" dur="500"/>
                                        <p:tgtEl>
                                          <p:spTgt spid="26"/>
                                        </p:tgtEl>
                                      </p:cBhvr>
                                    </p:animEffect>
                                    <p:set>
                                      <p:cBhvr>
                                        <p:cTn id="73" dur="1" fill="hold">
                                          <p:stCondLst>
                                            <p:cond delay="499"/>
                                          </p:stCondLst>
                                        </p:cTn>
                                        <p:tgtEl>
                                          <p:spTgt spid="26"/>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21" presetClass="entr" presetSubtype="1" fill="hold" nodeType="clickEffect">
                                  <p:stCondLst>
                                    <p:cond delay="0"/>
                                  </p:stCondLst>
                                  <p:childTnLst>
                                    <p:set>
                                      <p:cBhvr>
                                        <p:cTn id="77" dur="1" fill="hold">
                                          <p:stCondLst>
                                            <p:cond delay="0"/>
                                          </p:stCondLst>
                                        </p:cTn>
                                        <p:tgtEl>
                                          <p:spTgt spid="29"/>
                                        </p:tgtEl>
                                        <p:attrNameLst>
                                          <p:attrName>style.visibility</p:attrName>
                                        </p:attrNameLst>
                                      </p:cBhvr>
                                      <p:to>
                                        <p:strVal val="visible"/>
                                      </p:to>
                                    </p:set>
                                    <p:animEffect transition="in" filter="wheel(1)">
                                      <p:cBhvr>
                                        <p:cTn id="78"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2" grpId="1" animBg="1"/>
      <p:bldP spid="22" grpId="2" animBg="1"/>
      <p:bldP spid="23" grpId="0" animBg="1"/>
      <p:bldP spid="23" grpId="1" animBg="1"/>
      <p:bldP spid="23" grpId="2" animBg="1"/>
      <p:bldP spid="24" grpId="0" animBg="1"/>
      <p:bldP spid="24" grpId="1" animBg="1"/>
      <p:bldP spid="24" grpId="2" animBg="1"/>
      <p:bldP spid="25" grpId="0" animBg="1"/>
      <p:bldP spid="25" grpId="1" animBg="1"/>
      <p:bldP spid="25" grpId="2" animBg="1"/>
      <p:bldP spid="26" grpId="0" animBg="1"/>
      <p:bldP spid="26" grpId="1" animBg="1"/>
      <p:bldP spid="26" grpId="2" animBg="1"/>
      <p:bldP spid="27" grpId="0" animBg="1"/>
      <p:bldP spid="27" grpId="1" animBg="1"/>
      <p:bldP spid="27" grpId="2"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4" name="Rectangle 2"/>
          <p:cNvSpPr>
            <a:spLocks noGrp="1" noChangeArrowheads="1"/>
          </p:cNvSpPr>
          <p:nvPr>
            <p:ph type="title"/>
          </p:nvPr>
        </p:nvSpPr>
        <p:spPr/>
        <p:txBody>
          <a:bodyPr>
            <a:normAutofit fontScale="90000"/>
          </a:bodyPr>
          <a:lstStyle/>
          <a:p>
            <a:pPr eaLnBrk="1" hangingPunct="1">
              <a:defRPr/>
            </a:pPr>
            <a:r>
              <a:rPr lang="pt-BR" sz="4000" dirty="0"/>
              <a:t>TEORIA DA RESPOSTA AO ITEM (TRI)</a:t>
            </a:r>
          </a:p>
        </p:txBody>
      </p:sp>
      <p:sp>
        <p:nvSpPr>
          <p:cNvPr id="591875" name="Rectangle 3"/>
          <p:cNvSpPr>
            <a:spLocks noGrp="1" noChangeArrowheads="1"/>
          </p:cNvSpPr>
          <p:nvPr>
            <p:ph type="body" idx="1"/>
          </p:nvPr>
        </p:nvSpPr>
        <p:spPr/>
        <p:txBody>
          <a:bodyPr>
            <a:normAutofit lnSpcReduction="10000"/>
          </a:bodyPr>
          <a:lstStyle/>
          <a:p>
            <a:pPr eaLnBrk="1" hangingPunct="1">
              <a:lnSpc>
                <a:spcPct val="90000"/>
              </a:lnSpc>
              <a:defRPr/>
            </a:pPr>
            <a:r>
              <a:rPr lang="pt-BR" sz="2800" dirty="0"/>
              <a:t>Construção estatisticamente consistente;</a:t>
            </a:r>
          </a:p>
          <a:p>
            <a:pPr eaLnBrk="1" hangingPunct="1">
              <a:lnSpc>
                <a:spcPct val="90000"/>
              </a:lnSpc>
              <a:defRPr/>
            </a:pPr>
            <a:r>
              <a:rPr lang="pt-BR" sz="2800" dirty="0"/>
              <a:t>Permite comparabilidade entre séries, anos, etc.</a:t>
            </a:r>
          </a:p>
          <a:p>
            <a:pPr eaLnBrk="1" hangingPunct="1">
              <a:lnSpc>
                <a:spcPct val="90000"/>
              </a:lnSpc>
              <a:defRPr/>
            </a:pPr>
            <a:r>
              <a:rPr lang="pt-BR" sz="2800" dirty="0"/>
              <a:t>Características diferentes em um mesmo item (discriminação, dificuldade, acerto ao acaso, descuido);</a:t>
            </a:r>
          </a:p>
          <a:p>
            <a:pPr eaLnBrk="1" hangingPunct="1">
              <a:lnSpc>
                <a:spcPct val="90000"/>
              </a:lnSpc>
              <a:defRPr/>
            </a:pPr>
            <a:r>
              <a:rPr lang="pt-BR" sz="2800" dirty="0"/>
              <a:t>Banco de Itens;</a:t>
            </a:r>
          </a:p>
          <a:p>
            <a:pPr eaLnBrk="1" hangingPunct="1">
              <a:lnSpc>
                <a:spcPct val="90000"/>
              </a:lnSpc>
              <a:defRPr/>
            </a:pPr>
            <a:r>
              <a:rPr lang="pt-BR" sz="2800" dirty="0"/>
              <a:t>Estudo de fatores associados;</a:t>
            </a:r>
          </a:p>
          <a:p>
            <a:pPr eaLnBrk="1" hangingPunct="1">
              <a:lnSpc>
                <a:spcPct val="90000"/>
              </a:lnSpc>
              <a:defRPr/>
            </a:pPr>
            <a:r>
              <a:rPr lang="pt-BR" sz="2800" dirty="0"/>
              <a:t>Estudo do número de dimensões dos itens;</a:t>
            </a:r>
          </a:p>
          <a:p>
            <a:pPr eaLnBrk="1" hangingPunct="1">
              <a:lnSpc>
                <a:spcPct val="90000"/>
              </a:lnSpc>
              <a:defRPr/>
            </a:pPr>
            <a:r>
              <a:rPr lang="pt-BR" sz="2800" dirty="0"/>
              <a:t>Curvas de crescimento;</a:t>
            </a:r>
          </a:p>
          <a:p>
            <a:pPr eaLnBrk="1" hangingPunct="1">
              <a:lnSpc>
                <a:spcPct val="90000"/>
              </a:lnSpc>
              <a:defRPr/>
            </a:pPr>
            <a:r>
              <a:rPr lang="pt-BR" sz="2800" dirty="0"/>
              <a:t>Etc.</a:t>
            </a:r>
          </a:p>
        </p:txBody>
      </p:sp>
    </p:spTree>
    <p:extLst>
      <p:ext uri="{BB962C8B-B14F-4D97-AF65-F5344CB8AC3E}">
        <p14:creationId xmlns:p14="http://schemas.microsoft.com/office/powerpoint/2010/main" val="127918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p:txBody>
          <a:bodyPr/>
          <a:lstStyle/>
          <a:p>
            <a:pPr eaLnBrk="1" hangingPunct="1">
              <a:defRPr/>
            </a:pPr>
            <a:r>
              <a:rPr lang="pt-BR"/>
              <a:t>Introdução</a:t>
            </a:r>
          </a:p>
        </p:txBody>
      </p:sp>
      <p:sp>
        <p:nvSpPr>
          <p:cNvPr id="489475" name="Rectangle 3"/>
          <p:cNvSpPr>
            <a:spLocks noGrp="1" noChangeArrowheads="1"/>
          </p:cNvSpPr>
          <p:nvPr>
            <p:ph type="body" idx="1"/>
          </p:nvPr>
        </p:nvSpPr>
        <p:spPr>
          <a:xfrm>
            <a:off x="436180" y="1412874"/>
            <a:ext cx="8403020" cy="4536405"/>
          </a:xfrm>
        </p:spPr>
        <p:txBody>
          <a:bodyPr>
            <a:normAutofit fontScale="85000" lnSpcReduction="20000"/>
          </a:bodyPr>
          <a:lstStyle/>
          <a:p>
            <a:pPr eaLnBrk="1" hangingPunct="1">
              <a:lnSpc>
                <a:spcPct val="90000"/>
              </a:lnSpc>
              <a:defRPr/>
            </a:pPr>
            <a:r>
              <a:rPr lang="pt-BR" sz="2800" dirty="0">
                <a:cs typeface="Times New Roman" pitchFamily="18" charset="0"/>
              </a:rPr>
              <a:t>A Teoria da Resposta ao Item (TRI) baseia-se em um conjunto de modelos estatísticos que relacionam um ou mais traços latentes (não observados) de um indivíduo com a probabilidade deste dar uma certa resposta a um item</a:t>
            </a:r>
            <a:r>
              <a:rPr lang="pt-BR" sz="2800" dirty="0"/>
              <a:t>;</a:t>
            </a:r>
          </a:p>
          <a:p>
            <a:pPr eaLnBrk="1" hangingPunct="1">
              <a:lnSpc>
                <a:spcPct val="90000"/>
              </a:lnSpc>
              <a:defRPr/>
            </a:pPr>
            <a:endParaRPr lang="pt-BR" sz="2800" dirty="0"/>
          </a:p>
          <a:p>
            <a:pPr eaLnBrk="1" hangingPunct="1">
              <a:lnSpc>
                <a:spcPct val="90000"/>
              </a:lnSpc>
              <a:defRPr/>
            </a:pPr>
            <a:r>
              <a:rPr lang="pt-BR" sz="2800" dirty="0"/>
              <a:t>Traço latente: habilidade/proficiência em Matemática, grau de satisfação do consumidor, grau de maturidade de uma empresa em Gestão pela Qualidade, etc.</a:t>
            </a:r>
          </a:p>
          <a:p>
            <a:pPr eaLnBrk="1" hangingPunct="1">
              <a:lnSpc>
                <a:spcPct val="90000"/>
              </a:lnSpc>
              <a:defRPr/>
            </a:pPr>
            <a:endParaRPr lang="pt-BR" sz="2800" dirty="0"/>
          </a:p>
          <a:p>
            <a:pPr eaLnBrk="1" hangingPunct="1">
              <a:lnSpc>
                <a:spcPct val="90000"/>
              </a:lnSpc>
              <a:defRPr/>
            </a:pPr>
            <a:r>
              <a:rPr lang="pt-BR" sz="2800" dirty="0"/>
              <a:t>Item: questão (prova), pergunta (questionário sobre qualidade de vida), ...</a:t>
            </a:r>
          </a:p>
          <a:p>
            <a:pPr eaLnBrk="1" hangingPunct="1">
              <a:lnSpc>
                <a:spcPct val="90000"/>
              </a:lnSpc>
              <a:defRPr/>
            </a:pPr>
            <a:endParaRPr lang="pt-BR" sz="2800" dirty="0"/>
          </a:p>
          <a:p>
            <a:pPr eaLnBrk="1" hangingPunct="1">
              <a:lnSpc>
                <a:spcPct val="90000"/>
              </a:lnSpc>
              <a:defRPr/>
            </a:pPr>
            <a:r>
              <a:rPr lang="pt-BR" sz="2800" dirty="0"/>
              <a:t>Podemos estimar características dos Itens e montar um BANCO DE ITENS.</a:t>
            </a:r>
          </a:p>
          <a:p>
            <a:pPr algn="just" eaLnBrk="1" hangingPunct="1">
              <a:lnSpc>
                <a:spcPct val="90000"/>
              </a:lnSpc>
              <a:buFontTx/>
              <a:buNone/>
              <a:defRPr/>
            </a:pPr>
            <a:r>
              <a:rPr lang="pt-BR" sz="2400" dirty="0">
                <a:cs typeface="Times New Roman" pitchFamily="18" charset="0"/>
              </a:rPr>
              <a:t> </a:t>
            </a:r>
            <a:endParaRPr lang="pt-BR" sz="2400" dirty="0"/>
          </a:p>
        </p:txBody>
      </p:sp>
    </p:spTree>
    <p:extLst>
      <p:ext uri="{BB962C8B-B14F-4D97-AF65-F5344CB8AC3E}">
        <p14:creationId xmlns:p14="http://schemas.microsoft.com/office/powerpoint/2010/main" val="3328707416"/>
      </p:ext>
    </p:extLst>
  </p:cSld>
  <p:clrMapOvr>
    <a:masterClrMapping/>
  </p:clrMapOvr>
  <p:transition>
    <p:cu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p:txBody>
          <a:bodyPr/>
          <a:lstStyle/>
          <a:p>
            <a:pPr eaLnBrk="1" hangingPunct="1">
              <a:defRPr/>
            </a:pPr>
            <a:r>
              <a:rPr lang="pt-BR" b="1" dirty="0"/>
              <a:t>O que queremos estimar?</a:t>
            </a:r>
          </a:p>
        </p:txBody>
      </p:sp>
      <p:sp>
        <p:nvSpPr>
          <p:cNvPr id="5" name="Text Box 2"/>
          <p:cNvSpPr txBox="1">
            <a:spLocks noChangeArrowheads="1"/>
          </p:cNvSpPr>
          <p:nvPr/>
        </p:nvSpPr>
        <p:spPr bwMode="auto">
          <a:xfrm>
            <a:off x="539552" y="1196752"/>
            <a:ext cx="7467600" cy="541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a:solidFill>
                  <a:schemeClr val="tx1"/>
                </a:solidFill>
                <a:latin typeface="Garamond" panose="02020404030301010803" pitchFamily="18" charset="0"/>
              </a:defRPr>
            </a:lvl1pPr>
            <a:lvl2pPr marL="914400" indent="-45720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A partir de um banco de dados de respostas a itens (questionário, prova, ...) deseja-se :</a:t>
            </a:r>
          </a:p>
          <a:p>
            <a:pPr lvl="1"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stimar os parâmetros dos itens (calibração)</a:t>
            </a:r>
          </a:p>
          <a:p>
            <a:pPr lvl="1"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stimar” a habilidade, proficiência, grau de satisfação, grau de maturidade, ... (</a:t>
            </a:r>
            <a:r>
              <a:rPr lang="pt-BR" altLang="pt-BR" sz="2400" dirty="0" err="1">
                <a:latin typeface="Arial" panose="020B0604020202020204" pitchFamily="34" charset="0"/>
              </a:rPr>
              <a:t>scoring</a:t>
            </a:r>
            <a:r>
              <a:rPr lang="pt-BR" altLang="pt-BR" sz="2400" dirty="0">
                <a:latin typeface="Arial" panose="020B0604020202020204" pitchFamily="34" charset="0"/>
              </a:rPr>
              <a:t>)</a:t>
            </a:r>
          </a:p>
          <a:p>
            <a:pPr eaLnBrk="1" hangingPunct="1">
              <a:lnSpc>
                <a:spcPct val="90000"/>
              </a:lnSpc>
              <a:spcBef>
                <a:spcPct val="20000"/>
              </a:spcBef>
              <a:buClr>
                <a:schemeClr val="hlink"/>
              </a:buClr>
              <a:buSzPct val="60000"/>
              <a:buFont typeface="Wingdings" panose="05000000000000000000" pitchFamily="2" charset="2"/>
              <a:buChar char="n"/>
            </a:pPr>
            <a:endParaRPr lang="pt-BR" altLang="pt-BR" sz="2400" dirty="0">
              <a:latin typeface="Arial" panose="020B0604020202020204" pitchFamily="34" charset="0"/>
            </a:endParaRPr>
          </a:p>
          <a:p>
            <a:pPr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xemplos: prova de matemática do Sistema Paraense de Avaliação Educacional (</a:t>
            </a:r>
            <a:r>
              <a:rPr lang="pt-BR" altLang="pt-BR" sz="2400" dirty="0" err="1">
                <a:latin typeface="Arial" panose="020B0604020202020204" pitchFamily="34" charset="0"/>
              </a:rPr>
              <a:t>SisPAE</a:t>
            </a:r>
            <a:r>
              <a:rPr lang="pt-BR" altLang="pt-BR" sz="2400" dirty="0">
                <a:latin typeface="Arial" panose="020B0604020202020204" pitchFamily="34" charset="0"/>
              </a:rPr>
              <a:t>) para alunos de uma determinada série, questionário sobre os recursos físicos e pedagógicos da escola (Censo Escolar do INEP/MEC), questionário sobre qualidade de vida de pacientes que foram submetidos a determinado tratamento médico, ...</a:t>
            </a:r>
          </a:p>
          <a:p>
            <a:pPr eaLnBrk="1" hangingPunct="1"/>
            <a:endParaRPr lang="pt-BR" altLang="pt-BR" sz="2400" dirty="0">
              <a:latin typeface="Times New Roman" panose="02020603050405020304" pitchFamily="18" charset="0"/>
            </a:endParaRPr>
          </a:p>
        </p:txBody>
      </p:sp>
    </p:spTree>
    <p:extLst>
      <p:ext uri="{BB962C8B-B14F-4D97-AF65-F5344CB8AC3E}">
        <p14:creationId xmlns:p14="http://schemas.microsoft.com/office/powerpoint/2010/main" val="3803065645"/>
      </p:ext>
    </p:extLst>
  </p:cSld>
  <p:clrMapOvr>
    <a:masterClrMapping/>
  </p:clrMapOvr>
  <p:transition>
    <p:cu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373880" y="1219200"/>
            <a:ext cx="3962400" cy="2474524"/>
          </a:xfrm>
          <a:prstGeom prst="rect">
            <a:avLst/>
          </a:prstGeom>
          <a:noFill/>
        </p:spPr>
        <p:txBody>
          <a:bodyPr wrap="square" rtlCol="0">
            <a:normAutofit/>
          </a:bodyPr>
          <a:lstStyle/>
          <a:p>
            <a:pPr>
              <a:lnSpc>
                <a:spcPct val="114000"/>
              </a:lnSpc>
            </a:pPr>
            <a:r>
              <a:rPr lang="pt-BR" sz="2000" dirty="0">
                <a:solidFill>
                  <a:prstClr val="black">
                    <a:lumMod val="85000"/>
                    <a:lumOff val="15000"/>
                  </a:prstClr>
                </a:solidFill>
              </a:rPr>
              <a:t>.</a:t>
            </a:r>
            <a:endParaRPr lang="pt-BR" dirty="0">
              <a:solidFill>
                <a:prstClr val="black"/>
              </a:solidFill>
            </a:endParaRPr>
          </a:p>
        </p:txBody>
      </p:sp>
      <p:sp>
        <p:nvSpPr>
          <p:cNvPr id="9" name="Title 8"/>
          <p:cNvSpPr>
            <a:spLocks noGrp="1"/>
          </p:cNvSpPr>
          <p:nvPr>
            <p:ph type="title"/>
          </p:nvPr>
        </p:nvSpPr>
        <p:spPr/>
        <p:txBody>
          <a:bodyPr>
            <a:normAutofit/>
          </a:bodyPr>
          <a:lstStyle/>
          <a:p>
            <a:pPr lvl="0">
              <a:spcBef>
                <a:spcPts val="0"/>
              </a:spcBef>
            </a:pPr>
            <a:r>
              <a:rPr lang="pt-BR" sz="3600" b="1" dirty="0">
                <a:solidFill>
                  <a:prstClr val="black">
                    <a:lumMod val="85000"/>
                    <a:lumOff val="15000"/>
                  </a:prstClr>
                </a:solidFill>
                <a:latin typeface="+mn-lt"/>
                <a:ea typeface="+mn-ea"/>
                <a:cs typeface="+mn-cs"/>
              </a:rPr>
              <a:t>Ideias subjacentes:</a:t>
            </a:r>
            <a:endParaRPr lang="pt-BR" sz="3600" dirty="0">
              <a:latin typeface="+mn-lt"/>
            </a:endParaRPr>
          </a:p>
        </p:txBody>
      </p:sp>
      <p:sp>
        <p:nvSpPr>
          <p:cNvPr id="8" name="Title 3"/>
          <p:cNvSpPr txBox="1">
            <a:spLocks/>
          </p:cNvSpPr>
          <p:nvPr/>
        </p:nvSpPr>
        <p:spPr>
          <a:xfrm>
            <a:off x="2411760" y="1196752"/>
            <a:ext cx="6443464" cy="5040560"/>
          </a:xfrm>
          <a:prstGeom prst="rect">
            <a:avLst/>
          </a:prstGeom>
        </p:spPr>
        <p:txBody>
          <a:bodyPr vert="horz" lIns="91440" tIns="45720" rIns="91440" bIns="45720" rtlCol="0" anchor="ctr">
            <a:noAutofit/>
          </a:bodyPr>
          <a:lstStyle>
            <a:lvl1pPr algn="l" defTabSz="914400" rtl="0" eaLnBrk="1" latinLnBrk="0" hangingPunct="1">
              <a:spcBef>
                <a:spcPct val="0"/>
              </a:spcBef>
              <a:buNone/>
              <a:defRPr kumimoji="0" lang="pt-BR" sz="3000" b="1" kern="1200" cap="all">
                <a:solidFill>
                  <a:schemeClr val="tx1"/>
                </a:solidFill>
                <a:latin typeface="+mj-lt"/>
                <a:ea typeface="+mj-ea"/>
                <a:cs typeface="+mj-cs"/>
              </a:defRPr>
            </a:lvl1pPr>
          </a:lstStyle>
          <a:p>
            <a:pPr marL="514350" indent="-514350">
              <a:spcBef>
                <a:spcPts val="0"/>
              </a:spcBef>
              <a:buAutoNum type="arabicParenR"/>
            </a:pPr>
            <a:r>
              <a:rPr lang="pt-BR" sz="2800" b="0" cap="none" dirty="0">
                <a:solidFill>
                  <a:prstClr val="black">
                    <a:lumMod val="85000"/>
                    <a:lumOff val="15000"/>
                  </a:prstClr>
                </a:solidFill>
                <a:ea typeface="+mn-ea"/>
                <a:cs typeface="+mn-cs"/>
              </a:rPr>
              <a:t>Quanto maior a proficiência de um aluno, maior a probabilidade dele acertar a cada questão de um teste;</a:t>
            </a:r>
          </a:p>
          <a:p>
            <a:pPr marL="342900" indent="-342900">
              <a:spcBef>
                <a:spcPts val="0"/>
              </a:spcBef>
              <a:buAutoNum type="arabicParenR"/>
            </a:pPr>
            <a:r>
              <a:rPr lang="pt-BR" sz="2800" b="0" cap="none" dirty="0">
                <a:solidFill>
                  <a:prstClr val="black">
                    <a:lumMod val="85000"/>
                    <a:lumOff val="15000"/>
                  </a:prstClr>
                </a:solidFill>
                <a:ea typeface="+mn-ea"/>
                <a:cs typeface="+mn-cs"/>
              </a:rPr>
              <a:t> Uso de conceitos Estatísticos (aniversários, convergência, eleição etc.);</a:t>
            </a:r>
          </a:p>
          <a:p>
            <a:pPr marL="342900" indent="-342900">
              <a:spcBef>
                <a:spcPts val="0"/>
              </a:spcBef>
              <a:buAutoNum type="arabicParenR"/>
            </a:pPr>
            <a:r>
              <a:rPr lang="pt-BR" sz="2800" b="0" cap="none" dirty="0">
                <a:solidFill>
                  <a:prstClr val="black">
                    <a:lumMod val="85000"/>
                    <a:lumOff val="15000"/>
                  </a:prstClr>
                </a:solidFill>
                <a:ea typeface="+mn-ea"/>
                <a:cs typeface="+mn-cs"/>
              </a:rPr>
              <a:t>Olhando para o conjunto de respostas e as características de cada item, qual é o </a:t>
            </a:r>
            <a:r>
              <a:rPr lang="pt-BR" sz="2800" i="1" cap="none" dirty="0">
                <a:solidFill>
                  <a:prstClr val="black">
                    <a:lumMod val="85000"/>
                    <a:lumOff val="15000"/>
                  </a:prstClr>
                </a:solidFill>
                <a:ea typeface="+mn-ea"/>
                <a:cs typeface="+mn-cs"/>
              </a:rPr>
              <a:t>valor mais provável </a:t>
            </a:r>
            <a:r>
              <a:rPr lang="pt-BR" sz="2800" b="0" cap="none" dirty="0">
                <a:solidFill>
                  <a:prstClr val="black">
                    <a:lumMod val="85000"/>
                    <a:lumOff val="15000"/>
                  </a:prstClr>
                </a:solidFill>
                <a:ea typeface="+mn-ea"/>
                <a:cs typeface="+mn-cs"/>
              </a:rPr>
              <a:t>para a proficiência em Matemática/Português/Ciências?</a:t>
            </a:r>
          </a:p>
          <a:p>
            <a:pPr marL="342900" indent="-342900">
              <a:spcBef>
                <a:spcPts val="0"/>
              </a:spcBef>
            </a:pPr>
            <a:r>
              <a:rPr lang="pt-BR" sz="2800" b="0" cap="none" dirty="0">
                <a:solidFill>
                  <a:prstClr val="black">
                    <a:lumMod val="85000"/>
                    <a:lumOff val="15000"/>
                  </a:prstClr>
                </a:solidFill>
                <a:ea typeface="+mn-ea"/>
                <a:cs typeface="+mn-cs"/>
              </a:rPr>
              <a:t>4) A TRI pode ser associada à coerência.</a:t>
            </a:r>
          </a:p>
        </p:txBody>
      </p:sp>
      <p:pic>
        <p:nvPicPr>
          <p:cNvPr id="6" name="Imagem 5" descr="lampada.jpg"/>
          <p:cNvPicPr>
            <a:picLocks noChangeAspect="1"/>
          </p:cNvPicPr>
          <p:nvPr/>
        </p:nvPicPr>
        <p:blipFill>
          <a:blip r:embed="rId3" cstate="print"/>
          <a:stretch>
            <a:fillRect/>
          </a:stretch>
        </p:blipFill>
        <p:spPr>
          <a:xfrm>
            <a:off x="323528" y="1340768"/>
            <a:ext cx="2143125" cy="21431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fontScale="92500" lnSpcReduction="10000"/>
          </a:bodyPr>
          <a:lstStyle/>
          <a:p>
            <a:r>
              <a:rPr lang="pt-BR" sz="3600" b="1" dirty="0">
                <a:solidFill>
                  <a:prstClr val="black">
                    <a:lumMod val="50000"/>
                    <a:lumOff val="50000"/>
                  </a:prstClr>
                </a:solidFill>
              </a:rPr>
              <a:t>Principais modelos para TRI</a:t>
            </a:r>
            <a:endParaRPr lang="pt-BR" sz="2800" dirty="0">
              <a:solidFill>
                <a:srgbClr val="2C99FC"/>
              </a:solidFill>
            </a:endParaRPr>
          </a:p>
          <a:p>
            <a:endParaRPr lang="pt-BR" sz="1900" dirty="0">
              <a:solidFill>
                <a:srgbClr val="2C99FC"/>
              </a:solidFill>
            </a:endParaRPr>
          </a:p>
          <a:p>
            <a:endParaRPr lang="pt-BR" dirty="0">
              <a:solidFill>
                <a:prstClr val="black"/>
              </a:solidFill>
            </a:endParaRPr>
          </a:p>
        </p:txBody>
      </p:sp>
      <p:grpSp>
        <p:nvGrpSpPr>
          <p:cNvPr id="10" name="Group 23"/>
          <p:cNvGrpSpPr/>
          <p:nvPr/>
        </p:nvGrpSpPr>
        <p:grpSpPr>
          <a:xfrm>
            <a:off x="1547664" y="0"/>
            <a:ext cx="2057400" cy="2708434"/>
            <a:chOff x="6324600" y="1587511"/>
            <a:chExt cx="2057400" cy="2708434"/>
          </a:xfrm>
        </p:grpSpPr>
        <p:sp>
          <p:nvSpPr>
            <p:cNvPr id="1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1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5</a:t>
              </a:r>
            </a:p>
          </p:txBody>
        </p:sp>
        <p:sp>
          <p:nvSpPr>
            <p:cNvPr id="1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2300" b="1" spc="60" dirty="0">
                  <a:solidFill>
                    <a:schemeClr val="bg1"/>
                  </a:solidFill>
                  <a:effectLst>
                    <a:outerShdw blurRad="50800" dist="25400" dir="5400000" algn="t" rotWithShape="0">
                      <a:prstClr val="black">
                        <a:alpha val="15000"/>
                      </a:prstClr>
                    </a:outerShdw>
                  </a:effectLst>
                </a:rPr>
                <a:t>Modelos</a:t>
              </a:r>
              <a:endParaRPr lang="pt-BR" sz="2300" b="1" dirty="0">
                <a:solidFill>
                  <a:schemeClr val="bg1"/>
                </a:solidFill>
                <a:effectLst>
                  <a:outerShdw blurRad="50800" dist="25400" dir="5400000" algn="t" rotWithShape="0">
                    <a:prstClr val="black">
                      <a:alpha val="15000"/>
                    </a:prstClr>
                  </a:outerShdw>
                </a:effectLst>
              </a:endParaRPr>
            </a:p>
          </p:txBody>
        </p:sp>
      </p:grpSp>
      <p:sp>
        <p:nvSpPr>
          <p:cNvPr id="17" name="Rectangle 3"/>
          <p:cNvSpPr txBox="1">
            <a:spLocks noChangeArrowheads="1"/>
          </p:cNvSpPr>
          <p:nvPr/>
        </p:nvSpPr>
        <p:spPr>
          <a:xfrm>
            <a:off x="251520" y="2789664"/>
            <a:ext cx="7543800" cy="3463156"/>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r>
              <a:rPr lang="pt-BR" sz="2400" dirty="0"/>
              <a:t>Modelo Ogiva Normal</a:t>
            </a:r>
          </a:p>
          <a:p>
            <a:pPr algn="just"/>
            <a:r>
              <a:rPr lang="pt-BR" sz="2400" dirty="0"/>
              <a:t>Modelo Logístico (ML1/</a:t>
            </a:r>
            <a:r>
              <a:rPr lang="pt-BR" sz="2400" dirty="0" err="1"/>
              <a:t>Rasch</a:t>
            </a:r>
            <a:r>
              <a:rPr lang="pt-BR" sz="2400" dirty="0"/>
              <a:t>, ML2, ML3)</a:t>
            </a:r>
          </a:p>
          <a:p>
            <a:pPr algn="just"/>
            <a:r>
              <a:rPr lang="pt-BR" sz="2400" dirty="0"/>
              <a:t>Modelo de Resposta Nominal (Bock)</a:t>
            </a:r>
          </a:p>
          <a:p>
            <a:pPr algn="just"/>
            <a:r>
              <a:rPr lang="pt-BR" sz="2400" dirty="0"/>
              <a:t>Modelo de Resposta Gradual (</a:t>
            </a:r>
            <a:r>
              <a:rPr lang="pt-BR" sz="2400" dirty="0" err="1"/>
              <a:t>Samejima</a:t>
            </a:r>
            <a:r>
              <a:rPr lang="pt-BR" sz="2400" dirty="0"/>
              <a:t>)</a:t>
            </a:r>
          </a:p>
          <a:p>
            <a:pPr algn="just"/>
            <a:r>
              <a:rPr lang="pt-BR" sz="2400" dirty="0"/>
              <a:t>Modelo de Escala Gradual</a:t>
            </a:r>
          </a:p>
          <a:p>
            <a:pPr algn="just"/>
            <a:r>
              <a:rPr lang="pt-BR" sz="2400" dirty="0"/>
              <a:t>Modelo de Escala Gradual </a:t>
            </a:r>
            <a:r>
              <a:rPr lang="pt-BR" sz="2400" dirty="0" err="1"/>
              <a:t>Genealizado</a:t>
            </a:r>
            <a:endParaRPr lang="pt-BR" sz="2400" dirty="0"/>
          </a:p>
          <a:p>
            <a:pPr algn="just"/>
            <a:r>
              <a:rPr lang="pt-BR" sz="2400" dirty="0"/>
              <a:t>Modelo de Desdobramento.</a:t>
            </a:r>
          </a:p>
          <a:p>
            <a:pPr algn="just"/>
            <a:endParaRPr lang="pt-BR" sz="2400" dirty="0"/>
          </a:p>
          <a:p>
            <a:pPr algn="just"/>
            <a:endParaRPr lang="pt-BR" sz="2400" dirty="0"/>
          </a:p>
        </p:txBody>
      </p:sp>
    </p:spTree>
    <p:extLst>
      <p:ext uri="{BB962C8B-B14F-4D97-AF65-F5344CB8AC3E}">
        <p14:creationId xmlns:p14="http://schemas.microsoft.com/office/powerpoint/2010/main" val="1937665025"/>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0" name="Rectangle 2"/>
          <p:cNvSpPr>
            <a:spLocks noGrp="1" noChangeArrowheads="1"/>
          </p:cNvSpPr>
          <p:nvPr>
            <p:ph type="title"/>
          </p:nvPr>
        </p:nvSpPr>
        <p:spPr>
          <a:xfrm>
            <a:off x="467544" y="116632"/>
            <a:ext cx="8215064" cy="747936"/>
          </a:xfrm>
        </p:spPr>
        <p:txBody>
          <a:bodyPr/>
          <a:lstStyle/>
          <a:p>
            <a:pPr eaLnBrk="1" hangingPunct="1">
              <a:defRPr/>
            </a:pPr>
            <a:r>
              <a:rPr lang="pt-BR" sz="2400" b="0" dirty="0">
                <a:solidFill>
                  <a:schemeClr val="tx1"/>
                </a:solidFill>
                <a:latin typeface="Times New Roman" pitchFamily="18" charset="0"/>
              </a:rPr>
              <a:t>              Cada Item: </a:t>
            </a:r>
            <a:r>
              <a:rPr lang="pt-BR" sz="2400" b="1" dirty="0">
                <a:solidFill>
                  <a:schemeClr val="tx1"/>
                </a:solidFill>
                <a:latin typeface="Times New Roman" pitchFamily="18" charset="0"/>
              </a:rPr>
              <a:t>Modelo Ogiva Normal de 3 parâmetros</a:t>
            </a:r>
          </a:p>
        </p:txBody>
      </p:sp>
      <p:sp>
        <p:nvSpPr>
          <p:cNvPr id="8196" name="Text Box 3"/>
          <p:cNvSpPr txBox="1">
            <a:spLocks noChangeArrowheads="1"/>
          </p:cNvSpPr>
          <p:nvPr/>
        </p:nvSpPr>
        <p:spPr bwMode="auto">
          <a:xfrm>
            <a:off x="1355725" y="1946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7" name="Text Box 5"/>
          <p:cNvSpPr txBox="1">
            <a:spLocks noChangeArrowheads="1"/>
          </p:cNvSpPr>
          <p:nvPr/>
        </p:nvSpPr>
        <p:spPr bwMode="auto">
          <a:xfrm>
            <a:off x="2041525" y="56800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8" name="Text Box 6"/>
          <p:cNvSpPr txBox="1">
            <a:spLocks noChangeArrowheads="1"/>
          </p:cNvSpPr>
          <p:nvPr/>
        </p:nvSpPr>
        <p:spPr bwMode="auto">
          <a:xfrm>
            <a:off x="5048156" y="980728"/>
            <a:ext cx="4095845"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r>
              <a:rPr lang="pt-BR" b="1" i="1" dirty="0">
                <a:latin typeface="Times New Roman" pitchFamily="18" charset="0"/>
              </a:rPr>
              <a:t>a</a:t>
            </a:r>
            <a:r>
              <a:rPr lang="pt-BR" dirty="0">
                <a:latin typeface="Times New Roman" pitchFamily="18" charset="0"/>
              </a:rPr>
              <a:t>: discriminação ou inclinação do item</a:t>
            </a:r>
          </a:p>
          <a:p>
            <a:pPr eaLnBrk="1" hangingPunct="1"/>
            <a:r>
              <a:rPr lang="pt-BR" b="1" i="1" dirty="0">
                <a:latin typeface="Times New Roman" pitchFamily="18" charset="0"/>
              </a:rPr>
              <a:t>b</a:t>
            </a:r>
            <a:r>
              <a:rPr lang="pt-BR" dirty="0">
                <a:latin typeface="Times New Roman" pitchFamily="18" charset="0"/>
              </a:rPr>
              <a:t>: dificuldade (medido na mesma métrica do traço latente)</a:t>
            </a:r>
          </a:p>
          <a:p>
            <a:pPr eaLnBrk="1" hangingPunct="1"/>
            <a:r>
              <a:rPr lang="pt-BR" b="1" i="1" dirty="0">
                <a:latin typeface="Times New Roman" pitchFamily="18" charset="0"/>
              </a:rPr>
              <a:t>c</a:t>
            </a:r>
            <a:r>
              <a:rPr lang="pt-BR" dirty="0">
                <a:latin typeface="Times New Roman" pitchFamily="18" charset="0"/>
              </a:rPr>
              <a:t>: acerto casual (probabilidade)</a:t>
            </a:r>
          </a:p>
          <a:p>
            <a:pPr eaLnBrk="1" hangingPunct="1"/>
            <a:endParaRPr lang="pt-BR" dirty="0">
              <a:latin typeface="Times New Roman" pitchFamily="18" charset="0"/>
            </a:endParaRPr>
          </a:p>
          <a:p>
            <a:pPr eaLnBrk="1" hangingPunct="1"/>
            <a:r>
              <a:rPr lang="pt-BR" dirty="0">
                <a:latin typeface="Times New Roman" pitchFamily="18" charset="0"/>
              </a:rPr>
              <a:t>Cada item tem seu próprio </a:t>
            </a:r>
            <a:r>
              <a:rPr lang="pt-BR" i="1" dirty="0">
                <a:latin typeface="Times New Roman" pitchFamily="18" charset="0"/>
              </a:rPr>
              <a:t>a</a:t>
            </a:r>
            <a:r>
              <a:rPr lang="pt-BR" i="1" baseline="-25000" dirty="0">
                <a:latin typeface="Times New Roman" pitchFamily="18" charset="0"/>
              </a:rPr>
              <a:t>i</a:t>
            </a:r>
            <a:r>
              <a:rPr lang="pt-BR" i="1" dirty="0">
                <a:latin typeface="Times New Roman" pitchFamily="18" charset="0"/>
              </a:rPr>
              <a:t>, b</a:t>
            </a:r>
            <a:r>
              <a:rPr lang="pt-BR" i="1" baseline="-25000" dirty="0">
                <a:latin typeface="Times New Roman" pitchFamily="18" charset="0"/>
              </a:rPr>
              <a:t>i</a:t>
            </a:r>
            <a:r>
              <a:rPr lang="pt-BR" dirty="0">
                <a:latin typeface="Times New Roman" pitchFamily="18" charset="0"/>
              </a:rPr>
              <a:t> e </a:t>
            </a:r>
            <a:r>
              <a:rPr lang="pt-BR" i="1" dirty="0" err="1">
                <a:latin typeface="Times New Roman" pitchFamily="18" charset="0"/>
              </a:rPr>
              <a:t>c</a:t>
            </a:r>
            <a:r>
              <a:rPr lang="pt-BR" i="1" baseline="-25000" dirty="0" err="1">
                <a:latin typeface="Times New Roman" pitchFamily="18" charset="0"/>
              </a:rPr>
              <a:t>i</a:t>
            </a:r>
            <a:endParaRPr lang="pt-BR" i="1" baseline="-25000" dirty="0">
              <a:latin typeface="Times New Roman" pitchFamily="18" charset="0"/>
            </a:endParaRPr>
          </a:p>
          <a:p>
            <a:pPr eaLnBrk="1" hangingPunct="1"/>
            <a:endParaRPr lang="pt-BR" i="1" baseline="-25000" dirty="0">
              <a:latin typeface="Times New Roman" pitchFamily="18" charset="0"/>
            </a:endParaRPr>
          </a:p>
          <a:p>
            <a:pPr eaLnBrk="1" hangingPunct="1"/>
            <a:r>
              <a:rPr lang="pt-BR" i="1" dirty="0" err="1">
                <a:latin typeface="Times New Roman" pitchFamily="18" charset="0"/>
              </a:rPr>
              <a:t>U</a:t>
            </a:r>
            <a:r>
              <a:rPr lang="pt-BR" i="1" baseline="-25000" dirty="0" err="1">
                <a:latin typeface="Times New Roman" pitchFamily="18" charset="0"/>
              </a:rPr>
              <a:t>ij</a:t>
            </a:r>
            <a:r>
              <a:rPr lang="pt-BR" dirty="0">
                <a:latin typeface="Times New Roman" pitchFamily="18" charset="0"/>
              </a:rPr>
              <a:t> é a resposta dicotômica (binária) do </a:t>
            </a:r>
            <a:r>
              <a:rPr lang="pt-BR" i="1" dirty="0">
                <a:latin typeface="Times New Roman" pitchFamily="18" charset="0"/>
              </a:rPr>
              <a:t>j</a:t>
            </a:r>
            <a:r>
              <a:rPr lang="pt-BR" dirty="0">
                <a:latin typeface="Times New Roman" pitchFamily="18" charset="0"/>
              </a:rPr>
              <a:t>-</a:t>
            </a:r>
            <a:r>
              <a:rPr lang="pt-BR" dirty="0" err="1">
                <a:latin typeface="Times New Roman" pitchFamily="18" charset="0"/>
              </a:rPr>
              <a:t>ésimo</a:t>
            </a:r>
            <a:r>
              <a:rPr lang="pt-BR" dirty="0">
                <a:latin typeface="Times New Roman" pitchFamily="18" charset="0"/>
              </a:rPr>
              <a:t> indivíduo ao </a:t>
            </a:r>
            <a:r>
              <a:rPr lang="pt-BR" i="1" dirty="0">
                <a:latin typeface="Times New Roman" pitchFamily="18" charset="0"/>
              </a:rPr>
              <a:t>i</a:t>
            </a:r>
            <a:r>
              <a:rPr lang="pt-BR" dirty="0">
                <a:latin typeface="Times New Roman" pitchFamily="18" charset="0"/>
              </a:rPr>
              <a:t>-</a:t>
            </a:r>
            <a:r>
              <a:rPr lang="pt-BR" dirty="0" err="1">
                <a:latin typeface="Times New Roman" pitchFamily="18" charset="0"/>
              </a:rPr>
              <a:t>ésimo</a:t>
            </a:r>
            <a:r>
              <a:rPr lang="pt-BR" dirty="0">
                <a:latin typeface="Times New Roman" pitchFamily="18" charset="0"/>
              </a:rPr>
              <a:t> item, com: </a:t>
            </a:r>
          </a:p>
          <a:p>
            <a:pPr eaLnBrk="1" hangingPunct="1"/>
            <a:r>
              <a:rPr lang="pt-BR" dirty="0">
                <a:latin typeface="Times New Roman" pitchFamily="18" charset="0"/>
              </a:rPr>
              <a:t>{</a:t>
            </a:r>
            <a:r>
              <a:rPr lang="pt-BR" i="1" dirty="0" err="1">
                <a:latin typeface="Times New Roman" pitchFamily="18" charset="0"/>
              </a:rPr>
              <a:t>U</a:t>
            </a:r>
            <a:r>
              <a:rPr lang="pt-BR" i="1" baseline="-25000" dirty="0" err="1">
                <a:latin typeface="Times New Roman" pitchFamily="18" charset="0"/>
              </a:rPr>
              <a:t>ji</a:t>
            </a:r>
            <a:r>
              <a:rPr lang="pt-BR" dirty="0">
                <a:latin typeface="Times New Roman" pitchFamily="18" charset="0"/>
              </a:rPr>
              <a:t> =1} representando acerto ao item e {</a:t>
            </a:r>
            <a:r>
              <a:rPr lang="pt-BR" i="1" dirty="0" err="1">
                <a:latin typeface="Times New Roman" pitchFamily="18" charset="0"/>
              </a:rPr>
              <a:t>U</a:t>
            </a:r>
            <a:r>
              <a:rPr lang="pt-BR" i="1" baseline="-25000" dirty="0" err="1">
                <a:latin typeface="Times New Roman" pitchFamily="18" charset="0"/>
              </a:rPr>
              <a:t>ji</a:t>
            </a:r>
            <a:r>
              <a:rPr lang="pt-BR" dirty="0">
                <a:latin typeface="Times New Roman" pitchFamily="18" charset="0"/>
              </a:rPr>
              <a:t> =0} representando o erro ao item.</a:t>
            </a:r>
            <a:endParaRPr lang="pt-BR" i="1" dirty="0">
              <a:latin typeface="Times New Roman" pitchFamily="18" charset="0"/>
            </a:endParaRPr>
          </a:p>
        </p:txBody>
      </p:sp>
      <p:graphicFrame>
        <p:nvGraphicFramePr>
          <p:cNvPr id="101379" name="Object 3"/>
          <p:cNvGraphicFramePr>
            <a:graphicFrameLocks noChangeAspect="1"/>
          </p:cNvGraphicFramePr>
          <p:nvPr>
            <p:extLst>
              <p:ext uri="{D42A27DB-BD31-4B8C-83A1-F6EECF244321}">
                <p14:modId xmlns:p14="http://schemas.microsoft.com/office/powerpoint/2010/main" val="3409589892"/>
              </p:ext>
            </p:extLst>
          </p:nvPr>
        </p:nvGraphicFramePr>
        <p:xfrm>
          <a:off x="639763" y="4227513"/>
          <a:ext cx="7523162" cy="1130300"/>
        </p:xfrm>
        <a:graphic>
          <a:graphicData uri="http://schemas.openxmlformats.org/presentationml/2006/ole">
            <mc:AlternateContent xmlns:mc="http://schemas.openxmlformats.org/markup-compatibility/2006">
              <mc:Choice xmlns:v="urn:schemas-microsoft-com:vml" Requires="v">
                <p:oleObj spid="_x0000_s10242" name="Equação" r:id="rId4" imgW="3111480" imgH="469800" progId="Equation.3">
                  <p:embed/>
                </p:oleObj>
              </mc:Choice>
              <mc:Fallback>
                <p:oleObj name="Equação" r:id="rId4" imgW="3111480" imgH="469800" progId="Equation.3">
                  <p:embed/>
                  <p:pic>
                    <p:nvPicPr>
                      <p:cNvPr id="101379" name="Object 3"/>
                      <p:cNvPicPr>
                        <a:picLocks noChangeAspect="1" noChangeArrowheads="1"/>
                      </p:cNvPicPr>
                      <p:nvPr/>
                    </p:nvPicPr>
                    <p:blipFill>
                      <a:blip r:embed="rId5"/>
                      <a:srcRect/>
                      <a:stretch>
                        <a:fillRect/>
                      </a:stretch>
                    </p:blipFill>
                    <p:spPr bwMode="auto">
                      <a:xfrm>
                        <a:off x="639763" y="4227513"/>
                        <a:ext cx="7523162" cy="1130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1380" name="Picture 4"/>
          <p:cNvPicPr>
            <a:picLocks noChangeAspect="1" noChangeArrowheads="1"/>
          </p:cNvPicPr>
          <p:nvPr/>
        </p:nvPicPr>
        <p:blipFill>
          <a:blip r:embed="rId6"/>
          <a:srcRect/>
          <a:stretch>
            <a:fillRect/>
          </a:stretch>
        </p:blipFill>
        <p:spPr bwMode="auto">
          <a:xfrm>
            <a:off x="107504" y="903277"/>
            <a:ext cx="4940652" cy="3000396"/>
          </a:xfrm>
          <a:prstGeom prst="rect">
            <a:avLst/>
          </a:prstGeom>
          <a:noFill/>
          <a:ln w="9525">
            <a:noFill/>
            <a:miter lim="800000"/>
            <a:headEnd/>
            <a:tailEnd/>
          </a:ln>
          <a:effectLst/>
        </p:spPr>
      </p:pic>
      <p:pic>
        <p:nvPicPr>
          <p:cNvPr id="3" name="Imagem 2"/>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26251368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0" name="Rectangle 2"/>
          <p:cNvSpPr>
            <a:spLocks noGrp="1" noChangeArrowheads="1"/>
          </p:cNvSpPr>
          <p:nvPr>
            <p:ph type="title"/>
          </p:nvPr>
        </p:nvSpPr>
        <p:spPr>
          <a:xfrm>
            <a:off x="467544" y="116632"/>
            <a:ext cx="8215064" cy="747936"/>
          </a:xfrm>
        </p:spPr>
        <p:txBody>
          <a:bodyPr/>
          <a:lstStyle/>
          <a:p>
            <a:pPr eaLnBrk="1" hangingPunct="1">
              <a:defRPr/>
            </a:pPr>
            <a:r>
              <a:rPr lang="pt-BR" sz="2400" b="0" dirty="0">
                <a:solidFill>
                  <a:schemeClr val="tx1"/>
                </a:solidFill>
                <a:latin typeface="Times New Roman" pitchFamily="18" charset="0"/>
              </a:rPr>
              <a:t>              Cada Item: </a:t>
            </a:r>
            <a:r>
              <a:rPr lang="pt-BR" sz="2400" b="1" dirty="0">
                <a:solidFill>
                  <a:schemeClr val="tx1"/>
                </a:solidFill>
                <a:latin typeface="Times New Roman" pitchFamily="18" charset="0"/>
              </a:rPr>
              <a:t>Modelo Logístico de 3 parâmetros</a:t>
            </a:r>
          </a:p>
        </p:txBody>
      </p:sp>
      <p:sp>
        <p:nvSpPr>
          <p:cNvPr id="8196" name="Text Box 3"/>
          <p:cNvSpPr txBox="1">
            <a:spLocks noChangeArrowheads="1"/>
          </p:cNvSpPr>
          <p:nvPr/>
        </p:nvSpPr>
        <p:spPr bwMode="auto">
          <a:xfrm>
            <a:off x="1355725" y="1946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7" name="Text Box 5"/>
          <p:cNvSpPr txBox="1">
            <a:spLocks noChangeArrowheads="1"/>
          </p:cNvSpPr>
          <p:nvPr/>
        </p:nvSpPr>
        <p:spPr bwMode="auto">
          <a:xfrm>
            <a:off x="2041525" y="56800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graphicFrame>
        <p:nvGraphicFramePr>
          <p:cNvPr id="101379" name="Object 3"/>
          <p:cNvGraphicFramePr>
            <a:graphicFrameLocks noChangeAspect="1"/>
          </p:cNvGraphicFramePr>
          <p:nvPr>
            <p:extLst>
              <p:ext uri="{D42A27DB-BD31-4B8C-83A1-F6EECF244321}">
                <p14:modId xmlns:p14="http://schemas.microsoft.com/office/powerpoint/2010/main" val="1657369328"/>
              </p:ext>
            </p:extLst>
          </p:nvPr>
        </p:nvGraphicFramePr>
        <p:xfrm>
          <a:off x="0" y="4795623"/>
          <a:ext cx="5957888" cy="977900"/>
        </p:xfrm>
        <a:graphic>
          <a:graphicData uri="http://schemas.openxmlformats.org/presentationml/2006/ole">
            <mc:AlternateContent xmlns:mc="http://schemas.openxmlformats.org/markup-compatibility/2006">
              <mc:Choice xmlns:v="urn:schemas-microsoft-com:vml" Requires="v">
                <p:oleObj spid="_x0000_s11266" name="Equação" r:id="rId4" imgW="2463480" imgH="406080" progId="Equation.3">
                  <p:embed/>
                </p:oleObj>
              </mc:Choice>
              <mc:Fallback>
                <p:oleObj name="Equação" r:id="rId4" imgW="2463480" imgH="406080" progId="Equation.3">
                  <p:embed/>
                  <p:pic>
                    <p:nvPicPr>
                      <p:cNvPr id="101379" name="Object 3"/>
                      <p:cNvPicPr>
                        <a:picLocks noChangeAspect="1" noChangeArrowheads="1"/>
                      </p:cNvPicPr>
                      <p:nvPr/>
                    </p:nvPicPr>
                    <p:blipFill>
                      <a:blip r:embed="rId5"/>
                      <a:srcRect/>
                      <a:stretch>
                        <a:fillRect/>
                      </a:stretch>
                    </p:blipFill>
                    <p:spPr bwMode="auto">
                      <a:xfrm>
                        <a:off x="0" y="4795623"/>
                        <a:ext cx="5957888" cy="977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aixaDeTexto 1"/>
          <p:cNvSpPr txBox="1"/>
          <p:nvPr/>
        </p:nvSpPr>
        <p:spPr>
          <a:xfrm>
            <a:off x="6575521" y="4989474"/>
            <a:ext cx="2238400" cy="646331"/>
          </a:xfrm>
          <a:prstGeom prst="rect">
            <a:avLst/>
          </a:prstGeom>
          <a:noFill/>
        </p:spPr>
        <p:txBody>
          <a:bodyPr wrap="square" rtlCol="0">
            <a:spAutoFit/>
          </a:bodyPr>
          <a:lstStyle/>
          <a:p>
            <a:r>
              <a:rPr lang="pt-BR" dirty="0"/>
              <a:t>Vemos que </a:t>
            </a:r>
            <a:r>
              <a:rPr lang="pt-BR" i="1" dirty="0" err="1">
                <a:latin typeface="Times New Roman" pitchFamily="18" charset="0"/>
              </a:rPr>
              <a:t>U</a:t>
            </a:r>
            <a:r>
              <a:rPr lang="pt-BR" i="1" baseline="-25000" dirty="0" err="1">
                <a:latin typeface="Times New Roman" pitchFamily="18" charset="0"/>
              </a:rPr>
              <a:t>ji</a:t>
            </a:r>
            <a:r>
              <a:rPr lang="pt-BR" dirty="0"/>
              <a:t> tem distribuição Bernoulli.</a:t>
            </a:r>
          </a:p>
        </p:txBody>
      </p:sp>
      <p:pic>
        <p:nvPicPr>
          <p:cNvPr id="3" name="Imagem 2">
            <a:hlinkClick r:id="rId6" action="ppaction://hlinkfile"/>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pic>
        <p:nvPicPr>
          <p:cNvPr id="4" name="Imagem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55725" y="787424"/>
            <a:ext cx="6620799" cy="3953427"/>
          </a:xfrm>
          <a:prstGeom prst="rect">
            <a:avLst/>
          </a:prstGeom>
        </p:spPr>
      </p:pic>
    </p:spTree>
    <p:extLst>
      <p:ext uri="{BB962C8B-B14F-4D97-AF65-F5344CB8AC3E}">
        <p14:creationId xmlns:p14="http://schemas.microsoft.com/office/powerpoint/2010/main" val="7048300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 y="188640"/>
            <a:ext cx="9141184" cy="877830"/>
          </a:xfrm>
        </p:spPr>
        <p:txBody>
          <a:bodyPr>
            <a:noAutofit/>
          </a:bodyPr>
          <a:lstStyle/>
          <a:p>
            <a:r>
              <a:rPr lang="pt-BR" sz="3200" dirty="0"/>
              <a:t>Comparação modelo Normal e Logístico com D=1,702</a:t>
            </a:r>
          </a:p>
        </p:txBody>
      </p:sp>
      <p:pic>
        <p:nvPicPr>
          <p:cNvPr id="3" name="Imagem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8311" y="1066470"/>
            <a:ext cx="6287377" cy="4725059"/>
          </a:xfrm>
          <a:prstGeom prst="rect">
            <a:avLst/>
          </a:prstGeom>
        </p:spPr>
      </p:pic>
      <p:pic>
        <p:nvPicPr>
          <p:cNvPr id="4" name="Imagem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21031270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0" y="76200"/>
            <a:ext cx="9144000" cy="685800"/>
          </a:xfrm>
          <a:solidFill>
            <a:schemeClr val="tx2">
              <a:lumMod val="40000"/>
              <a:lumOff val="60000"/>
            </a:schemeClr>
          </a:solidFill>
        </p:spPr>
        <p:txBody>
          <a:bodyPr/>
          <a:lstStyle/>
          <a:p>
            <a:r>
              <a:rPr lang="pt-BR" dirty="0"/>
              <a:t>Distribuição Normal (média, desvio-padrão)</a:t>
            </a:r>
          </a:p>
        </p:txBody>
      </p:sp>
      <p:pic>
        <p:nvPicPr>
          <p:cNvPr id="4" name="Picture 4"/>
          <p:cNvPicPr>
            <a:picLocks noChangeAspect="1" noChangeArrowheads="1"/>
          </p:cNvPicPr>
          <p:nvPr/>
        </p:nvPicPr>
        <p:blipFill>
          <a:blip r:embed="rId2" cstate="print"/>
          <a:srcRect/>
          <a:stretch>
            <a:fillRect/>
          </a:stretch>
        </p:blipFill>
        <p:spPr>
          <a:xfrm>
            <a:off x="755576" y="1052736"/>
            <a:ext cx="7830458" cy="5040560"/>
          </a:xfrm>
          <a:prstGeom prst="rect">
            <a:avLst/>
          </a:prstGeom>
          <a:noFill/>
        </p:spPr>
      </p:pic>
      <p:sp>
        <p:nvSpPr>
          <p:cNvPr id="5" name="CaixaDeTexto 4"/>
          <p:cNvSpPr txBox="1"/>
          <p:nvPr/>
        </p:nvSpPr>
        <p:spPr>
          <a:xfrm>
            <a:off x="6156176" y="980728"/>
            <a:ext cx="2664296" cy="1200329"/>
          </a:xfrm>
          <a:prstGeom prst="rect">
            <a:avLst/>
          </a:prstGeom>
          <a:noFill/>
        </p:spPr>
        <p:txBody>
          <a:bodyPr wrap="square" rtlCol="0">
            <a:spAutoFit/>
          </a:bodyPr>
          <a:lstStyle/>
          <a:p>
            <a:r>
              <a:rPr lang="pt-BR" dirty="0"/>
              <a:t>Cerca de 16% está acima de 1 desvio-padrão (</a:t>
            </a:r>
            <a:r>
              <a:rPr lang="pt-BR" dirty="0" err="1"/>
              <a:t>dp</a:t>
            </a:r>
            <a:r>
              <a:rPr lang="pt-BR" dirty="0"/>
              <a:t>) da média; cerca de 2% está acima de 2 </a:t>
            </a:r>
            <a:r>
              <a:rPr lang="pt-BR" dirty="0" err="1"/>
              <a:t>dp</a:t>
            </a:r>
            <a:r>
              <a:rPr lang="pt-BR" dirty="0"/>
              <a:t>.</a:t>
            </a:r>
          </a:p>
        </p:txBody>
      </p:sp>
      <p:sp>
        <p:nvSpPr>
          <p:cNvPr id="6" name="CaixaDeTexto 5"/>
          <p:cNvSpPr txBox="1"/>
          <p:nvPr/>
        </p:nvSpPr>
        <p:spPr>
          <a:xfrm>
            <a:off x="467544" y="980728"/>
            <a:ext cx="2664296" cy="646331"/>
          </a:xfrm>
          <a:prstGeom prst="rect">
            <a:avLst/>
          </a:prstGeom>
          <a:noFill/>
        </p:spPr>
        <p:txBody>
          <a:bodyPr wrap="square" rtlCol="0">
            <a:spAutoFit/>
          </a:bodyPr>
          <a:lstStyle/>
          <a:p>
            <a:r>
              <a:rPr lang="pt-BR" dirty="0"/>
              <a:t>Cerca de 2/3 está até 1 desvio-padrão da média.</a:t>
            </a:r>
          </a:p>
        </p:txBody>
      </p:sp>
    </p:spTree>
    <p:extLst>
      <p:ext uri="{BB962C8B-B14F-4D97-AF65-F5344CB8AC3E}">
        <p14:creationId xmlns:p14="http://schemas.microsoft.com/office/powerpoint/2010/main" val="2963285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27001" y="116632"/>
            <a:ext cx="5867400" cy="720080"/>
          </a:xfrm>
        </p:spPr>
        <p:txBody>
          <a:bodyPr>
            <a:noAutofit/>
          </a:bodyPr>
          <a:lstStyle/>
          <a:p>
            <a:pPr lvl="0">
              <a:spcBef>
                <a:spcPts val="0"/>
              </a:spcBef>
            </a:pPr>
            <a:r>
              <a:rPr lang="pt-BR" sz="4000" cap="none" dirty="0">
                <a:solidFill>
                  <a:prstClr val="black">
                    <a:lumMod val="85000"/>
                    <a:lumOff val="15000"/>
                  </a:prstClr>
                </a:solidFill>
                <a:ea typeface="+mn-ea"/>
                <a:cs typeface="+mn-cs"/>
              </a:rPr>
              <a:t>Introdução e Motivação</a:t>
            </a:r>
            <a:endParaRPr lang="pt-BR" sz="2800" dirty="0"/>
          </a:p>
        </p:txBody>
      </p:sp>
      <p:sp>
        <p:nvSpPr>
          <p:cNvPr id="6" name="TextBox 5"/>
          <p:cNvSpPr txBox="1"/>
          <p:nvPr/>
        </p:nvSpPr>
        <p:spPr>
          <a:xfrm>
            <a:off x="1121392" y="1557456"/>
            <a:ext cx="1219200" cy="2708434"/>
          </a:xfrm>
          <a:prstGeom prst="rect">
            <a:avLst/>
          </a:prstGeom>
          <a:noFill/>
        </p:spPr>
        <p:txBody>
          <a:bodyPr wrap="square" rtlCol="0">
            <a:spAutoFit/>
          </a:bodyPr>
          <a:lstStyle/>
          <a:p>
            <a:r>
              <a:rPr lang="pt-BR" sz="17000" b="1" dirty="0">
                <a:solidFill>
                  <a:srgbClr val="F26200">
                    <a:alpha val="40000"/>
                  </a:srgbClr>
                </a:solidFill>
                <a:cs typeface="Arial" pitchFamily="34" charset="0"/>
              </a:rPr>
              <a:t>1</a:t>
            </a:r>
          </a:p>
        </p:txBody>
      </p:sp>
      <p:sp>
        <p:nvSpPr>
          <p:cNvPr id="7" name="Rectangle 2"/>
          <p:cNvSpPr txBox="1">
            <a:spLocks noChangeArrowheads="1"/>
          </p:cNvSpPr>
          <p:nvPr/>
        </p:nvSpPr>
        <p:spPr>
          <a:xfrm>
            <a:off x="2915816" y="1557456"/>
            <a:ext cx="5616624" cy="3728772"/>
          </a:xfrm>
          <a:prstGeom prst="rect">
            <a:avLst/>
          </a:prstGeom>
        </p:spPr>
        <p:txBody>
          <a:bodyPr vert="horz" lIns="91440" tIns="45720" rIns="91440" bIns="45720" rtlCol="0" anchor="b">
            <a:normAutofit fontScale="62500" lnSpcReduction="20000"/>
          </a:bodyPr>
          <a:lstStyle/>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área de Estatísticas Educacionais é a que mais tem crescido nos últimos anos.</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Teoria Clássica dos Testes (TCT) foi usada durante muitos anos, mas tinha muitas limitações técnicas. No entanto, ainda é bastante importante.</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TRI representa hoje um dos principais métodos de construção de indicadores. Ela não é trivial,  e necessita de conhecimentos de Estatística, Computação e Matemática.</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Há mais demanda que profissionais disponíveis, mas sempre os “melhores” conseguirão colocação.</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pt-BR" sz="34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Tree>
    <p:extLst>
      <p:ext uri="{BB962C8B-B14F-4D97-AF65-F5344CB8AC3E}">
        <p14:creationId xmlns:p14="http://schemas.microsoft.com/office/powerpoint/2010/main" val="2185479795"/>
      </p:ext>
    </p:extLst>
  </p:cSld>
  <p:clrMapOvr>
    <a:masterClrMapping/>
  </p:clrMapOvr>
  <mc:AlternateContent xmlns:mc="http://schemas.openxmlformats.org/markup-compatibility/2006" xmlns:p14="http://schemas.microsoft.com/office/powerpoint/2010/main">
    <mc:Choice Requires="p14">
      <p:transition spd="slow" p14:dur="1700">
        <p14:gallery dir="l"/>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plicação a dados do ENEM</a:t>
            </a:r>
          </a:p>
        </p:txBody>
      </p:sp>
      <p:pic>
        <p:nvPicPr>
          <p:cNvPr id="4" name="Espaço Reservado para Conteúdo 3" descr="Item1.png"/>
          <p:cNvPicPr>
            <a:picLocks noGrp="1" noChangeAspect="1"/>
          </p:cNvPicPr>
          <p:nvPr>
            <p:ph idx="1"/>
          </p:nvPr>
        </p:nvPicPr>
        <p:blipFill>
          <a:blip r:embed="rId2" cstate="print"/>
          <a:stretch>
            <a:fillRect/>
          </a:stretch>
        </p:blipFill>
        <p:spPr>
          <a:xfrm>
            <a:off x="457200" y="1741362"/>
            <a:ext cx="8229600" cy="4243639"/>
          </a:xfrm>
        </p:spPr>
      </p:pic>
    </p:spTree>
    <p:extLst>
      <p:ext uri="{BB962C8B-B14F-4D97-AF65-F5344CB8AC3E}">
        <p14:creationId xmlns:p14="http://schemas.microsoft.com/office/powerpoint/2010/main" val="13872779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nem</a:t>
            </a:r>
          </a:p>
        </p:txBody>
      </p:sp>
      <p:pic>
        <p:nvPicPr>
          <p:cNvPr id="4" name="Espaço Reservado para Conteúdo 3" descr="Item3.png"/>
          <p:cNvPicPr>
            <a:picLocks noGrp="1" noChangeAspect="1"/>
          </p:cNvPicPr>
          <p:nvPr>
            <p:ph idx="1"/>
          </p:nvPr>
        </p:nvPicPr>
        <p:blipFill>
          <a:blip r:embed="rId2" cstate="print"/>
          <a:stretch>
            <a:fillRect/>
          </a:stretch>
        </p:blipFill>
        <p:spPr>
          <a:xfrm>
            <a:off x="457200" y="1737336"/>
            <a:ext cx="8229600" cy="4251691"/>
          </a:xfrm>
        </p:spPr>
      </p:pic>
    </p:spTree>
    <p:extLst>
      <p:ext uri="{BB962C8B-B14F-4D97-AF65-F5344CB8AC3E}">
        <p14:creationId xmlns:p14="http://schemas.microsoft.com/office/powerpoint/2010/main" val="3678696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4" name="Espaço Reservado para Conteúdo 3" descr="Item2.png"/>
          <p:cNvPicPr>
            <a:picLocks noGrp="1" noChangeAspect="1"/>
          </p:cNvPicPr>
          <p:nvPr>
            <p:ph idx="1"/>
          </p:nvPr>
        </p:nvPicPr>
        <p:blipFill>
          <a:blip r:embed="rId2" cstate="print"/>
          <a:stretch>
            <a:fillRect/>
          </a:stretch>
        </p:blipFill>
        <p:spPr>
          <a:xfrm>
            <a:off x="457200" y="1741362"/>
            <a:ext cx="8229600" cy="4243639"/>
          </a:xfrm>
        </p:spPr>
      </p:pic>
    </p:spTree>
    <p:extLst>
      <p:ext uri="{BB962C8B-B14F-4D97-AF65-F5344CB8AC3E}">
        <p14:creationId xmlns:p14="http://schemas.microsoft.com/office/powerpoint/2010/main" val="25131789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10" name="Espaço Reservado para Conteúdo 9" descr="Item5.png"/>
          <p:cNvPicPr>
            <a:picLocks noGrp="1" noChangeAspect="1"/>
          </p:cNvPicPr>
          <p:nvPr>
            <p:ph idx="1"/>
          </p:nvPr>
        </p:nvPicPr>
        <p:blipFill>
          <a:blip r:embed="rId2"/>
          <a:stretch>
            <a:fillRect/>
          </a:stretch>
        </p:blipFill>
        <p:spPr>
          <a:xfrm>
            <a:off x="457200" y="1741362"/>
            <a:ext cx="8229600" cy="4243639"/>
          </a:xfrm>
        </p:spPr>
      </p:pic>
    </p:spTree>
    <p:extLst>
      <p:ext uri="{BB962C8B-B14F-4D97-AF65-F5344CB8AC3E}">
        <p14:creationId xmlns:p14="http://schemas.microsoft.com/office/powerpoint/2010/main" val="26438874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5C6961-111E-4746-9896-AE993473702C}"/>
              </a:ext>
            </a:extLst>
          </p:cNvPr>
          <p:cNvSpPr>
            <a:spLocks noGrp="1"/>
          </p:cNvSpPr>
          <p:nvPr>
            <p:ph type="title"/>
          </p:nvPr>
        </p:nvSpPr>
        <p:spPr/>
        <p:txBody>
          <a:bodyPr/>
          <a:lstStyle/>
          <a:p>
            <a:r>
              <a:rPr lang="en-US" dirty="0" err="1"/>
              <a:t>Matriz</a:t>
            </a:r>
            <a:r>
              <a:rPr lang="en-US" dirty="0"/>
              <a:t> de </a:t>
            </a:r>
            <a:r>
              <a:rPr lang="en-US" dirty="0" err="1"/>
              <a:t>Curvas</a:t>
            </a:r>
            <a:r>
              <a:rPr lang="en-US" dirty="0"/>
              <a:t> </a:t>
            </a:r>
            <a:r>
              <a:rPr lang="en-US" dirty="0" err="1"/>
              <a:t>Características</a:t>
            </a:r>
            <a:endParaRPr lang="en-US" dirty="0"/>
          </a:p>
        </p:txBody>
      </p:sp>
      <p:pic>
        <p:nvPicPr>
          <p:cNvPr id="4" name="Imagem 3">
            <a:extLst>
              <a:ext uri="{FF2B5EF4-FFF2-40B4-BE49-F238E27FC236}">
                <a16:creationId xmlns:a16="http://schemas.microsoft.com/office/drawing/2014/main" id="{3F7BF950-C07D-4F84-A3A2-DE80C52B48C4}"/>
              </a:ext>
            </a:extLst>
          </p:cNvPr>
          <p:cNvPicPr>
            <a:picLocks noChangeAspect="1"/>
          </p:cNvPicPr>
          <p:nvPr/>
        </p:nvPicPr>
        <p:blipFill>
          <a:blip r:embed="rId2"/>
          <a:stretch>
            <a:fillRect/>
          </a:stretch>
        </p:blipFill>
        <p:spPr>
          <a:xfrm>
            <a:off x="0" y="963012"/>
            <a:ext cx="8316416" cy="5477004"/>
          </a:xfrm>
          <a:prstGeom prst="rect">
            <a:avLst/>
          </a:prstGeom>
        </p:spPr>
      </p:pic>
    </p:spTree>
    <p:extLst>
      <p:ext uri="{BB962C8B-B14F-4D97-AF65-F5344CB8AC3E}">
        <p14:creationId xmlns:p14="http://schemas.microsoft.com/office/powerpoint/2010/main" val="9345682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5F8687F-265E-4318-AD8D-CB2843C7EDF3}"/>
              </a:ext>
            </a:extLst>
          </p:cNvPr>
          <p:cNvSpPr>
            <a:spLocks noGrp="1"/>
          </p:cNvSpPr>
          <p:nvPr>
            <p:ph type="title"/>
          </p:nvPr>
        </p:nvSpPr>
        <p:spPr>
          <a:xfrm>
            <a:off x="467544" y="1988840"/>
            <a:ext cx="7992888" cy="2376264"/>
          </a:xfrm>
        </p:spPr>
        <p:txBody>
          <a:bodyPr>
            <a:normAutofit/>
          </a:bodyPr>
          <a:lstStyle/>
          <a:p>
            <a:r>
              <a:rPr lang="en-US" sz="5400" dirty="0">
                <a:solidFill>
                  <a:schemeClr val="tx1"/>
                </a:solidFill>
              </a:rPr>
              <a:t>OUTRAS CARACTERÍSTICAS DO ITEM E DO TESTE</a:t>
            </a:r>
          </a:p>
        </p:txBody>
      </p:sp>
    </p:spTree>
    <p:extLst>
      <p:ext uri="{BB962C8B-B14F-4D97-AF65-F5344CB8AC3E}">
        <p14:creationId xmlns:p14="http://schemas.microsoft.com/office/powerpoint/2010/main" val="4810594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Função de Informação do Item</a:t>
            </a:r>
          </a:p>
        </p:txBody>
      </p:sp>
      <p:sp>
        <p:nvSpPr>
          <p:cNvPr id="3" name="Espaço Reservado para Conteúdo 2"/>
          <p:cNvSpPr>
            <a:spLocks noGrp="1"/>
          </p:cNvSpPr>
          <p:nvPr>
            <p:ph idx="1"/>
          </p:nvPr>
        </p:nvSpPr>
        <p:spPr>
          <a:xfrm>
            <a:off x="457200" y="1600200"/>
            <a:ext cx="8363272" cy="4525963"/>
          </a:xfrm>
        </p:spPr>
        <p:txBody>
          <a:bodyPr/>
          <a:lstStyle/>
          <a:p>
            <a:r>
              <a:rPr lang="pt-BR" dirty="0"/>
              <a:t>Estimados os parâmetros dos itens poderemos construir sua Função de Informação (de Fisher), que nos mostrará em que região o item será útil para estimação de proficiências.</a:t>
            </a:r>
          </a:p>
          <a:p>
            <a:endParaRPr lang="pt-BR" dirty="0"/>
          </a:p>
        </p:txBody>
      </p:sp>
      <p:pic>
        <p:nvPicPr>
          <p:cNvPr id="4" name="Imagem 3"/>
          <p:cNvPicPr>
            <a:picLocks noChangeAspect="1"/>
          </p:cNvPicPr>
          <p:nvPr/>
        </p:nvPicPr>
        <p:blipFill>
          <a:blip r:embed="rId2"/>
          <a:stretch>
            <a:fillRect/>
          </a:stretch>
        </p:blipFill>
        <p:spPr>
          <a:xfrm>
            <a:off x="2051720" y="3717032"/>
            <a:ext cx="5191688" cy="1152128"/>
          </a:xfrm>
          <a:prstGeom prst="rect">
            <a:avLst/>
          </a:prstGeom>
        </p:spPr>
      </p:pic>
      <p:sp>
        <p:nvSpPr>
          <p:cNvPr id="5" name="CaixaDeTexto 4"/>
          <p:cNvSpPr txBox="1"/>
          <p:nvPr/>
        </p:nvSpPr>
        <p:spPr>
          <a:xfrm>
            <a:off x="899592" y="4869160"/>
            <a:ext cx="7488832" cy="954107"/>
          </a:xfrm>
          <a:prstGeom prst="rect">
            <a:avLst/>
          </a:prstGeom>
          <a:noFill/>
        </p:spPr>
        <p:txBody>
          <a:bodyPr wrap="square" rtlCol="0">
            <a:spAutoFit/>
          </a:bodyPr>
          <a:lstStyle/>
          <a:p>
            <a:r>
              <a:rPr lang="pt-BR" sz="2800" dirty="0"/>
              <a:t>Ela também é usada na escolha do próximo item nos testes adaptativos.</a:t>
            </a:r>
          </a:p>
        </p:txBody>
      </p:sp>
    </p:spTree>
    <p:extLst>
      <p:ext uri="{BB962C8B-B14F-4D97-AF65-F5344CB8AC3E}">
        <p14:creationId xmlns:p14="http://schemas.microsoft.com/office/powerpoint/2010/main" val="1863910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084C79-230E-4B50-BF75-6470F14C865E}"/>
              </a:ext>
            </a:extLst>
          </p:cNvPr>
          <p:cNvSpPr>
            <a:spLocks noGrp="1"/>
          </p:cNvSpPr>
          <p:nvPr>
            <p:ph type="title"/>
          </p:nvPr>
        </p:nvSpPr>
        <p:spPr/>
        <p:txBody>
          <a:bodyPr>
            <a:normAutofit fontScale="90000"/>
          </a:bodyPr>
          <a:lstStyle/>
          <a:p>
            <a:r>
              <a:rPr lang="en-US" dirty="0" err="1"/>
              <a:t>Origem</a:t>
            </a:r>
            <a:r>
              <a:rPr lang="en-US" dirty="0"/>
              <a:t>: </a:t>
            </a:r>
            <a:r>
              <a:rPr lang="en-US" sz="4000" dirty="0" err="1"/>
              <a:t>Função</a:t>
            </a:r>
            <a:r>
              <a:rPr lang="en-US" sz="4000" dirty="0"/>
              <a:t> de </a:t>
            </a:r>
            <a:r>
              <a:rPr lang="en-US" sz="4000" dirty="0" err="1"/>
              <a:t>Informação</a:t>
            </a:r>
            <a:r>
              <a:rPr lang="en-US" sz="4000" dirty="0"/>
              <a:t> de Fisher</a:t>
            </a:r>
            <a:endParaRPr lang="en-US" dirty="0"/>
          </a:p>
        </p:txBody>
      </p:sp>
      <p:sp>
        <p:nvSpPr>
          <p:cNvPr id="3" name="Retângulo 2">
            <a:extLst>
              <a:ext uri="{FF2B5EF4-FFF2-40B4-BE49-F238E27FC236}">
                <a16:creationId xmlns:a16="http://schemas.microsoft.com/office/drawing/2014/main" id="{CA98DD82-5AE7-44CC-8574-B791CAD09CD0}"/>
              </a:ext>
            </a:extLst>
          </p:cNvPr>
          <p:cNvSpPr/>
          <p:nvPr/>
        </p:nvSpPr>
        <p:spPr>
          <a:xfrm>
            <a:off x="683568" y="1556792"/>
            <a:ext cx="7920880" cy="923330"/>
          </a:xfrm>
          <a:prstGeom prst="rect">
            <a:avLst/>
          </a:prstGeom>
        </p:spPr>
        <p:txBody>
          <a:bodyPr wrap="square">
            <a:spAutoFit/>
          </a:bodyPr>
          <a:lstStyle/>
          <a:p>
            <a:r>
              <a:rPr lang="en-US" b="1" dirty="0" err="1"/>
              <a:t>Função</a:t>
            </a:r>
            <a:r>
              <a:rPr lang="en-US" b="1" dirty="0"/>
              <a:t> </a:t>
            </a:r>
            <a:r>
              <a:rPr lang="en-US" b="1" dirty="0" err="1"/>
              <a:t>Escore</a:t>
            </a:r>
            <a:r>
              <a:rPr lang="en-US" b="1" dirty="0"/>
              <a:t> (Score Function): </a:t>
            </a:r>
            <a:r>
              <a:rPr lang="en-US" dirty="0" err="1"/>
              <a:t>Formalmente</a:t>
            </a:r>
            <a:r>
              <a:rPr lang="en-US" dirty="0"/>
              <a:t>, a </a:t>
            </a:r>
            <a:r>
              <a:rPr lang="en-US" dirty="0" err="1"/>
              <a:t>derivada</a:t>
            </a:r>
            <a:r>
              <a:rPr lang="en-US" dirty="0"/>
              <a:t> </a:t>
            </a:r>
            <a:r>
              <a:rPr lang="en-US" dirty="0" err="1"/>
              <a:t>parcial</a:t>
            </a:r>
            <a:r>
              <a:rPr lang="en-US" dirty="0"/>
              <a:t> </a:t>
            </a:r>
            <a:r>
              <a:rPr lang="en-US" dirty="0" err="1"/>
              <a:t>em</a:t>
            </a:r>
            <a:r>
              <a:rPr lang="en-US" dirty="0"/>
              <a:t> </a:t>
            </a:r>
            <a:r>
              <a:rPr lang="en-US" dirty="0" err="1"/>
              <a:t>relação</a:t>
            </a:r>
            <a:r>
              <a:rPr lang="en-US" dirty="0"/>
              <a:t> </a:t>
            </a:r>
            <a:r>
              <a:rPr lang="en-US" dirty="0" err="1"/>
              <a:t>ao</a:t>
            </a:r>
            <a:r>
              <a:rPr lang="en-US" dirty="0"/>
              <a:t> θ do </a:t>
            </a:r>
            <a:r>
              <a:rPr lang="en-US" dirty="0" err="1"/>
              <a:t>logaritmo</a:t>
            </a:r>
            <a:r>
              <a:rPr lang="en-US" dirty="0"/>
              <a:t> natural da </a:t>
            </a:r>
            <a:r>
              <a:rPr lang="en-US" dirty="0" err="1"/>
              <a:t>função</a:t>
            </a:r>
            <a:r>
              <a:rPr lang="en-US" dirty="0"/>
              <a:t> de </a:t>
            </a:r>
            <a:r>
              <a:rPr lang="en-US" dirty="0" err="1"/>
              <a:t>verossimilhança</a:t>
            </a:r>
            <a:r>
              <a:rPr lang="en-US" dirty="0"/>
              <a:t> é </a:t>
            </a:r>
            <a:r>
              <a:rPr lang="en-US" dirty="0" err="1"/>
              <a:t>chamada</a:t>
            </a:r>
            <a:r>
              <a:rPr lang="en-US" dirty="0"/>
              <a:t> de “</a:t>
            </a:r>
            <a:r>
              <a:rPr lang="en-US" dirty="0" err="1"/>
              <a:t>escore</a:t>
            </a:r>
            <a:r>
              <a:rPr lang="en-US" dirty="0"/>
              <a:t>”, </a:t>
            </a:r>
            <a:r>
              <a:rPr lang="en-US" dirty="0" err="1"/>
              <a:t>uma</a:t>
            </a:r>
            <a:r>
              <a:rPr lang="en-US" dirty="0"/>
              <a:t> </a:t>
            </a:r>
            <a:r>
              <a:rPr lang="en-US" dirty="0" err="1"/>
              <a:t>variável</a:t>
            </a:r>
            <a:r>
              <a:rPr lang="en-US" dirty="0"/>
              <a:t> </a:t>
            </a:r>
            <a:r>
              <a:rPr lang="en-US" dirty="0" err="1"/>
              <a:t>aleatória</a:t>
            </a:r>
            <a:r>
              <a:rPr lang="en-US" dirty="0"/>
              <a:t> com media zero:</a:t>
            </a:r>
          </a:p>
        </p:txBody>
      </p:sp>
      <p:pic>
        <p:nvPicPr>
          <p:cNvPr id="5" name="Imagem 4">
            <a:extLst>
              <a:ext uri="{FF2B5EF4-FFF2-40B4-BE49-F238E27FC236}">
                <a16:creationId xmlns:a16="http://schemas.microsoft.com/office/drawing/2014/main" id="{F6F8D5AD-7908-4DDA-8CA2-2C3913253329}"/>
              </a:ext>
            </a:extLst>
          </p:cNvPr>
          <p:cNvPicPr>
            <a:picLocks noChangeAspect="1"/>
          </p:cNvPicPr>
          <p:nvPr/>
        </p:nvPicPr>
        <p:blipFill>
          <a:blip r:embed="rId2"/>
          <a:stretch>
            <a:fillRect/>
          </a:stretch>
        </p:blipFill>
        <p:spPr>
          <a:xfrm>
            <a:off x="2771800" y="2619276"/>
            <a:ext cx="3467100" cy="1352550"/>
          </a:xfrm>
          <a:prstGeom prst="rect">
            <a:avLst/>
          </a:prstGeom>
        </p:spPr>
      </p:pic>
      <p:sp>
        <p:nvSpPr>
          <p:cNvPr id="6" name="Retângulo 5">
            <a:extLst>
              <a:ext uri="{FF2B5EF4-FFF2-40B4-BE49-F238E27FC236}">
                <a16:creationId xmlns:a16="http://schemas.microsoft.com/office/drawing/2014/main" id="{94623F05-49BB-4D91-92F6-7350993EC50D}"/>
              </a:ext>
            </a:extLst>
          </p:cNvPr>
          <p:cNvSpPr/>
          <p:nvPr/>
        </p:nvSpPr>
        <p:spPr>
          <a:xfrm>
            <a:off x="736089" y="3943453"/>
            <a:ext cx="7671821" cy="369332"/>
          </a:xfrm>
          <a:prstGeom prst="rect">
            <a:avLst/>
          </a:prstGeom>
        </p:spPr>
        <p:txBody>
          <a:bodyPr wrap="square">
            <a:spAutoFit/>
          </a:bodyPr>
          <a:lstStyle/>
          <a:p>
            <a:r>
              <a:rPr lang="en-US" dirty="0"/>
              <a:t>A </a:t>
            </a:r>
            <a:r>
              <a:rPr lang="en-US" dirty="0" err="1"/>
              <a:t>variância</a:t>
            </a:r>
            <a:r>
              <a:rPr lang="en-US" dirty="0"/>
              <a:t> da </a:t>
            </a:r>
            <a:r>
              <a:rPr lang="en-US" b="1" i="1" dirty="0" err="1"/>
              <a:t>função</a:t>
            </a:r>
            <a:r>
              <a:rPr lang="en-US" b="1" i="1" dirty="0"/>
              <a:t> </a:t>
            </a:r>
            <a:r>
              <a:rPr lang="en-US" b="1" i="1" dirty="0" err="1"/>
              <a:t>escore</a:t>
            </a:r>
            <a:r>
              <a:rPr lang="en-US" b="1" i="1" dirty="0"/>
              <a:t> </a:t>
            </a:r>
            <a:r>
              <a:rPr lang="en-US" dirty="0"/>
              <a:t>é </a:t>
            </a:r>
            <a:r>
              <a:rPr lang="en-US" dirty="0" err="1"/>
              <a:t>definida</a:t>
            </a:r>
            <a:r>
              <a:rPr lang="en-US" dirty="0"/>
              <a:t> </a:t>
            </a:r>
            <a:r>
              <a:rPr lang="en-US" dirty="0" err="1"/>
              <a:t>como</a:t>
            </a:r>
            <a:r>
              <a:rPr lang="en-US" dirty="0"/>
              <a:t> </a:t>
            </a:r>
            <a:r>
              <a:rPr lang="en-US" dirty="0" err="1"/>
              <a:t>sendo</a:t>
            </a:r>
            <a:r>
              <a:rPr lang="en-US" dirty="0"/>
              <a:t> a </a:t>
            </a:r>
            <a:r>
              <a:rPr lang="en-US" dirty="0" err="1"/>
              <a:t>informação</a:t>
            </a:r>
            <a:r>
              <a:rPr lang="en-US" dirty="0"/>
              <a:t> de Fisher:</a:t>
            </a:r>
          </a:p>
        </p:txBody>
      </p:sp>
      <p:pic>
        <p:nvPicPr>
          <p:cNvPr id="7" name="Imagem 6">
            <a:extLst>
              <a:ext uri="{FF2B5EF4-FFF2-40B4-BE49-F238E27FC236}">
                <a16:creationId xmlns:a16="http://schemas.microsoft.com/office/drawing/2014/main" id="{3B5218C5-E425-4402-97DF-E029C97C2C92}"/>
              </a:ext>
            </a:extLst>
          </p:cNvPr>
          <p:cNvPicPr>
            <a:picLocks noChangeAspect="1"/>
          </p:cNvPicPr>
          <p:nvPr/>
        </p:nvPicPr>
        <p:blipFill>
          <a:blip r:embed="rId3"/>
          <a:stretch>
            <a:fillRect/>
          </a:stretch>
        </p:blipFill>
        <p:spPr>
          <a:xfrm>
            <a:off x="1043608" y="4437112"/>
            <a:ext cx="4743450" cy="619125"/>
          </a:xfrm>
          <a:prstGeom prst="rect">
            <a:avLst/>
          </a:prstGeom>
        </p:spPr>
      </p:pic>
      <p:pic>
        <p:nvPicPr>
          <p:cNvPr id="8" name="Imagem 7">
            <a:extLst>
              <a:ext uri="{FF2B5EF4-FFF2-40B4-BE49-F238E27FC236}">
                <a16:creationId xmlns:a16="http://schemas.microsoft.com/office/drawing/2014/main" id="{4CA26A70-143B-4AE5-A148-6A360BC9F16D}"/>
              </a:ext>
            </a:extLst>
          </p:cNvPr>
          <p:cNvPicPr>
            <a:picLocks noChangeAspect="1"/>
          </p:cNvPicPr>
          <p:nvPr/>
        </p:nvPicPr>
        <p:blipFill>
          <a:blip r:embed="rId4"/>
          <a:stretch>
            <a:fillRect/>
          </a:stretch>
        </p:blipFill>
        <p:spPr>
          <a:xfrm>
            <a:off x="1043608" y="5613247"/>
            <a:ext cx="2257425" cy="561975"/>
          </a:xfrm>
          <a:prstGeom prst="rect">
            <a:avLst/>
          </a:prstGeom>
        </p:spPr>
      </p:pic>
      <p:sp>
        <p:nvSpPr>
          <p:cNvPr id="9" name="Retângulo 8">
            <a:extLst>
              <a:ext uri="{FF2B5EF4-FFF2-40B4-BE49-F238E27FC236}">
                <a16:creationId xmlns:a16="http://schemas.microsoft.com/office/drawing/2014/main" id="{B27E2A3F-3D82-4239-A83E-B1B980531F79}"/>
              </a:ext>
            </a:extLst>
          </p:cNvPr>
          <p:cNvSpPr/>
          <p:nvPr/>
        </p:nvSpPr>
        <p:spPr>
          <a:xfrm>
            <a:off x="711964" y="5144549"/>
            <a:ext cx="7671821" cy="369332"/>
          </a:xfrm>
          <a:prstGeom prst="rect">
            <a:avLst/>
          </a:prstGeom>
        </p:spPr>
        <p:txBody>
          <a:bodyPr wrap="square">
            <a:spAutoFit/>
          </a:bodyPr>
          <a:lstStyle/>
          <a:p>
            <a:r>
              <a:rPr lang="en-US" dirty="0"/>
              <a:t>Forma </a:t>
            </a:r>
            <a:r>
              <a:rPr lang="en-US" dirty="0" err="1"/>
              <a:t>alternativa</a:t>
            </a:r>
            <a:r>
              <a:rPr lang="en-US" dirty="0"/>
              <a:t>:</a:t>
            </a:r>
          </a:p>
        </p:txBody>
      </p:sp>
    </p:spTree>
    <p:extLst>
      <p:ext uri="{BB962C8B-B14F-4D97-AF65-F5344CB8AC3E}">
        <p14:creationId xmlns:p14="http://schemas.microsoft.com/office/powerpoint/2010/main" val="41553884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F3EBA95E-DEE6-4A82-9EAC-C070C1CA305F}"/>
              </a:ext>
            </a:extLst>
          </p:cNvPr>
          <p:cNvPicPr>
            <a:picLocks noChangeAspect="1"/>
          </p:cNvPicPr>
          <p:nvPr/>
        </p:nvPicPr>
        <p:blipFill>
          <a:blip r:embed="rId2"/>
          <a:stretch>
            <a:fillRect/>
          </a:stretch>
        </p:blipFill>
        <p:spPr>
          <a:xfrm>
            <a:off x="0" y="857250"/>
            <a:ext cx="9144000" cy="5143500"/>
          </a:xfrm>
          <a:prstGeom prst="rect">
            <a:avLst/>
          </a:prstGeom>
        </p:spPr>
      </p:pic>
    </p:spTree>
    <p:extLst>
      <p:ext uri="{BB962C8B-B14F-4D97-AF65-F5344CB8AC3E}">
        <p14:creationId xmlns:p14="http://schemas.microsoft.com/office/powerpoint/2010/main" val="3197886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4E5C9FFF-444E-4AD5-9880-4BD86474F0BA}"/>
              </a:ext>
            </a:extLst>
          </p:cNvPr>
          <p:cNvPicPr>
            <a:picLocks noChangeAspect="1"/>
          </p:cNvPicPr>
          <p:nvPr/>
        </p:nvPicPr>
        <p:blipFill>
          <a:blip r:embed="rId2"/>
          <a:stretch>
            <a:fillRect/>
          </a:stretch>
        </p:blipFill>
        <p:spPr>
          <a:xfrm>
            <a:off x="0" y="857250"/>
            <a:ext cx="9144000" cy="5143500"/>
          </a:xfrm>
          <a:prstGeom prst="rect">
            <a:avLst/>
          </a:prstGeom>
        </p:spPr>
      </p:pic>
    </p:spTree>
    <p:extLst>
      <p:ext uri="{BB962C8B-B14F-4D97-AF65-F5344CB8AC3E}">
        <p14:creationId xmlns:p14="http://schemas.microsoft.com/office/powerpoint/2010/main" val="4262182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3071802" y="1196752"/>
            <a:ext cx="6036702" cy="1803620"/>
          </a:xfrm>
          <a:prstGeom prst="rect">
            <a:avLst/>
          </a:prstGeom>
          <a:noFill/>
        </p:spPr>
        <p:txBody>
          <a:bodyPr wrap="square" rtlCol="0">
            <a:normAutofit/>
          </a:bodyPr>
          <a:lstStyle/>
          <a:p>
            <a:r>
              <a:rPr sz="2400" b="1"/>
              <a:t>Irmão mais velho tem QI maior, diz estudo</a:t>
            </a:r>
          </a:p>
          <a:p>
            <a:r>
              <a:rPr sz="2000"/>
              <a:t>Pesquisa feita com 241 mil jovens noruegueses mostrou vantagem de primogênitos.  Diferença média é de apenas 2,3 pontos, mas é considerada significativa.</a:t>
            </a:r>
          </a:p>
          <a:p>
            <a:endParaRPr lang="pt-BR" dirty="0">
              <a:solidFill>
                <a:prstClr val="black">
                  <a:lumMod val="85000"/>
                  <a:lumOff val="15000"/>
                </a:prstClr>
              </a:solidFill>
            </a:endParaRPr>
          </a:p>
        </p:txBody>
      </p:sp>
      <p:sp>
        <p:nvSpPr>
          <p:cNvPr id="9" name="Title 8"/>
          <p:cNvSpPr>
            <a:spLocks noGrp="1"/>
          </p:cNvSpPr>
          <p:nvPr>
            <p:ph type="title"/>
          </p:nvPr>
        </p:nvSpPr>
        <p:spPr/>
        <p:txBody>
          <a:bodyPr/>
          <a:lstStyle/>
          <a:p>
            <a:pPr lvl="0">
              <a:spcBef>
                <a:spcPts val="0"/>
              </a:spcBef>
            </a:pPr>
            <a:r>
              <a:rPr lang="pt-BR" sz="2800" b="1" dirty="0">
                <a:solidFill>
                  <a:prstClr val="black">
                    <a:lumMod val="85000"/>
                    <a:lumOff val="15000"/>
                  </a:prstClr>
                </a:solidFill>
                <a:latin typeface="+mn-lt"/>
                <a:ea typeface="+mn-ea"/>
                <a:cs typeface="+mn-cs"/>
              </a:rPr>
              <a:t>Escalas de Inteligência</a:t>
            </a:r>
            <a:endParaRPr lang="pt-BR" dirty="0">
              <a:latin typeface="+mn-lt"/>
            </a:endParaRPr>
          </a:p>
        </p:txBody>
      </p:sp>
      <p:sp>
        <p:nvSpPr>
          <p:cNvPr id="12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pt-BR"/>
          </a:p>
        </p:txBody>
      </p:sp>
      <p:sp>
        <p:nvSpPr>
          <p:cNvPr id="10" name="CaixaDeTexto 9"/>
          <p:cNvSpPr txBox="1"/>
          <p:nvPr/>
        </p:nvSpPr>
        <p:spPr>
          <a:xfrm>
            <a:off x="285720" y="3286124"/>
            <a:ext cx="8143932" cy="2677656"/>
          </a:xfrm>
          <a:prstGeom prst="rect">
            <a:avLst/>
          </a:prstGeom>
          <a:noFill/>
        </p:spPr>
        <p:txBody>
          <a:bodyPr wrap="square" rtlCol="0">
            <a:spAutoFit/>
          </a:bodyPr>
          <a:lstStyle/>
          <a:p>
            <a:pPr algn="just"/>
            <a:r>
              <a:rPr sz="2400"/>
              <a:t>Um estudo polêmico, mas com apoio estatístico à toda prova, promete semear a discórdia nas famílias. Uma dupla de pesquisadores noruegueses examinou os testes de QI de mais de 241 mil rapazes de seu país, realizados quando eles estavam prestando o serviço militar, e diz ter descoberto que, em média, os irmãos mais velhos têm quociente de inteligência superior ao dos irmãos do meio e caçulas.</a:t>
            </a:r>
            <a:endParaRPr lang="pt-BR" sz="2400" dirty="0"/>
          </a:p>
        </p:txBody>
      </p:sp>
      <p:pic>
        <p:nvPicPr>
          <p:cNvPr id="187394" name="Picture 2" descr="Foto: Editoria de arte G1"/>
          <p:cNvPicPr>
            <a:picLocks noChangeAspect="1" noChangeArrowheads="1"/>
          </p:cNvPicPr>
          <p:nvPr/>
        </p:nvPicPr>
        <p:blipFill>
          <a:blip r:embed="rId4"/>
          <a:srcRect/>
          <a:stretch>
            <a:fillRect/>
          </a:stretch>
        </p:blipFill>
        <p:spPr bwMode="auto">
          <a:xfrm>
            <a:off x="214282" y="1428736"/>
            <a:ext cx="2571750" cy="1609726"/>
          </a:xfrm>
          <a:prstGeom prst="rect">
            <a:avLst/>
          </a:prstGeom>
          <a:noFill/>
        </p:spPr>
      </p:pic>
      <p:sp>
        <p:nvSpPr>
          <p:cNvPr id="11" name="CaixaDeTexto 10"/>
          <p:cNvSpPr txBox="1"/>
          <p:nvPr/>
        </p:nvSpPr>
        <p:spPr>
          <a:xfrm>
            <a:off x="357158" y="6072206"/>
            <a:ext cx="8286808" cy="307777"/>
          </a:xfrm>
          <a:prstGeom prst="rect">
            <a:avLst/>
          </a:prstGeom>
          <a:noFill/>
        </p:spPr>
        <p:txBody>
          <a:bodyPr wrap="square" rtlCol="0">
            <a:spAutoFit/>
          </a:bodyPr>
          <a:lstStyle/>
          <a:p>
            <a:r>
              <a:rPr sz="1400">
                <a:hlinkClick r:id="rId5"/>
              </a:rPr>
              <a:t>http://g1.globo.com/Noticias/Ciencia/0,,MUL56449-5603,00.html</a:t>
            </a:r>
            <a:endParaRPr lang="pt-BR" dirty="0"/>
          </a:p>
        </p:txBody>
      </p:sp>
    </p:spTree>
    <p:extLst>
      <p:ext uri="{BB962C8B-B14F-4D97-AF65-F5344CB8AC3E}">
        <p14:creationId xmlns:p14="http://schemas.microsoft.com/office/powerpoint/2010/main" val="3991279804"/>
      </p:ext>
    </p:extLst>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Função de Informação do TESTE</a:t>
            </a:r>
          </a:p>
        </p:txBody>
      </p:sp>
      <p:sp>
        <p:nvSpPr>
          <p:cNvPr id="3" name="Espaço Reservado para Conteúdo 2"/>
          <p:cNvSpPr>
            <a:spLocks noGrp="1"/>
          </p:cNvSpPr>
          <p:nvPr>
            <p:ph idx="1"/>
          </p:nvPr>
        </p:nvSpPr>
        <p:spPr>
          <a:xfrm>
            <a:off x="457200" y="1600200"/>
            <a:ext cx="8363272" cy="4525963"/>
          </a:xfrm>
        </p:spPr>
        <p:txBody>
          <a:bodyPr/>
          <a:lstStyle/>
          <a:p>
            <a:r>
              <a:rPr lang="pt-BR" dirty="0"/>
              <a:t>A informação fornecida pelo teste é simplesmente a soma das informações fornecidas por cada item que compõe tal teste:</a:t>
            </a:r>
          </a:p>
        </p:txBody>
      </p:sp>
      <p:pic>
        <p:nvPicPr>
          <p:cNvPr id="5" name="Imagem 4"/>
          <p:cNvPicPr>
            <a:picLocks noChangeAspect="1"/>
          </p:cNvPicPr>
          <p:nvPr/>
        </p:nvPicPr>
        <p:blipFill>
          <a:blip r:embed="rId2"/>
          <a:stretch>
            <a:fillRect/>
          </a:stretch>
        </p:blipFill>
        <p:spPr>
          <a:xfrm>
            <a:off x="2915816" y="3573016"/>
            <a:ext cx="3168352" cy="1465954"/>
          </a:xfrm>
          <a:prstGeom prst="rect">
            <a:avLst/>
          </a:prstGeom>
        </p:spPr>
      </p:pic>
    </p:spTree>
    <p:extLst>
      <p:ext uri="{BB962C8B-B14F-4D97-AF65-F5344CB8AC3E}">
        <p14:creationId xmlns:p14="http://schemas.microsoft.com/office/powerpoint/2010/main" val="32556018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871361-4265-400B-9C29-F4A4B1F3177B}"/>
              </a:ext>
            </a:extLst>
          </p:cNvPr>
          <p:cNvSpPr>
            <a:spLocks noGrp="1"/>
          </p:cNvSpPr>
          <p:nvPr>
            <p:ph type="title"/>
          </p:nvPr>
        </p:nvSpPr>
        <p:spPr/>
        <p:txBody>
          <a:bodyPr/>
          <a:lstStyle/>
          <a:p>
            <a:r>
              <a:rPr lang="en-US" dirty="0" err="1"/>
              <a:t>Função</a:t>
            </a:r>
            <a:r>
              <a:rPr lang="en-US" dirty="0"/>
              <a:t> de </a:t>
            </a:r>
            <a:r>
              <a:rPr lang="en-US" dirty="0" err="1"/>
              <a:t>Informação</a:t>
            </a:r>
            <a:r>
              <a:rPr lang="en-US" dirty="0"/>
              <a:t> do Teste</a:t>
            </a:r>
          </a:p>
        </p:txBody>
      </p:sp>
      <p:pic>
        <p:nvPicPr>
          <p:cNvPr id="4" name="Picture 2">
            <a:extLst>
              <a:ext uri="{FF2B5EF4-FFF2-40B4-BE49-F238E27FC236}">
                <a16:creationId xmlns:a16="http://schemas.microsoft.com/office/drawing/2014/main" id="{E4EE997D-7A59-4F2E-9123-EF63325F29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6320" y="2420889"/>
            <a:ext cx="4320480" cy="324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m 5">
            <a:extLst>
              <a:ext uri="{FF2B5EF4-FFF2-40B4-BE49-F238E27FC236}">
                <a16:creationId xmlns:a16="http://schemas.microsoft.com/office/drawing/2014/main" id="{7B885C3E-8C18-4EDB-93AE-40CBDEBD9800}"/>
              </a:ext>
            </a:extLst>
          </p:cNvPr>
          <p:cNvPicPr>
            <a:picLocks noChangeAspect="1"/>
          </p:cNvPicPr>
          <p:nvPr/>
        </p:nvPicPr>
        <p:blipFill>
          <a:blip r:embed="rId3"/>
          <a:stretch>
            <a:fillRect/>
          </a:stretch>
        </p:blipFill>
        <p:spPr>
          <a:xfrm>
            <a:off x="251520" y="2430336"/>
            <a:ext cx="4041671" cy="3014887"/>
          </a:xfrm>
          <a:prstGeom prst="rect">
            <a:avLst/>
          </a:prstGeom>
        </p:spPr>
      </p:pic>
    </p:spTree>
    <p:extLst>
      <p:ext uri="{BB962C8B-B14F-4D97-AF65-F5344CB8AC3E}">
        <p14:creationId xmlns:p14="http://schemas.microsoft.com/office/powerpoint/2010/main" val="5002369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r>
              <a:rPr lang="pt-BR" dirty="0"/>
              <a:t>MN1,2 : </a:t>
            </a:r>
            <a:r>
              <a:rPr lang="pt-BR" dirty="0" err="1"/>
              <a:t>Lord</a:t>
            </a:r>
            <a:r>
              <a:rPr lang="pt-BR" dirty="0"/>
              <a:t> (1952), MN3</a:t>
            </a:r>
          </a:p>
          <a:p>
            <a:r>
              <a:rPr lang="pt-BR" dirty="0" err="1"/>
              <a:t>Rasch</a:t>
            </a:r>
            <a:r>
              <a:rPr lang="pt-BR" dirty="0"/>
              <a:t> (1960)</a:t>
            </a:r>
          </a:p>
          <a:p>
            <a:r>
              <a:rPr lang="pt-BR" dirty="0" err="1"/>
              <a:t>Birnbaum</a:t>
            </a:r>
            <a:r>
              <a:rPr lang="pt-BR" dirty="0"/>
              <a:t> (1968): Ogiva Normal </a:t>
            </a:r>
            <a:r>
              <a:rPr lang="pt-BR" dirty="0">
                <a:sym typeface="Wingdings" panose="05000000000000000000" pitchFamily="2" charset="2"/>
              </a:rPr>
              <a:t> Logística</a:t>
            </a:r>
          </a:p>
          <a:p>
            <a:r>
              <a:rPr lang="pt-BR" dirty="0">
                <a:sym typeface="Wingdings" panose="05000000000000000000" pitchFamily="2" charset="2"/>
              </a:rPr>
              <a:t>Categorias: </a:t>
            </a:r>
            <a:r>
              <a:rPr lang="pt-BR" dirty="0"/>
              <a:t>Bock (1972), </a:t>
            </a:r>
            <a:r>
              <a:rPr lang="pt-BR" dirty="0" err="1"/>
              <a:t>Andrich</a:t>
            </a:r>
            <a:r>
              <a:rPr lang="pt-BR" dirty="0"/>
              <a:t> (1978), Masters (1982) e </a:t>
            </a:r>
            <a:r>
              <a:rPr lang="pt-BR" dirty="0" err="1"/>
              <a:t>Muraki</a:t>
            </a:r>
            <a:r>
              <a:rPr lang="pt-BR" dirty="0"/>
              <a:t> (1992)</a:t>
            </a:r>
            <a:endParaRPr lang="pt-BR" dirty="0">
              <a:sym typeface="Wingdings" panose="05000000000000000000" pitchFamily="2" charset="2"/>
            </a:endParaRPr>
          </a:p>
          <a:p>
            <a:r>
              <a:rPr lang="pt-BR" dirty="0"/>
              <a:t>Bock &amp; </a:t>
            </a:r>
            <a:r>
              <a:rPr lang="pt-BR" dirty="0" err="1"/>
              <a:t>Zimowski</a:t>
            </a:r>
            <a:r>
              <a:rPr lang="pt-BR" dirty="0"/>
              <a:t> (1997)</a:t>
            </a:r>
          </a:p>
          <a:p>
            <a:r>
              <a:rPr lang="pt-BR" dirty="0"/>
              <a:t>Tavares (2001)</a:t>
            </a:r>
          </a:p>
        </p:txBody>
      </p:sp>
    </p:spTree>
    <p:extLst>
      <p:ext uri="{BB962C8B-B14F-4D97-AF65-F5344CB8AC3E}">
        <p14:creationId xmlns:p14="http://schemas.microsoft.com/office/powerpoint/2010/main" val="11357832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ext Box 2"/>
          <p:cNvSpPr txBox="1">
            <a:spLocks noChangeArrowheads="1"/>
          </p:cNvSpPr>
          <p:nvPr/>
        </p:nvSpPr>
        <p:spPr bwMode="auto">
          <a:xfrm>
            <a:off x="1584325" y="1306513"/>
            <a:ext cx="53498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sp>
        <p:nvSpPr>
          <p:cNvPr id="9220" name="Text Box 3"/>
          <p:cNvSpPr txBox="1">
            <a:spLocks noChangeArrowheads="1"/>
          </p:cNvSpPr>
          <p:nvPr/>
        </p:nvSpPr>
        <p:spPr bwMode="auto">
          <a:xfrm>
            <a:off x="2346325" y="20685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9218" name="Object 4"/>
          <p:cNvGraphicFramePr>
            <a:graphicFrameLocks noChangeAspect="1"/>
          </p:cNvGraphicFramePr>
          <p:nvPr/>
        </p:nvGraphicFramePr>
        <p:xfrm>
          <a:off x="1143000" y="914400"/>
          <a:ext cx="6172200" cy="4572000"/>
        </p:xfrm>
        <a:graphic>
          <a:graphicData uri="http://schemas.openxmlformats.org/presentationml/2006/ole">
            <mc:AlternateContent xmlns:mc="http://schemas.openxmlformats.org/markup-compatibility/2006">
              <mc:Choice xmlns:v="urn:schemas-microsoft-com:vml" Requires="v">
                <p:oleObj spid="_x0000_s12290" name="Gráfico" r:id="rId4" imgW="3610291" imgH="2619857" progId="Excel.Chart.8">
                  <p:embed/>
                </p:oleObj>
              </mc:Choice>
              <mc:Fallback>
                <p:oleObj name="Gráfico" r:id="rId4" imgW="3610291" imgH="2619857" progId="Excel.Chart.8">
                  <p:embed/>
                  <p:pic>
                    <p:nvPicPr>
                      <p:cNvPr id="921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914400"/>
                        <a:ext cx="61722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L3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2" name="CaixaDeTexto 1"/>
          <p:cNvSpPr txBox="1"/>
          <p:nvPr/>
        </p:nvSpPr>
        <p:spPr>
          <a:xfrm>
            <a:off x="1043608" y="5486400"/>
            <a:ext cx="7344816" cy="646331"/>
          </a:xfrm>
          <a:prstGeom prst="rect">
            <a:avLst/>
          </a:prstGeom>
          <a:noFill/>
        </p:spPr>
        <p:txBody>
          <a:bodyPr wrap="square" rtlCol="0">
            <a:spAutoFit/>
          </a:bodyPr>
          <a:lstStyle/>
          <a:p>
            <a:r>
              <a:rPr lang="pt-BR" dirty="0"/>
              <a:t>Embora sejam duas categorias, temos que P(0) = 1 – P(1).  Assim, basta estimar os parâmetros de uma única categoria, e P(0) sai por diferença.</a:t>
            </a:r>
          </a:p>
        </p:txBody>
      </p:sp>
    </p:spTree>
    <p:extLst>
      <p:ext uri="{BB962C8B-B14F-4D97-AF65-F5344CB8AC3E}">
        <p14:creationId xmlns:p14="http://schemas.microsoft.com/office/powerpoint/2010/main" val="5051211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8" name="Rectangle 2"/>
          <p:cNvSpPr>
            <a:spLocks noGrp="1" noChangeArrowheads="1"/>
          </p:cNvSpPr>
          <p:nvPr>
            <p:ph type="title"/>
          </p:nvPr>
        </p:nvSpPr>
        <p:spPr>
          <a:xfrm>
            <a:off x="609600" y="1073150"/>
            <a:ext cx="8305800" cy="831850"/>
          </a:xfrm>
        </p:spPr>
        <p:txBody>
          <a:bodyPr/>
          <a:lstStyle/>
          <a:p>
            <a:pPr>
              <a:defRPr/>
            </a:pPr>
            <a:r>
              <a:rPr lang="pt-BR" sz="2400" dirty="0"/>
              <a:t>Bock (1972)</a:t>
            </a:r>
            <a:br>
              <a:rPr lang="pt-BR" sz="2400" b="0" dirty="0">
                <a:solidFill>
                  <a:schemeClr val="tx1"/>
                </a:solidFill>
                <a:latin typeface="Arial" charset="0"/>
              </a:rPr>
            </a:br>
            <a:r>
              <a:rPr lang="pt-BR" sz="2400" b="0" dirty="0">
                <a:solidFill>
                  <a:schemeClr val="tx1"/>
                </a:solidFill>
                <a:latin typeface="Arial" charset="0"/>
              </a:rPr>
              <a:t>considera todas as categorias </a:t>
            </a:r>
            <a:r>
              <a:rPr lang="pt-BR" sz="2400" b="0" i="1" dirty="0">
                <a:solidFill>
                  <a:schemeClr val="tx1"/>
                </a:solidFill>
                <a:latin typeface="Arial" charset="0"/>
              </a:rPr>
              <a:t>m</a:t>
            </a:r>
            <a:r>
              <a:rPr lang="pt-BR" sz="2400" b="0" dirty="0">
                <a:solidFill>
                  <a:schemeClr val="tx1"/>
                </a:solidFill>
                <a:latin typeface="Arial" charset="0"/>
              </a:rPr>
              <a:t> de resposta</a:t>
            </a:r>
          </a:p>
        </p:txBody>
      </p:sp>
      <p:sp>
        <p:nvSpPr>
          <p:cNvPr id="10245" name="Text Box 3"/>
          <p:cNvSpPr txBox="1">
            <a:spLocks noChangeArrowheads="1"/>
          </p:cNvSpPr>
          <p:nvPr/>
        </p:nvSpPr>
        <p:spPr bwMode="auto">
          <a:xfrm>
            <a:off x="914400" y="2251075"/>
            <a:ext cx="5791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sp>
        <p:nvSpPr>
          <p:cNvPr id="10246" name="Text Box 4"/>
          <p:cNvSpPr txBox="1">
            <a:spLocks noChangeArrowheads="1"/>
          </p:cNvSpPr>
          <p:nvPr/>
        </p:nvSpPr>
        <p:spPr bwMode="auto">
          <a:xfrm>
            <a:off x="1660525" y="2784475"/>
            <a:ext cx="47402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sp>
        <p:nvSpPr>
          <p:cNvPr id="10247" name="Text Box 5"/>
          <p:cNvSpPr txBox="1">
            <a:spLocks noChangeArrowheads="1"/>
          </p:cNvSpPr>
          <p:nvPr/>
        </p:nvSpPr>
        <p:spPr bwMode="auto">
          <a:xfrm>
            <a:off x="1279525" y="2327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graphicFrame>
        <p:nvGraphicFramePr>
          <p:cNvPr id="10242" name="Object 6"/>
          <p:cNvGraphicFramePr>
            <a:graphicFrameLocks noChangeAspect="1"/>
          </p:cNvGraphicFramePr>
          <p:nvPr/>
        </p:nvGraphicFramePr>
        <p:xfrm>
          <a:off x="990600" y="2133600"/>
          <a:ext cx="6400800" cy="1828800"/>
        </p:xfrm>
        <a:graphic>
          <a:graphicData uri="http://schemas.openxmlformats.org/presentationml/2006/ole">
            <mc:AlternateContent xmlns:mc="http://schemas.openxmlformats.org/markup-compatibility/2006">
              <mc:Choice xmlns:v="urn:schemas-microsoft-com:vml" Requires="v">
                <p:oleObj spid="_x0000_s13314" name="Documento" r:id="rId4" imgW="2364840" imgH="673200" progId="Word.Document.8">
                  <p:embed/>
                </p:oleObj>
              </mc:Choice>
              <mc:Fallback>
                <p:oleObj name="Documento" r:id="rId4" imgW="2364840" imgH="673200" progId="Word.Document.8">
                  <p:embed/>
                  <p:pic>
                    <p:nvPicPr>
                      <p:cNvPr id="10242"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2133600"/>
                        <a:ext cx="64008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43" name="Object 7"/>
          <p:cNvGraphicFramePr>
            <a:graphicFrameLocks noChangeAspect="1"/>
          </p:cNvGraphicFramePr>
          <p:nvPr/>
        </p:nvGraphicFramePr>
        <p:xfrm>
          <a:off x="685800" y="4373563"/>
          <a:ext cx="7696200" cy="777875"/>
        </p:xfrm>
        <a:graphic>
          <a:graphicData uri="http://schemas.openxmlformats.org/presentationml/2006/ole">
            <mc:AlternateContent xmlns:mc="http://schemas.openxmlformats.org/markup-compatibility/2006">
              <mc:Choice xmlns:v="urn:schemas-microsoft-com:vml" Requires="v">
                <p:oleObj spid="_x0000_s13315" name="Equação" r:id="rId6" imgW="1295280" imgH="139680" progId="Equation.3">
                  <p:embed/>
                </p:oleObj>
              </mc:Choice>
              <mc:Fallback>
                <p:oleObj name="Equação" r:id="rId6" imgW="1295280" imgH="139680" progId="Equation.3">
                  <p:embed/>
                  <p:pic>
                    <p:nvPicPr>
                      <p:cNvPr id="10243"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 y="4373563"/>
                        <a:ext cx="7696200"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48" name="Text Box 8"/>
          <p:cNvSpPr txBox="1">
            <a:spLocks noChangeArrowheads="1"/>
          </p:cNvSpPr>
          <p:nvPr/>
        </p:nvSpPr>
        <p:spPr bwMode="auto">
          <a:xfrm>
            <a:off x="4937125" y="56499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sp>
        <p:nvSpPr>
          <p:cNvPr id="9" name="TextBox 2"/>
          <p:cNvSpPr txBox="1"/>
          <p:nvPr/>
        </p:nvSpPr>
        <p:spPr>
          <a:xfrm>
            <a:off x="1112416" y="414337"/>
            <a:ext cx="5279504" cy="576064"/>
          </a:xfrm>
          <a:prstGeom prst="rect">
            <a:avLst/>
          </a:prstGeom>
          <a:noFill/>
        </p:spPr>
        <p:txBody>
          <a:bodyPr wrap="square" rtlCol="0">
            <a:normAutofit fontScale="92500"/>
          </a:bodyPr>
          <a:lstStyle/>
          <a:p>
            <a:r>
              <a:rPr lang="pt-BR" sz="2800" b="1" dirty="0">
                <a:solidFill>
                  <a:prstClr val="black">
                    <a:lumMod val="50000"/>
                    <a:lumOff val="50000"/>
                  </a:prstClr>
                </a:solidFill>
              </a:rPr>
              <a:t>Modelo de Resposta Nominal - MRN</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Tree>
    <p:extLst>
      <p:ext uri="{BB962C8B-B14F-4D97-AF65-F5344CB8AC3E}">
        <p14:creationId xmlns:p14="http://schemas.microsoft.com/office/powerpoint/2010/main" val="32404009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Rectangle 2"/>
          <p:cNvSpPr>
            <a:spLocks noGrp="1" noChangeArrowheads="1"/>
          </p:cNvSpPr>
          <p:nvPr>
            <p:ph type="title"/>
          </p:nvPr>
        </p:nvSpPr>
        <p:spPr>
          <a:xfrm>
            <a:off x="533400" y="304800"/>
            <a:ext cx="7620000" cy="1600200"/>
          </a:xfrm>
        </p:spPr>
        <p:txBody>
          <a:bodyPr/>
          <a:lstStyle/>
          <a:p>
            <a:pPr eaLnBrk="1" hangingPunct="1">
              <a:defRPr/>
            </a:pPr>
            <a:r>
              <a:rPr lang="pt-BR" sz="2400"/>
              <a:t>        </a:t>
            </a:r>
          </a:p>
        </p:txBody>
      </p:sp>
      <p:graphicFrame>
        <p:nvGraphicFramePr>
          <p:cNvPr id="11266" name="Object 3"/>
          <p:cNvGraphicFramePr>
            <a:graphicFrameLocks noChangeAspect="1"/>
          </p:cNvGraphicFramePr>
          <p:nvPr>
            <p:extLst>
              <p:ext uri="{D42A27DB-BD31-4B8C-83A1-F6EECF244321}">
                <p14:modId xmlns:p14="http://schemas.microsoft.com/office/powerpoint/2010/main" val="3215964866"/>
              </p:ext>
            </p:extLst>
          </p:nvPr>
        </p:nvGraphicFramePr>
        <p:xfrm>
          <a:off x="1214438" y="1196752"/>
          <a:ext cx="6405562" cy="4800600"/>
        </p:xfrm>
        <a:graphic>
          <a:graphicData uri="http://schemas.openxmlformats.org/presentationml/2006/ole">
            <mc:AlternateContent xmlns:mc="http://schemas.openxmlformats.org/markup-compatibility/2006">
              <mc:Choice xmlns:v="urn:schemas-microsoft-com:vml" Requires="v">
                <p:oleObj spid="_x0000_s14338" name="Gráfico" r:id="rId4" imgW="3715021" imgH="2762732" progId="Excel.Chart.8">
                  <p:embed/>
                </p:oleObj>
              </mc:Choice>
              <mc:Fallback>
                <p:oleObj name="Gráfico" r:id="rId4" imgW="3715021" imgH="2762732" progId="Excel.Chart.8">
                  <p:embed/>
                  <p:pic>
                    <p:nvPicPr>
                      <p:cNvPr id="11266"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438" y="1196752"/>
                        <a:ext cx="6405562"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RN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pic>
        <p:nvPicPr>
          <p:cNvPr id="6" name="Imagem 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18764421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p:cNvSpPr>
            <a:spLocks noGrp="1" noChangeArrowheads="1"/>
          </p:cNvSpPr>
          <p:nvPr>
            <p:ph type="title"/>
          </p:nvPr>
        </p:nvSpPr>
        <p:spPr>
          <a:xfrm>
            <a:off x="685800" y="692696"/>
            <a:ext cx="6477000" cy="1212304"/>
          </a:xfrm>
        </p:spPr>
        <p:txBody>
          <a:bodyPr/>
          <a:lstStyle/>
          <a:p>
            <a:pPr>
              <a:buFontTx/>
              <a:buChar char="•"/>
              <a:defRPr/>
            </a:pPr>
            <a:r>
              <a:rPr lang="pt-BR" dirty="0"/>
              <a:t> </a:t>
            </a:r>
            <a:r>
              <a:rPr lang="pt-BR" sz="2400" dirty="0" err="1"/>
              <a:t>Samejima</a:t>
            </a:r>
            <a:r>
              <a:rPr lang="pt-BR" sz="2400" dirty="0"/>
              <a:t> (1969) - categorias ordinais</a:t>
            </a:r>
          </a:p>
        </p:txBody>
      </p:sp>
      <p:sp>
        <p:nvSpPr>
          <p:cNvPr id="12293" name="Text Box 3"/>
          <p:cNvSpPr txBox="1">
            <a:spLocks noChangeArrowheads="1"/>
          </p:cNvSpPr>
          <p:nvPr/>
        </p:nvSpPr>
        <p:spPr bwMode="auto">
          <a:xfrm>
            <a:off x="2727325" y="27543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12290" name="Object 4"/>
          <p:cNvGraphicFramePr>
            <a:graphicFrameLocks noChangeAspect="1"/>
          </p:cNvGraphicFramePr>
          <p:nvPr>
            <p:extLst>
              <p:ext uri="{D42A27DB-BD31-4B8C-83A1-F6EECF244321}">
                <p14:modId xmlns:p14="http://schemas.microsoft.com/office/powerpoint/2010/main" val="3076466383"/>
              </p:ext>
            </p:extLst>
          </p:nvPr>
        </p:nvGraphicFramePr>
        <p:xfrm>
          <a:off x="395536" y="1676400"/>
          <a:ext cx="7992888" cy="2627313"/>
        </p:xfrm>
        <a:graphic>
          <a:graphicData uri="http://schemas.openxmlformats.org/presentationml/2006/ole">
            <mc:AlternateContent xmlns:mc="http://schemas.openxmlformats.org/markup-compatibility/2006">
              <mc:Choice xmlns:v="urn:schemas-microsoft-com:vml" Requires="v">
                <p:oleObj spid="_x0000_s15362" name="Equation" r:id="rId4" imgW="1726920" imgH="634680" progId="Equation.3">
                  <p:embed/>
                </p:oleObj>
              </mc:Choice>
              <mc:Fallback>
                <p:oleObj name="Equation" r:id="rId4" imgW="1726920" imgH="634680" progId="Equation.3">
                  <p:embed/>
                  <p:pic>
                    <p:nvPicPr>
                      <p:cNvPr id="1229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1676400"/>
                        <a:ext cx="7992888" cy="2627313"/>
                      </a:xfrm>
                      <a:prstGeom prst="rect">
                        <a:avLst/>
                      </a:prstGeom>
                      <a:noFill/>
                      <a:ln>
                        <a:noFill/>
                      </a:ln>
                      <a:effectLst/>
                    </p:spPr>
                  </p:pic>
                </p:oleObj>
              </mc:Fallback>
            </mc:AlternateContent>
          </a:graphicData>
        </a:graphic>
      </p:graphicFrame>
      <p:sp>
        <p:nvSpPr>
          <p:cNvPr id="12294" name="Text Box 5"/>
          <p:cNvSpPr txBox="1">
            <a:spLocks noChangeArrowheads="1"/>
          </p:cNvSpPr>
          <p:nvPr/>
        </p:nvSpPr>
        <p:spPr bwMode="auto">
          <a:xfrm>
            <a:off x="2651125" y="49641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12291" name="Object 6"/>
          <p:cNvGraphicFramePr>
            <a:graphicFrameLocks noChangeAspect="1"/>
          </p:cNvGraphicFramePr>
          <p:nvPr/>
        </p:nvGraphicFramePr>
        <p:xfrm>
          <a:off x="2209800" y="4800600"/>
          <a:ext cx="3352800" cy="579438"/>
        </p:xfrm>
        <a:graphic>
          <a:graphicData uri="http://schemas.openxmlformats.org/presentationml/2006/ole">
            <mc:AlternateContent xmlns:mc="http://schemas.openxmlformats.org/markup-compatibility/2006">
              <mc:Choice xmlns:v="urn:schemas-microsoft-com:vml" Requires="v">
                <p:oleObj spid="_x0000_s15363" name="Equation" r:id="rId6" imgW="1346040" imgH="291960" progId="Equation.3">
                  <p:embed/>
                </p:oleObj>
              </mc:Choice>
              <mc:Fallback>
                <p:oleObj name="Equation" r:id="rId6" imgW="1346040" imgH="291960" progId="Equation.3">
                  <p:embed/>
                  <p:pic>
                    <p:nvPicPr>
                      <p:cNvPr id="12291"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9800" y="4800600"/>
                        <a:ext cx="3352800"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TextBox 2"/>
          <p:cNvSpPr txBox="1"/>
          <p:nvPr/>
        </p:nvSpPr>
        <p:spPr>
          <a:xfrm>
            <a:off x="1112416" y="414337"/>
            <a:ext cx="7492032" cy="566391"/>
          </a:xfrm>
          <a:prstGeom prst="rect">
            <a:avLst/>
          </a:prstGeom>
          <a:noFill/>
        </p:spPr>
        <p:txBody>
          <a:bodyPr wrap="square" rtlCol="0">
            <a:normAutofit/>
          </a:bodyPr>
          <a:lstStyle/>
          <a:p>
            <a:r>
              <a:rPr lang="pt-BR" sz="2800" b="1" dirty="0">
                <a:solidFill>
                  <a:prstClr val="black">
                    <a:lumMod val="50000"/>
                    <a:lumOff val="50000"/>
                  </a:prstClr>
                </a:solidFill>
              </a:rPr>
              <a:t>Modelo de Resposta Gradual- MRG</a:t>
            </a:r>
            <a:endParaRPr lang="pt-BR" sz="2200" dirty="0">
              <a:solidFill>
                <a:srgbClr val="2C99FC"/>
              </a:solidFill>
            </a:endParaRPr>
          </a:p>
          <a:p>
            <a:endParaRPr lang="pt-BR" dirty="0">
              <a:solidFill>
                <a:prstClr val="black"/>
              </a:solidFill>
            </a:endParaRPr>
          </a:p>
        </p:txBody>
      </p:sp>
    </p:spTree>
    <p:extLst>
      <p:ext uri="{BB962C8B-B14F-4D97-AF65-F5344CB8AC3E}">
        <p14:creationId xmlns:p14="http://schemas.microsoft.com/office/powerpoint/2010/main" val="2052538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ChangeArrowheads="1"/>
          </p:cNvSpPr>
          <p:nvPr/>
        </p:nvSpPr>
        <p:spPr bwMode="auto">
          <a:xfrm>
            <a:off x="2933700" y="22717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13316" name="Rectangle 3"/>
          <p:cNvSpPr>
            <a:spLocks noChangeArrowheads="1"/>
          </p:cNvSpPr>
          <p:nvPr/>
        </p:nvSpPr>
        <p:spPr bwMode="auto">
          <a:xfrm>
            <a:off x="2933700" y="22717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13317" name="Text Box 4"/>
          <p:cNvSpPr txBox="1">
            <a:spLocks noChangeArrowheads="1"/>
          </p:cNvSpPr>
          <p:nvPr/>
        </p:nvSpPr>
        <p:spPr bwMode="auto">
          <a:xfrm>
            <a:off x="2879725" y="10318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graphicFrame>
        <p:nvGraphicFramePr>
          <p:cNvPr id="13314" name="Object 5"/>
          <p:cNvGraphicFramePr>
            <a:graphicFrameLocks noChangeAspect="1"/>
          </p:cNvGraphicFramePr>
          <p:nvPr/>
        </p:nvGraphicFramePr>
        <p:xfrm>
          <a:off x="1752600" y="990600"/>
          <a:ext cx="5867400" cy="4495800"/>
        </p:xfrm>
        <a:graphic>
          <a:graphicData uri="http://schemas.openxmlformats.org/presentationml/2006/ole">
            <mc:AlternateContent xmlns:mc="http://schemas.openxmlformats.org/markup-compatibility/2006">
              <mc:Choice xmlns:v="urn:schemas-microsoft-com:vml" Requires="v">
                <p:oleObj spid="_x0000_s16386" name="Gráfico" r:id="rId4" imgW="3610291" imgH="2257787" progId="Excel.Chart.8">
                  <p:embed/>
                </p:oleObj>
              </mc:Choice>
              <mc:Fallback>
                <p:oleObj name="Gráfico" r:id="rId4" imgW="3610291" imgH="2257787" progId="Excel.Chart.8">
                  <p:embed/>
                  <p:pic>
                    <p:nvPicPr>
                      <p:cNvPr id="13314"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2600" y="990600"/>
                        <a:ext cx="5867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RG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pic>
        <p:nvPicPr>
          <p:cNvPr id="7" name="Imagem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18671954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ext Box 2"/>
          <p:cNvSpPr txBox="1">
            <a:spLocks noChangeArrowheads="1"/>
          </p:cNvSpPr>
          <p:nvPr/>
        </p:nvSpPr>
        <p:spPr bwMode="auto">
          <a:xfrm>
            <a:off x="457200" y="1057275"/>
            <a:ext cx="8153400"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buFontTx/>
              <a:buChar char="•"/>
            </a:pPr>
            <a:r>
              <a:rPr lang="pt-BR" altLang="pt-BR" sz="2800" dirty="0">
                <a:latin typeface="Times New Roman" panose="02020603050405020304" pitchFamily="18" charset="0"/>
              </a:rPr>
              <a:t> Modelo de Crédito Parcial: Modelo de Resposta Gradual sem o parâmetro de discriminação </a:t>
            </a:r>
            <a:r>
              <a:rPr lang="pt-BR" altLang="pt-BR" sz="3200" i="1" dirty="0">
                <a:latin typeface="Times New Roman" panose="02020603050405020304" pitchFamily="18" charset="0"/>
              </a:rPr>
              <a:t>a</a:t>
            </a:r>
          </a:p>
          <a:p>
            <a:pPr eaLnBrk="1" hangingPunct="1">
              <a:buFontTx/>
              <a:buChar char="•"/>
            </a:pPr>
            <a:endParaRPr lang="pt-BR" altLang="pt-BR" sz="3200" i="1" dirty="0">
              <a:latin typeface="Times New Roman" panose="02020603050405020304" pitchFamily="18" charset="0"/>
            </a:endParaRPr>
          </a:p>
          <a:p>
            <a:pPr eaLnBrk="1" hangingPunct="1">
              <a:buFontTx/>
              <a:buChar char="•"/>
            </a:pPr>
            <a:r>
              <a:rPr lang="pt-BR" altLang="pt-BR" sz="3200" dirty="0">
                <a:latin typeface="Times New Roman" panose="02020603050405020304" pitchFamily="18" charset="0"/>
              </a:rPr>
              <a:t> </a:t>
            </a:r>
            <a:r>
              <a:rPr lang="pt-BR" altLang="pt-BR" sz="2800" dirty="0">
                <a:latin typeface="Times New Roman" panose="02020603050405020304" pitchFamily="18" charset="0"/>
              </a:rPr>
              <a:t>Modelo de Crédito Parcial Generalizado: Modelo de Resposta Gradual com o parâmetro de discriminação </a:t>
            </a:r>
            <a:r>
              <a:rPr lang="pt-BR" altLang="pt-BR" sz="3200" i="1" dirty="0">
                <a:latin typeface="Times New Roman" panose="02020603050405020304" pitchFamily="18" charset="0"/>
              </a:rPr>
              <a:t>a</a:t>
            </a:r>
            <a:endParaRPr lang="pt-BR" altLang="pt-BR" sz="2800" i="1" dirty="0">
              <a:latin typeface="Times New Roman" panose="02020603050405020304" pitchFamily="18" charset="0"/>
            </a:endParaRPr>
          </a:p>
          <a:p>
            <a:pPr eaLnBrk="1" hangingPunct="1">
              <a:buFontTx/>
              <a:buChar char="•"/>
            </a:pPr>
            <a:endParaRPr lang="pt-BR" altLang="pt-BR" sz="2800" dirty="0">
              <a:latin typeface="Times New Roman" panose="02020603050405020304" pitchFamily="18" charset="0"/>
            </a:endParaRPr>
          </a:p>
          <a:p>
            <a:pPr eaLnBrk="1" hangingPunct="1">
              <a:buFontTx/>
              <a:buChar char="•"/>
            </a:pPr>
            <a:r>
              <a:rPr lang="pt-BR" altLang="pt-BR" sz="2800" dirty="0">
                <a:latin typeface="Times New Roman" panose="02020603050405020304" pitchFamily="18" charset="0"/>
              </a:rPr>
              <a:t>Modelo de Escala Gradual: Modelo de Resposta Gradual com b</a:t>
            </a:r>
            <a:r>
              <a:rPr lang="pt-BR" altLang="pt-BR" sz="2800" baseline="-25000" dirty="0">
                <a:latin typeface="Times New Roman" panose="02020603050405020304" pitchFamily="18" charset="0"/>
              </a:rPr>
              <a:t>is</a:t>
            </a:r>
            <a:r>
              <a:rPr lang="pt-BR" altLang="pt-BR" sz="2800" dirty="0">
                <a:latin typeface="Times New Roman" panose="02020603050405020304" pitchFamily="18" charset="0"/>
              </a:rPr>
              <a:t> = b</a:t>
            </a:r>
            <a:r>
              <a:rPr lang="pt-BR" altLang="pt-BR" sz="2800" baseline="-25000" dirty="0">
                <a:latin typeface="Times New Roman" panose="02020603050405020304" pitchFamily="18" charset="0"/>
              </a:rPr>
              <a:t>i</a:t>
            </a:r>
            <a:r>
              <a:rPr lang="pt-BR" altLang="pt-BR" sz="2800" dirty="0">
                <a:latin typeface="Times New Roman" panose="02020603050405020304" pitchFamily="18" charset="0"/>
              </a:rPr>
              <a:t> – </a:t>
            </a:r>
            <a:r>
              <a:rPr lang="pt-BR" altLang="pt-BR" sz="2800" dirty="0" err="1">
                <a:latin typeface="Times New Roman" panose="02020603050405020304" pitchFamily="18" charset="0"/>
              </a:rPr>
              <a:t>d</a:t>
            </a:r>
            <a:r>
              <a:rPr lang="pt-BR" altLang="pt-BR" sz="2800" baseline="-25000" dirty="0" err="1">
                <a:latin typeface="Times New Roman" panose="02020603050405020304" pitchFamily="18" charset="0"/>
              </a:rPr>
              <a:t>s</a:t>
            </a:r>
            <a:r>
              <a:rPr lang="pt-BR" altLang="pt-BR" sz="2800" dirty="0">
                <a:latin typeface="Times New Roman" panose="02020603050405020304" pitchFamily="18" charset="0"/>
              </a:rPr>
              <a:t> </a:t>
            </a:r>
          </a:p>
          <a:p>
            <a:pPr eaLnBrk="1" hangingPunct="1">
              <a:buFontTx/>
              <a:buChar char="•"/>
            </a:pPr>
            <a:endParaRPr lang="pt-BR" altLang="pt-BR" sz="2800" dirty="0">
              <a:latin typeface="Times New Roman" panose="02020603050405020304" pitchFamily="18" charset="0"/>
            </a:endParaRPr>
          </a:p>
          <a:p>
            <a:pPr eaLnBrk="1" hangingPunct="1"/>
            <a:r>
              <a:rPr lang="pt-BR" altLang="pt-BR" sz="2800" dirty="0">
                <a:latin typeface="Times New Roman" panose="02020603050405020304" pitchFamily="18" charset="0"/>
              </a:rPr>
              <a:t>  </a:t>
            </a:r>
          </a:p>
        </p:txBody>
      </p:sp>
    </p:spTree>
    <p:extLst>
      <p:ext uri="{BB962C8B-B14F-4D97-AF65-F5344CB8AC3E}">
        <p14:creationId xmlns:p14="http://schemas.microsoft.com/office/powerpoint/2010/main" val="14665292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Modelos de Desdobramento</a:t>
            </a:r>
          </a:p>
        </p:txBody>
      </p:sp>
      <p:sp>
        <p:nvSpPr>
          <p:cNvPr id="3" name="Espaço Reservado para Conteúdo 2"/>
          <p:cNvSpPr>
            <a:spLocks noGrp="1"/>
          </p:cNvSpPr>
          <p:nvPr>
            <p:ph idx="1"/>
          </p:nvPr>
        </p:nvSpPr>
        <p:spPr>
          <a:xfrm>
            <a:off x="436180" y="1150862"/>
            <a:ext cx="8229600" cy="4525963"/>
          </a:xfrm>
        </p:spPr>
        <p:txBody>
          <a:bodyPr/>
          <a:lstStyle/>
          <a:p>
            <a:r>
              <a:rPr lang="pt-BR" dirty="0"/>
              <a:t>Os itens não são cumulativos para: “aceitação de pena de morte”</a:t>
            </a:r>
          </a:p>
          <a:p>
            <a:endParaRPr lang="pt-BR" dirty="0"/>
          </a:p>
          <a:p>
            <a:endParaRPr lang="pt-BR" dirty="0"/>
          </a:p>
        </p:txBody>
      </p:sp>
      <p:graphicFrame>
        <p:nvGraphicFramePr>
          <p:cNvPr id="4" name="Objeto 3"/>
          <p:cNvGraphicFramePr>
            <a:graphicFrameLocks noChangeAspect="1"/>
          </p:cNvGraphicFramePr>
          <p:nvPr>
            <p:extLst/>
          </p:nvPr>
        </p:nvGraphicFramePr>
        <p:xfrm>
          <a:off x="79375" y="4221088"/>
          <a:ext cx="9082088" cy="1455737"/>
        </p:xfrm>
        <a:graphic>
          <a:graphicData uri="http://schemas.openxmlformats.org/presentationml/2006/ole">
            <mc:AlternateContent xmlns:mc="http://schemas.openxmlformats.org/markup-compatibility/2006">
              <mc:Choice xmlns:v="urn:schemas-microsoft-com:vml" Requires="v">
                <p:oleObj spid="_x0000_s17410" name="Bitmap Image" r:id="rId3" imgW="6830378" imgH="1095528" progId="PBrush">
                  <p:embed/>
                </p:oleObj>
              </mc:Choice>
              <mc:Fallback>
                <p:oleObj name="Bitmap Image" r:id="rId3" imgW="6830378" imgH="1095528" progId="PBrush">
                  <p:embed/>
                  <p:pic>
                    <p:nvPicPr>
                      <p:cNvPr id="4" name="Objeto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75" y="4221088"/>
                        <a:ext cx="9082088" cy="14557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
          <p:cNvSpPr txBox="1">
            <a:spLocks noChangeArrowheads="1"/>
          </p:cNvSpPr>
          <p:nvPr/>
        </p:nvSpPr>
        <p:spPr>
          <a:xfrm>
            <a:off x="477728" y="2204864"/>
            <a:ext cx="8229600" cy="2051249"/>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kumimoji="0" lang="pt-BR" sz="32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Clr>
                <a:schemeClr val="tx1"/>
              </a:buClr>
              <a:buFontTx/>
              <a:buNone/>
            </a:pPr>
            <a:r>
              <a:rPr lang="pt-BR" dirty="0"/>
              <a:t>		“</a:t>
            </a:r>
            <a:r>
              <a:rPr lang="pt-BR" b="1" dirty="0"/>
              <a:t>A pena de morte é errada, porém é necessária em nossa civilização imperfeita” </a:t>
            </a:r>
            <a:r>
              <a:rPr lang="pt-BR" dirty="0"/>
              <a:t>(com as seguintes categorias de repostas: fortemente discordo, discordo, concordo e fortemente concordo).</a:t>
            </a:r>
          </a:p>
          <a:p>
            <a:pPr>
              <a:buFontTx/>
              <a:buNone/>
            </a:pPr>
            <a:endParaRPr lang="pt-BR" dirty="0"/>
          </a:p>
        </p:txBody>
      </p:sp>
    </p:spTree>
    <p:extLst>
      <p:ext uri="{BB962C8B-B14F-4D97-AF65-F5344CB8AC3E}">
        <p14:creationId xmlns:p14="http://schemas.microsoft.com/office/powerpoint/2010/main" val="30744268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t>A volta...</a:t>
            </a:r>
            <a:endParaRPr lang="pt-BR" dirty="0"/>
          </a:p>
        </p:txBody>
      </p:sp>
      <p:pic>
        <p:nvPicPr>
          <p:cNvPr id="185348" name="Picture 4" descr="http://4.bp.blogspot.com/-nmONbNocNKM/TypzUlNYEcI/AAAAAAAADeY/mzkI5ofX_Hk/s1600/418795_246121995464307_100001995241088_580094_1588102337_n.jpg"/>
          <p:cNvPicPr>
            <a:picLocks noChangeAspect="1" noChangeArrowheads="1"/>
          </p:cNvPicPr>
          <p:nvPr/>
        </p:nvPicPr>
        <p:blipFill>
          <a:blip r:embed="rId2"/>
          <a:srcRect/>
          <a:stretch>
            <a:fillRect/>
          </a:stretch>
        </p:blipFill>
        <p:spPr bwMode="auto">
          <a:xfrm>
            <a:off x="155575" y="1037312"/>
            <a:ext cx="6416689" cy="5249208"/>
          </a:xfrm>
          <a:prstGeom prst="rect">
            <a:avLst/>
          </a:prstGeom>
          <a:noFill/>
        </p:spPr>
      </p:pic>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827584" y="692696"/>
            <a:ext cx="7416824" cy="5262979"/>
          </a:xfrm>
          <a:prstGeom prst="rect">
            <a:avLst/>
          </a:prstGeom>
        </p:spPr>
        <p:txBody>
          <a:bodyPr wrap="square">
            <a:spAutoFit/>
          </a:bodyPr>
          <a:lstStyle/>
          <a:p>
            <a:r>
              <a:rPr lang="pt-BR" sz="2400" dirty="0"/>
              <a:t>Neste item, as pessoas que têm sentimentos fortes contra pena de morte, ou baixa aceitação de pena de morte, escolheriam a categoria de resposta “fortemente discordo”, porque não concordariam com parte do item “porém é necessária”. Pessoas que têm sentimentos de nível médio tenderiam a concordar com este item, isto é, escolheriam a categoria “concordo”; entretanto, pessoas cujo grau de aceitação de pena de morte é alto optariam pela categoria de resposta “fortemente discordo”, pois não concordariam com parte do item “pena de morte é errada”. Nota-se que neste item níveis altos do construto “aceitação de pena de morte” não implicam categorias de respostas mais altas, como ocorre com os modelos cumulativos. </a:t>
            </a:r>
          </a:p>
        </p:txBody>
      </p:sp>
    </p:spTree>
    <p:extLst>
      <p:ext uri="{BB962C8B-B14F-4D97-AF65-F5344CB8AC3E}">
        <p14:creationId xmlns:p14="http://schemas.microsoft.com/office/powerpoint/2010/main" val="1086233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049504" y="908720"/>
            <a:ext cx="6618839" cy="4735655"/>
          </a:xfrm>
          <a:prstGeom prst="rect">
            <a:avLst/>
          </a:prstGeom>
        </p:spPr>
      </p:pic>
    </p:spTree>
    <p:extLst>
      <p:ext uri="{BB962C8B-B14F-4D97-AF65-F5344CB8AC3E}">
        <p14:creationId xmlns:p14="http://schemas.microsoft.com/office/powerpoint/2010/main" val="320928955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SIMULAÇÃO DE RESPOSTAS 0 e 1</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grpSp>
        <p:nvGrpSpPr>
          <p:cNvPr id="10" name="Group 23"/>
          <p:cNvGrpSpPr/>
          <p:nvPr/>
        </p:nvGrpSpPr>
        <p:grpSpPr>
          <a:xfrm>
            <a:off x="1547664" y="0"/>
            <a:ext cx="2057400" cy="2708434"/>
            <a:chOff x="6324600" y="1587511"/>
            <a:chExt cx="2057400" cy="2708434"/>
          </a:xfrm>
        </p:grpSpPr>
        <p:sp>
          <p:nvSpPr>
            <p:cNvPr id="1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1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6</a:t>
              </a:r>
            </a:p>
          </p:txBody>
        </p:sp>
        <p:sp>
          <p:nvSpPr>
            <p:cNvPr id="1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2300" b="1" spc="60" dirty="0">
                  <a:solidFill>
                    <a:schemeClr val="bg1"/>
                  </a:solidFill>
                  <a:effectLst>
                    <a:outerShdw blurRad="50800" dist="25400" dir="5400000" algn="t" rotWithShape="0">
                      <a:prstClr val="black">
                        <a:alpha val="15000"/>
                      </a:prstClr>
                    </a:outerShdw>
                  </a:effectLst>
                </a:rPr>
                <a:t>SIMULANDO DADOS</a:t>
              </a:r>
              <a:endParaRPr lang="pt-BR" sz="2300" b="1" dirty="0">
                <a:solidFill>
                  <a:schemeClr val="bg1"/>
                </a:solidFill>
                <a:effectLst>
                  <a:outerShdw blurRad="50800" dist="25400" dir="5400000" algn="t" rotWithShape="0">
                    <a:prstClr val="black">
                      <a:alpha val="15000"/>
                    </a:prstClr>
                  </a:outerShdw>
                </a:effectLst>
              </a:endParaRPr>
            </a:p>
          </p:txBody>
        </p:sp>
      </p:grpSp>
      <p:sp>
        <p:nvSpPr>
          <p:cNvPr id="17" name="Rectangle 3"/>
          <p:cNvSpPr txBox="1">
            <a:spLocks noChangeArrowheads="1"/>
          </p:cNvSpPr>
          <p:nvPr/>
        </p:nvSpPr>
        <p:spPr>
          <a:xfrm>
            <a:off x="1370338" y="2365121"/>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r>
              <a:rPr lang="pt-BR" sz="2400" dirty="0"/>
              <a:t>      </a:t>
            </a:r>
            <a:r>
              <a:rPr lang="pt-BR" sz="2200" dirty="0"/>
              <a:t>Na Estatística quase sempre supõe-se que os dados seguem alguma equação ou distribuição, que pode ter um ou mais parâmetros.</a:t>
            </a:r>
          </a:p>
          <a:p>
            <a:pPr algn="just"/>
            <a:r>
              <a:rPr lang="pt-BR" sz="2200" dirty="0"/>
              <a:t>Precisamos tentar descobrir (estimar) quais são estes parâmetros (</a:t>
            </a:r>
            <a:r>
              <a:rPr lang="pt-BR" sz="2200" dirty="0" err="1"/>
              <a:t>ie</a:t>
            </a:r>
            <a:r>
              <a:rPr lang="pt-BR" sz="2200" dirty="0"/>
              <a:t>, seus valores).</a:t>
            </a:r>
          </a:p>
          <a:p>
            <a:pPr algn="just"/>
            <a:r>
              <a:rPr lang="pt-BR" sz="2200" dirty="0"/>
              <a:t>Propomos formas de estimar os parâmetros (estimadores), mas precisamos ver se estes estimadores realmente se aproximam dos verdadeiros valores dos parâmetros.</a:t>
            </a:r>
          </a:p>
          <a:p>
            <a:pPr algn="just"/>
            <a:r>
              <a:rPr lang="pt-BR" sz="2200" dirty="0"/>
              <a:t>Pode haver mais de um estimador,, aí temos que selecionar o melhor.</a:t>
            </a:r>
          </a:p>
        </p:txBody>
      </p:sp>
    </p:spTree>
    <p:extLst>
      <p:ext uri="{BB962C8B-B14F-4D97-AF65-F5344CB8AC3E}">
        <p14:creationId xmlns:p14="http://schemas.microsoft.com/office/powerpoint/2010/main" val="319212740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Elipse 1"/>
              <p:cNvSpPr/>
              <p:nvPr/>
            </p:nvSpPr>
            <p:spPr>
              <a:xfrm>
                <a:off x="882959" y="620688"/>
                <a:ext cx="2376264" cy="18722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t>Modelo </a:t>
                </a:r>
                <a14:m>
                  <m:oMath xmlns:m="http://schemas.openxmlformats.org/officeDocument/2006/math">
                    <m:r>
                      <a:rPr lang="pt-BR" sz="3200" b="0" i="1" smtClean="0">
                        <a:latin typeface="Cambria Math" panose="02040503050406030204" pitchFamily="18" charset="0"/>
                      </a:rPr>
                      <m:t>𝑎</m:t>
                    </m:r>
                    <m:r>
                      <a:rPr lang="pt-BR" sz="3200" b="0" i="1" smtClean="0">
                        <a:latin typeface="Cambria Math" panose="02040503050406030204" pitchFamily="18" charset="0"/>
                      </a:rPr>
                      <m:t>,</m:t>
                    </m:r>
                    <m:r>
                      <a:rPr lang="pt-BR" sz="3200" b="0" i="1" smtClean="0">
                        <a:latin typeface="Cambria Math" panose="02040503050406030204" pitchFamily="18" charset="0"/>
                      </a:rPr>
                      <m:t>𝑏</m:t>
                    </m:r>
                    <m:r>
                      <a:rPr lang="pt-BR" sz="3200" b="0" i="1" smtClean="0">
                        <a:latin typeface="Cambria Math" panose="02040503050406030204" pitchFamily="18" charset="0"/>
                      </a:rPr>
                      <m:t>,</m:t>
                    </m:r>
                    <m:r>
                      <a:rPr lang="pt-BR" sz="3200" b="0" i="1" smtClean="0">
                        <a:latin typeface="Cambria Math" panose="02040503050406030204" pitchFamily="18" charset="0"/>
                      </a:rPr>
                      <m:t>𝑐</m:t>
                    </m:r>
                  </m:oMath>
                </a14:m>
                <a:endParaRPr lang="pt-BR" sz="3200" dirty="0"/>
              </a:p>
            </p:txBody>
          </p:sp>
        </mc:Choice>
        <mc:Fallback xmlns="">
          <p:sp>
            <p:nvSpPr>
              <p:cNvPr id="2" name="Elipse 1"/>
              <p:cNvSpPr>
                <a:spLocks noRot="1" noChangeAspect="1" noMove="1" noResize="1" noEditPoints="1" noAdjustHandles="1" noChangeArrowheads="1" noChangeShapeType="1" noTextEdit="1"/>
              </p:cNvSpPr>
              <p:nvPr/>
            </p:nvSpPr>
            <p:spPr>
              <a:xfrm>
                <a:off x="882959" y="620688"/>
                <a:ext cx="2376264" cy="1872208"/>
              </a:xfrm>
              <a:prstGeom prst="ellipse">
                <a:avLst/>
              </a:prstGeom>
              <a:blipFill rotWithShape="0">
                <a:blip r:embed="rId2"/>
                <a:stretch>
                  <a:fillRect/>
                </a:stretch>
              </a:blipFill>
            </p:spPr>
            <p:txBody>
              <a:bodyPr/>
              <a:lstStyle/>
              <a:p>
                <a:r>
                  <a:rPr lang="pt-BR">
                    <a:noFill/>
                  </a:rPr>
                  <a:t> </a:t>
                </a:r>
              </a:p>
            </p:txBody>
          </p:sp>
        </mc:Fallback>
      </mc:AlternateContent>
      <p:sp>
        <p:nvSpPr>
          <p:cNvPr id="3" name="Retângulo de cantos arredondados 2"/>
          <p:cNvSpPr/>
          <p:nvPr/>
        </p:nvSpPr>
        <p:spPr>
          <a:xfrm>
            <a:off x="6156176" y="620688"/>
            <a:ext cx="2376264" cy="18722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b="1" dirty="0"/>
              <a:t>DADOS</a:t>
            </a:r>
          </a:p>
        </p:txBody>
      </p:sp>
      <mc:AlternateContent xmlns:mc="http://schemas.openxmlformats.org/markup-compatibility/2006" xmlns:a14="http://schemas.microsoft.com/office/drawing/2010/main">
        <mc:Choice Requires="a14">
          <p:sp>
            <p:nvSpPr>
              <p:cNvPr id="4" name="Triângulo isósceles 3"/>
              <p:cNvSpPr/>
              <p:nvPr/>
            </p:nvSpPr>
            <p:spPr>
              <a:xfrm>
                <a:off x="3455876" y="2524990"/>
                <a:ext cx="2448272" cy="22322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400" b="1" dirty="0"/>
                  <a:t>ESTIMADORES</a:t>
                </a:r>
              </a:p>
              <a:p>
                <a:pPr algn="ctr"/>
                <a14:m>
                  <m:oMathPara xmlns:m="http://schemas.openxmlformats.org/officeDocument/2006/math">
                    <m:oMathParaPr>
                      <m:jc m:val="centerGroup"/>
                    </m:oMathParaPr>
                    <m:oMath xmlns:m="http://schemas.openxmlformats.org/officeDocument/2006/math">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𝒂</m:t>
                          </m:r>
                        </m:e>
                      </m:acc>
                      <m:r>
                        <a:rPr lang="pt-BR" sz="2400" b="1" i="1" smtClean="0">
                          <a:latin typeface="Cambria Math" panose="02040503050406030204" pitchFamily="18" charset="0"/>
                        </a:rPr>
                        <m:t>,</m:t>
                      </m:r>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𝒃</m:t>
                          </m:r>
                        </m:e>
                      </m:acc>
                      <m:r>
                        <a:rPr lang="pt-BR" sz="2400" b="1" i="1" smtClean="0">
                          <a:latin typeface="Cambria Math" panose="02040503050406030204" pitchFamily="18" charset="0"/>
                        </a:rPr>
                        <m:t>, </m:t>
                      </m:r>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𝒄</m:t>
                          </m:r>
                        </m:e>
                      </m:acc>
                    </m:oMath>
                  </m:oMathPara>
                </a14:m>
                <a:endParaRPr lang="pt-BR" sz="2400" b="1" dirty="0"/>
              </a:p>
            </p:txBody>
          </p:sp>
        </mc:Choice>
        <mc:Fallback xmlns="">
          <p:sp>
            <p:nvSpPr>
              <p:cNvPr id="4" name="Triângulo isósceles 3"/>
              <p:cNvSpPr>
                <a:spLocks noRot="1" noChangeAspect="1" noMove="1" noResize="1" noEditPoints="1" noAdjustHandles="1" noChangeArrowheads="1" noChangeShapeType="1" noTextEdit="1"/>
              </p:cNvSpPr>
              <p:nvPr/>
            </p:nvSpPr>
            <p:spPr>
              <a:xfrm>
                <a:off x="3455876" y="2524990"/>
                <a:ext cx="2448272" cy="2232248"/>
              </a:xfrm>
              <a:prstGeom prst="triangle">
                <a:avLst/>
              </a:prstGeom>
              <a:blipFill rotWithShape="0">
                <a:blip r:embed="rId3"/>
                <a:stretch>
                  <a:fillRect/>
                </a:stretch>
              </a:blipFill>
            </p:spPr>
            <p:txBody>
              <a:bodyPr/>
              <a:lstStyle/>
              <a:p>
                <a:r>
                  <a:rPr lang="pt-BR">
                    <a:noFill/>
                  </a:rPr>
                  <a:t> </a:t>
                </a:r>
              </a:p>
            </p:txBody>
          </p:sp>
        </mc:Fallback>
      </mc:AlternateContent>
      <p:cxnSp>
        <p:nvCxnSpPr>
          <p:cNvPr id="6" name="Conector de seta reta 5"/>
          <p:cNvCxnSpPr/>
          <p:nvPr/>
        </p:nvCxnSpPr>
        <p:spPr>
          <a:xfrm flipH="1">
            <a:off x="5436096" y="2492896"/>
            <a:ext cx="1908212" cy="136815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 name="Conector de seta reta 7"/>
          <p:cNvCxnSpPr/>
          <p:nvPr/>
        </p:nvCxnSpPr>
        <p:spPr>
          <a:xfrm>
            <a:off x="3455876" y="1412776"/>
            <a:ext cx="244827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0" name="Conector de seta reta 9"/>
          <p:cNvCxnSpPr/>
          <p:nvPr/>
        </p:nvCxnSpPr>
        <p:spPr>
          <a:xfrm flipH="1" flipV="1">
            <a:off x="2440495" y="2478628"/>
            <a:ext cx="1296144" cy="172819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2" name="CaixaDeTexto 11"/>
          <p:cNvSpPr txBox="1"/>
          <p:nvPr/>
        </p:nvSpPr>
        <p:spPr>
          <a:xfrm>
            <a:off x="611560" y="5039694"/>
            <a:ext cx="8136904" cy="1200329"/>
          </a:xfrm>
          <a:prstGeom prst="rect">
            <a:avLst/>
          </a:prstGeom>
          <a:noFill/>
        </p:spPr>
        <p:txBody>
          <a:bodyPr wrap="square" rtlCol="0">
            <a:spAutoFit/>
          </a:bodyPr>
          <a:lstStyle/>
          <a:p>
            <a:r>
              <a:rPr lang="pt-BR" sz="2400" b="1" dirty="0"/>
              <a:t>Será que os estimadores conseguiram reproduzir valores próximos dos parâmetros?  Para sabermos disso temos que conhecer os parâmetros, ou seja, simular dados.</a:t>
            </a:r>
          </a:p>
        </p:txBody>
      </p:sp>
    </p:spTree>
    <p:extLst>
      <p:ext uri="{BB962C8B-B14F-4D97-AF65-F5344CB8AC3E}">
        <p14:creationId xmlns:p14="http://schemas.microsoft.com/office/powerpoint/2010/main" val="10853087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251520" y="332656"/>
            <a:ext cx="8712968" cy="584775"/>
          </a:xfrm>
          <a:prstGeom prst="rect">
            <a:avLst/>
          </a:prstGeom>
          <a:noFill/>
        </p:spPr>
        <p:txBody>
          <a:bodyPr wrap="square" rtlCol="0">
            <a:spAutoFit/>
          </a:bodyPr>
          <a:lstStyle/>
          <a:p>
            <a:r>
              <a:rPr lang="pt-BR" sz="3200" b="1" dirty="0"/>
              <a:t>Gerando dados Bernoulli (p), </a:t>
            </a:r>
            <a:r>
              <a:rPr lang="pt-BR" sz="3200" b="1" dirty="0" err="1"/>
              <a:t>ie</a:t>
            </a:r>
            <a:r>
              <a:rPr lang="pt-BR" sz="3200" b="1" dirty="0"/>
              <a:t>, 01</a:t>
            </a:r>
          </a:p>
        </p:txBody>
      </p:sp>
      <p:sp>
        <p:nvSpPr>
          <p:cNvPr id="3" name="CaixaDeTexto 2"/>
          <p:cNvSpPr txBox="1"/>
          <p:nvPr/>
        </p:nvSpPr>
        <p:spPr>
          <a:xfrm>
            <a:off x="467544" y="1340768"/>
            <a:ext cx="8136904" cy="5632311"/>
          </a:xfrm>
          <a:prstGeom prst="rect">
            <a:avLst/>
          </a:prstGeom>
          <a:noFill/>
        </p:spPr>
        <p:txBody>
          <a:bodyPr wrap="square" rtlCol="0">
            <a:spAutoFit/>
          </a:bodyPr>
          <a:lstStyle/>
          <a:p>
            <a:pPr marL="285750" indent="-285750">
              <a:buFont typeface="Arial" panose="020B0604020202020204" pitchFamily="34" charset="0"/>
              <a:buChar char="•"/>
            </a:pPr>
            <a:r>
              <a:rPr lang="pt-BR" sz="2400" dirty="0"/>
              <a:t>Os programas geram valores </a:t>
            </a:r>
            <a:r>
              <a:rPr lang="pt-BR" sz="2400" dirty="0" err="1"/>
              <a:t>pseudo-aleatórios</a:t>
            </a:r>
            <a:r>
              <a:rPr lang="pt-BR" sz="2400" dirty="0"/>
              <a:t> X ~ </a:t>
            </a:r>
            <a:r>
              <a:rPr lang="pt-BR" sz="2400" dirty="0" err="1"/>
              <a:t>U</a:t>
            </a:r>
            <a:r>
              <a:rPr lang="pt-BR" sz="2400" baseline="-25000" dirty="0" err="1"/>
              <a:t>c</a:t>
            </a:r>
            <a:r>
              <a:rPr lang="pt-BR" sz="2400" dirty="0"/>
              <a:t>[0.1)</a:t>
            </a:r>
          </a:p>
          <a:p>
            <a:pPr marL="285750" indent="-285750">
              <a:buFont typeface="Arial" panose="020B0604020202020204" pitchFamily="34" charset="0"/>
              <a:buChar char="•"/>
            </a:pPr>
            <a:r>
              <a:rPr lang="pt-BR" sz="2400" dirty="0"/>
              <a:t>Para construir uma v.a. </a:t>
            </a:r>
            <a:r>
              <a:rPr lang="pt-BR" sz="2400" i="1" dirty="0" err="1"/>
              <a:t>U</a:t>
            </a:r>
            <a:r>
              <a:rPr lang="pt-BR" sz="2400" i="1" baseline="-25000" dirty="0" err="1"/>
              <a:t>ji</a:t>
            </a:r>
            <a:r>
              <a:rPr lang="pt-BR" sz="2400" i="1" dirty="0" err="1"/>
              <a:t>~Bernoulli</a:t>
            </a:r>
            <a:r>
              <a:rPr lang="pt-BR" sz="2400" i="1" dirty="0"/>
              <a:t>(p)</a:t>
            </a:r>
            <a:r>
              <a:rPr lang="pt-BR" sz="2400" dirty="0"/>
              <a:t>, isto é,  </a:t>
            </a:r>
          </a:p>
          <a:p>
            <a:pPr marL="285750" indent="-285750" algn="ctr">
              <a:buFont typeface="Arial" panose="020B0604020202020204" pitchFamily="34" charset="0"/>
              <a:buChar char="•"/>
            </a:pPr>
            <a:r>
              <a:rPr lang="pt-BR" sz="2400" dirty="0"/>
              <a:t>P(</a:t>
            </a:r>
            <a:r>
              <a:rPr lang="pt-BR" sz="2400" i="1" dirty="0" err="1"/>
              <a:t>U</a:t>
            </a:r>
            <a:r>
              <a:rPr lang="pt-BR" sz="2400" i="1" baseline="-25000" dirty="0" err="1"/>
              <a:t>ji</a:t>
            </a:r>
            <a:r>
              <a:rPr lang="pt-BR" sz="2400" i="1" dirty="0"/>
              <a:t>=1) = p    e   </a:t>
            </a:r>
            <a:r>
              <a:rPr lang="pt-BR" sz="2400" dirty="0"/>
              <a:t>P(</a:t>
            </a:r>
            <a:r>
              <a:rPr lang="pt-BR" sz="2400" i="1" dirty="0" err="1"/>
              <a:t>U</a:t>
            </a:r>
            <a:r>
              <a:rPr lang="pt-BR" sz="2400" i="1" baseline="-25000" dirty="0" err="1"/>
              <a:t>ji</a:t>
            </a:r>
            <a:r>
              <a:rPr lang="pt-BR" sz="2400" i="1" dirty="0"/>
              <a:t>=0) = 1-p </a:t>
            </a:r>
          </a:p>
          <a:p>
            <a:pPr marL="285750" indent="-285750" algn="just">
              <a:buFont typeface="Arial" panose="020B0604020202020204" pitchFamily="34" charset="0"/>
              <a:buChar char="•"/>
            </a:pPr>
            <a:r>
              <a:rPr lang="pt-BR" sz="2400" dirty="0"/>
              <a:t>Temos que gerar X ~ </a:t>
            </a:r>
            <a:r>
              <a:rPr lang="pt-BR" sz="2400" dirty="0" err="1"/>
              <a:t>U</a:t>
            </a:r>
            <a:r>
              <a:rPr lang="pt-BR" sz="2400" baseline="-25000" dirty="0" err="1"/>
              <a:t>c</a:t>
            </a:r>
            <a:r>
              <a:rPr lang="pt-BR" sz="2400" baseline="-25000" dirty="0"/>
              <a:t> </a:t>
            </a:r>
            <a:r>
              <a:rPr lang="pt-BR" sz="2400" dirty="0"/>
              <a:t>(0,1) e adotar a regra: </a:t>
            </a:r>
          </a:p>
          <a:p>
            <a:pPr algn="ctr"/>
            <a:r>
              <a:rPr lang="pt-BR" sz="2400" dirty="0"/>
              <a:t>se X&lt;p então U=1, caso contrário U=0.</a:t>
            </a:r>
          </a:p>
          <a:p>
            <a:pPr algn="just"/>
            <a:endParaRPr lang="pt-BR" sz="2400" dirty="0"/>
          </a:p>
          <a:p>
            <a:pPr algn="just"/>
            <a:r>
              <a:rPr lang="pt-BR" sz="2400" dirty="0"/>
              <a:t>No caso da TRI, a probabilidade p será dada pelo ML, de forma que haverá um para cada indivíduo e cada item.</a:t>
            </a:r>
          </a:p>
          <a:p>
            <a:pPr algn="just"/>
            <a:endParaRPr lang="pt-BR" sz="2400" dirty="0"/>
          </a:p>
          <a:p>
            <a:pPr algn="just"/>
            <a:r>
              <a:rPr lang="pt-BR" sz="2400" dirty="0"/>
              <a:t>Ver planilha TRI-Respostas para gerar por FÓRMULAS.</a:t>
            </a:r>
          </a:p>
          <a:p>
            <a:pPr algn="just"/>
            <a:endParaRPr lang="pt-BR" sz="2400" dirty="0"/>
          </a:p>
          <a:p>
            <a:pPr algn="just"/>
            <a:r>
              <a:rPr lang="pt-BR" sz="2400" dirty="0"/>
              <a:t>Ver planilha GerarDados.xlsm para gerar por MACRO.</a:t>
            </a:r>
          </a:p>
          <a:p>
            <a:pPr algn="just"/>
            <a:endParaRPr lang="pt-BR" sz="2400" dirty="0"/>
          </a:p>
          <a:p>
            <a:pPr marL="285750" indent="-285750" algn="just">
              <a:buFont typeface="Arial" panose="020B0604020202020204" pitchFamily="34" charset="0"/>
              <a:buChar char="•"/>
            </a:pPr>
            <a:endParaRPr lang="pt-BR" sz="2400" dirty="0"/>
          </a:p>
          <a:p>
            <a:pPr marL="285750" indent="-285750" algn="just">
              <a:buFont typeface="Arial" panose="020B0604020202020204" pitchFamily="34" charset="0"/>
              <a:buChar char="•"/>
            </a:pPr>
            <a:endParaRPr lang="pt-BR" sz="2400" dirty="0"/>
          </a:p>
        </p:txBody>
      </p:sp>
    </p:spTree>
    <p:extLst>
      <p:ext uri="{BB962C8B-B14F-4D97-AF65-F5344CB8AC3E}">
        <p14:creationId xmlns:p14="http://schemas.microsoft.com/office/powerpoint/2010/main" val="5674363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673696" y="0"/>
            <a:ext cx="2057400" cy="2708434"/>
            <a:chOff x="762000" y="1557456"/>
            <a:chExt cx="2057400" cy="2708434"/>
          </a:xfrm>
        </p:grpSpPr>
        <p:sp>
          <p:nvSpPr>
            <p:cNvPr id="4" name="Oval 5"/>
            <p:cNvSpPr/>
            <p:nvPr/>
          </p:nvSpPr>
          <p:spPr>
            <a:xfrm>
              <a:off x="762000" y="1946209"/>
              <a:ext cx="2057400" cy="2057400"/>
            </a:xfrm>
            <a:prstGeom prst="ellipse">
              <a:avLst/>
            </a:prstGeom>
            <a:gradFill flip="none" rotWithShape="1">
              <a:gsLst>
                <a:gs pos="3000">
                  <a:srgbClr val="FF0000"/>
                </a:gs>
                <a:gs pos="0">
                  <a:schemeClr val="accent5">
                    <a:lumMod val="75000"/>
                  </a:schemeClr>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5" name="TextBox 13"/>
            <p:cNvSpPr txBox="1"/>
            <p:nvPr/>
          </p:nvSpPr>
          <p:spPr>
            <a:xfrm>
              <a:off x="1121392" y="1557456"/>
              <a:ext cx="1219200" cy="2708434"/>
            </a:xfrm>
            <a:prstGeom prst="rect">
              <a:avLst/>
            </a:prstGeom>
            <a:noFill/>
          </p:spPr>
          <p:txBody>
            <a:bodyPr wrap="square" rtlCol="0">
              <a:spAutoFit/>
            </a:bodyPr>
            <a:lstStyle/>
            <a:p>
              <a:r>
                <a:rPr lang="pt-BR" sz="17000" b="1" dirty="0">
                  <a:solidFill>
                    <a:schemeClr val="accent6">
                      <a:lumMod val="75000"/>
                    </a:schemeClr>
                  </a:solidFill>
                  <a:latin typeface="+mj-lt"/>
                  <a:cs typeface="Arial" pitchFamily="34" charset="0"/>
                </a:rPr>
                <a:t>6</a:t>
              </a:r>
            </a:p>
          </p:txBody>
        </p:sp>
        <p:sp>
          <p:nvSpPr>
            <p:cNvPr id="6" name="TextBox 12"/>
            <p:cNvSpPr txBox="1"/>
            <p:nvPr/>
          </p:nvSpPr>
          <p:spPr>
            <a:xfrm>
              <a:off x="823416" y="2666898"/>
              <a:ext cx="1931160" cy="683264"/>
            </a:xfrm>
            <a:prstGeom prst="rect">
              <a:avLst/>
            </a:prstGeom>
            <a:noFill/>
          </p:spPr>
          <p:txBody>
            <a:bodyPr wrap="square" rtlCol="0">
              <a:normAutofit/>
            </a:bodyPr>
            <a:lstStyle/>
            <a:p>
              <a:pPr algn="ctr">
                <a:lnSpc>
                  <a:spcPct val="80000"/>
                </a:lnSpc>
              </a:pPr>
              <a:r>
                <a:rPr lang="pt-BR" sz="2400" b="1" spc="60" dirty="0">
                  <a:solidFill>
                    <a:schemeClr val="bg1"/>
                  </a:solidFill>
                  <a:effectLst>
                    <a:outerShdw blurRad="50800" dist="25400" dir="5400000" algn="t" rotWithShape="0">
                      <a:prstClr val="black">
                        <a:alpha val="15000"/>
                      </a:prstClr>
                    </a:outerShdw>
                  </a:effectLst>
                </a:rPr>
                <a:t>Estimação</a:t>
              </a:r>
              <a:endParaRPr lang="pt-BR" sz="2400" b="1" dirty="0">
                <a:solidFill>
                  <a:schemeClr val="bg1"/>
                </a:solidFill>
                <a:effectLst>
                  <a:outerShdw blurRad="50800" dist="25400" dir="5400000" algn="t" rotWithShape="0">
                    <a:prstClr val="black">
                      <a:alpha val="15000"/>
                    </a:prstClr>
                  </a:outerShdw>
                </a:effectLst>
              </a:endParaRPr>
            </a:p>
          </p:txBody>
        </p:sp>
        <p:sp>
          <p:nvSpPr>
            <p:cNvPr id="7" name="Oval 18"/>
            <p:cNvSpPr/>
            <p:nvPr/>
          </p:nvSpPr>
          <p:spPr>
            <a:xfrm>
              <a:off x="997260" y="2133358"/>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       </a:t>
              </a:r>
            </a:p>
          </p:txBody>
        </p:sp>
      </p:grpSp>
      <p:pic>
        <p:nvPicPr>
          <p:cNvPr id="9" name="Imagem 8" descr="professor.jpg"/>
          <p:cNvPicPr>
            <a:picLocks noChangeAspect="1"/>
          </p:cNvPicPr>
          <p:nvPr/>
        </p:nvPicPr>
        <p:blipFill>
          <a:blip r:embed="rId2" cstate="print"/>
          <a:stretch>
            <a:fillRect/>
          </a:stretch>
        </p:blipFill>
        <p:spPr>
          <a:xfrm>
            <a:off x="5940152" y="188640"/>
            <a:ext cx="2800350" cy="1628775"/>
          </a:xfrm>
          <a:prstGeom prst="rect">
            <a:avLst/>
          </a:prstGeom>
        </p:spPr>
      </p:pic>
      <p:sp>
        <p:nvSpPr>
          <p:cNvPr id="8" name="CaixaDeTexto 7"/>
          <p:cNvSpPr txBox="1"/>
          <p:nvPr/>
        </p:nvSpPr>
        <p:spPr>
          <a:xfrm>
            <a:off x="467544" y="2591850"/>
            <a:ext cx="4608512" cy="2677656"/>
          </a:xfrm>
          <a:prstGeom prst="rect">
            <a:avLst/>
          </a:prstGeom>
          <a:noFill/>
        </p:spPr>
        <p:txBody>
          <a:bodyPr wrap="square" rtlCol="0">
            <a:spAutoFit/>
          </a:bodyPr>
          <a:lstStyle/>
          <a:p>
            <a:pPr algn="just"/>
            <a:r>
              <a:rPr lang="pt-BR" sz="2400" dirty="0"/>
              <a:t>O processo de estimação é feito por máxima verossimilhança com apoio da estatística bayesiana.  Basicamente, precisamos construir a função de verossimilhança e encontrar os valores que maximizam essa verossimilhança.</a:t>
            </a:r>
            <a:endParaRPr lang="pt-BR" sz="2000" dirty="0"/>
          </a:p>
        </p:txBody>
      </p:sp>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080" y="1797033"/>
            <a:ext cx="3667125" cy="3962400"/>
          </a:xfrm>
          <a:prstGeom prst="rect">
            <a:avLst/>
          </a:prstGeom>
        </p:spPr>
      </p:pic>
    </p:spTree>
    <p:extLst>
      <p:ext uri="{BB962C8B-B14F-4D97-AF65-F5344CB8AC3E}">
        <p14:creationId xmlns:p14="http://schemas.microsoft.com/office/powerpoint/2010/main" val="3718018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248480" y="2530871"/>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sp>
        <p:nvSpPr>
          <p:cNvPr id="3" name="TextBox 2"/>
          <p:cNvSpPr txBox="1"/>
          <p:nvPr/>
        </p:nvSpPr>
        <p:spPr>
          <a:xfrm>
            <a:off x="1331640" y="548680"/>
            <a:ext cx="7391401" cy="5688632"/>
          </a:xfrm>
          <a:prstGeom prst="rect">
            <a:avLst/>
          </a:prstGeom>
          <a:noFill/>
        </p:spPr>
        <p:txBody>
          <a:bodyPr wrap="square" rtlCol="0">
            <a:normAutofit fontScale="77500" lnSpcReduction="20000"/>
          </a:bodyPr>
          <a:lstStyle/>
          <a:p>
            <a:pPr marL="514350" indent="-514350">
              <a:buFontTx/>
              <a:buAutoNum type="arabicParenR"/>
            </a:pPr>
            <a:r>
              <a:rPr lang="en-US" sz="2800" b="1" dirty="0" err="1">
                <a:solidFill>
                  <a:prstClr val="black">
                    <a:lumMod val="50000"/>
                    <a:lumOff val="50000"/>
                  </a:prstClr>
                </a:solidFill>
              </a:rPr>
              <a:t>Definir</a:t>
            </a:r>
            <a:r>
              <a:rPr lang="en-US" sz="2800" b="1" dirty="0">
                <a:solidFill>
                  <a:prstClr val="black">
                    <a:lumMod val="50000"/>
                    <a:lumOff val="50000"/>
                  </a:prstClr>
                </a:solidFill>
              </a:rPr>
              <a:t> a </a:t>
            </a:r>
            <a:r>
              <a:rPr sz="2800" b="1" dirty="0">
                <a:solidFill>
                  <a:prstClr val="black">
                    <a:lumMod val="50000"/>
                    <a:lumOff val="50000"/>
                  </a:prstClr>
                </a:solidFill>
              </a:rPr>
              <a:t>Variável resposta</a:t>
            </a: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r>
              <a:rPr lang="pt-BR" sz="2800" b="1" dirty="0">
                <a:solidFill>
                  <a:prstClr val="black">
                    <a:lumMod val="50000"/>
                    <a:lumOff val="50000"/>
                  </a:prstClr>
                </a:solidFill>
              </a:rPr>
              <a:t>onde </a:t>
            </a:r>
          </a:p>
          <a:p>
            <a:pPr lvl="1"/>
            <a:endParaRPr sz="2800" b="1" dirty="0">
              <a:solidFill>
                <a:prstClr val="black">
                  <a:lumMod val="50000"/>
                  <a:lumOff val="50000"/>
                </a:prstClr>
              </a:solidFill>
            </a:endParaRPr>
          </a:p>
          <a:p>
            <a:pPr marL="457200" indent="-457200">
              <a:buFontTx/>
              <a:buAutoNum type="arabicParenR"/>
            </a:pPr>
            <a:r>
              <a:rPr sz="2800" b="1" dirty="0">
                <a:solidFill>
                  <a:prstClr val="black">
                    <a:lumMod val="50000"/>
                    <a:lumOff val="50000"/>
                  </a:prstClr>
                </a:solidFill>
              </a:rPr>
              <a:t>Supor uma determinada distribuição para a habilidade dos respondentes</a:t>
            </a:r>
          </a:p>
          <a:p>
            <a:pPr marL="457200" indent="-457200">
              <a:buFontTx/>
              <a:buAutoNum type="arabicParenR"/>
            </a:pPr>
            <a:endParaRPr lang="pt-BR" sz="2800" b="1" dirty="0">
              <a:solidFill>
                <a:prstClr val="black">
                  <a:lumMod val="50000"/>
                  <a:lumOff val="50000"/>
                </a:prstClr>
              </a:solidFill>
            </a:endParaRPr>
          </a:p>
          <a:p>
            <a:r>
              <a:rPr lang="pt-BR" sz="2800" b="1" dirty="0">
                <a:solidFill>
                  <a:prstClr val="black">
                    <a:lumMod val="50000"/>
                    <a:lumOff val="50000"/>
                  </a:prstClr>
                </a:solidFill>
              </a:rPr>
              <a:t>                                                                                 </a:t>
            </a:r>
          </a:p>
          <a:p>
            <a:pPr marL="457200" indent="-457200">
              <a:buFontTx/>
              <a:buAutoNum type="arabicParenR"/>
            </a:pPr>
            <a:endParaRPr lang="pt-BR" sz="2800" b="1" dirty="0">
              <a:solidFill>
                <a:prstClr val="black">
                  <a:lumMod val="50000"/>
                  <a:lumOff val="50000"/>
                </a:prstClr>
              </a:solidFill>
            </a:endParaRPr>
          </a:p>
          <a:p>
            <a:r>
              <a:rPr lang="pt-BR" sz="2800" b="1" dirty="0">
                <a:solidFill>
                  <a:prstClr val="black">
                    <a:lumMod val="50000"/>
                    <a:lumOff val="50000"/>
                  </a:prstClr>
                </a:solidFill>
              </a:rPr>
              <a:t>3) Supor Independência Condicional</a:t>
            </a:r>
          </a:p>
          <a:p>
            <a:pPr marL="457200" indent="-457200">
              <a:buFontTx/>
              <a:buAutoNum type="arabicParenR"/>
            </a:pPr>
            <a:endParaRPr lang="pt-BR" sz="2800" b="1" dirty="0">
              <a:solidFill>
                <a:prstClr val="black">
                  <a:lumMod val="50000"/>
                  <a:lumOff val="50000"/>
                </a:prstClr>
              </a:solidFill>
            </a:endParaRPr>
          </a:p>
          <a:p>
            <a:pPr marL="457200" indent="-457200">
              <a:buFontTx/>
              <a:buAutoNum type="arabicParenR"/>
            </a:pPr>
            <a:endParaRPr lang="pt-BR" sz="4300" b="1" dirty="0">
              <a:solidFill>
                <a:prstClr val="black">
                  <a:lumMod val="50000"/>
                  <a:lumOff val="50000"/>
                </a:prstClr>
              </a:solidFill>
            </a:endParaRPr>
          </a:p>
          <a:p>
            <a:r>
              <a:rPr lang="pt-BR" sz="2800" b="1" dirty="0">
                <a:solidFill>
                  <a:prstClr val="black">
                    <a:lumMod val="50000"/>
                    <a:lumOff val="50000"/>
                  </a:prstClr>
                </a:solidFill>
              </a:rPr>
              <a:t>4) Construir a Verossimilhança para  </a:t>
            </a:r>
          </a:p>
          <a:p>
            <a:pPr marL="457200" indent="-457200">
              <a:buFontTx/>
              <a:buAutoNum type="arabicParenR"/>
            </a:pPr>
            <a:endParaRPr sz="2800" b="1" dirty="0">
              <a:solidFill>
                <a:prstClr val="black">
                  <a:lumMod val="50000"/>
                  <a:lumOff val="50000"/>
                </a:prstClr>
              </a:solidFill>
            </a:endParaRPr>
          </a:p>
          <a:p>
            <a:endParaRPr sz="2800" b="1" dirty="0">
              <a:solidFill>
                <a:prstClr val="black">
                  <a:lumMod val="50000"/>
                  <a:lumOff val="50000"/>
                </a:prstClr>
              </a:solidFill>
            </a:endParaRPr>
          </a:p>
          <a:p>
            <a:r>
              <a:rPr lang="pt-BR" sz="2800" b="1" dirty="0">
                <a:solidFill>
                  <a:prstClr val="black">
                    <a:lumMod val="50000"/>
                    <a:lumOff val="50000"/>
                  </a:prstClr>
                </a:solidFill>
              </a:rPr>
              <a:t>	</a:t>
            </a:r>
            <a:endParaRPr sz="2800" b="1" dirty="0">
              <a:solidFill>
                <a:prstClr val="black">
                  <a:lumMod val="50000"/>
                  <a:lumOff val="50000"/>
                </a:prstClr>
              </a:solidFill>
            </a:endParaRPr>
          </a:p>
          <a:p>
            <a:pPr marL="457200" indent="-457200">
              <a:buFontTx/>
              <a:buAutoNum type="arabicParenR"/>
            </a:pPr>
            <a:endParaRPr sz="2200" dirty="0">
              <a:solidFill>
                <a:srgbClr val="2C99FC"/>
              </a:solidFill>
            </a:endParaRPr>
          </a:p>
          <a:p>
            <a:endParaRPr sz="1900" dirty="0">
              <a:solidFill>
                <a:srgbClr val="2C99FC"/>
              </a:solidFill>
            </a:endParaRPr>
          </a:p>
          <a:p>
            <a:endParaRPr dirty="0">
              <a:solidFill>
                <a:prstClr val="black"/>
              </a:solidFill>
            </a:endParaRPr>
          </a:p>
        </p:txBody>
      </p:sp>
      <p:graphicFrame>
        <p:nvGraphicFramePr>
          <p:cNvPr id="4" name="Objeto 3"/>
          <p:cNvGraphicFramePr>
            <a:graphicFrameLocks noChangeAspect="1"/>
          </p:cNvGraphicFramePr>
          <p:nvPr>
            <p:extLst>
              <p:ext uri="{D42A27DB-BD31-4B8C-83A1-F6EECF244321}">
                <p14:modId xmlns:p14="http://schemas.microsoft.com/office/powerpoint/2010/main" val="311814609"/>
              </p:ext>
            </p:extLst>
          </p:nvPr>
        </p:nvGraphicFramePr>
        <p:xfrm>
          <a:off x="3240088" y="981075"/>
          <a:ext cx="1811337" cy="828675"/>
        </p:xfrm>
        <a:graphic>
          <a:graphicData uri="http://schemas.openxmlformats.org/presentationml/2006/ole">
            <mc:AlternateContent xmlns:mc="http://schemas.openxmlformats.org/markup-compatibility/2006">
              <mc:Choice xmlns:v="urn:schemas-microsoft-com:vml" Requires="v">
                <p:oleObj spid="_x0000_s18434" name="Equação" r:id="rId4" imgW="1054080" imgH="482400" progId="Equation.3">
                  <p:embed/>
                </p:oleObj>
              </mc:Choice>
              <mc:Fallback>
                <p:oleObj name="Equação" r:id="rId4" imgW="1054080" imgH="482400" progId="Equation.3">
                  <p:embed/>
                  <p:pic>
                    <p:nvPicPr>
                      <p:cNvPr id="4" name="Objeto 3"/>
                      <p:cNvPicPr>
                        <a:picLocks noChangeAspect="1" noChangeArrowheads="1"/>
                      </p:cNvPicPr>
                      <p:nvPr/>
                    </p:nvPicPr>
                    <p:blipFill>
                      <a:blip r:embed="rId5"/>
                      <a:srcRect/>
                      <a:stretch>
                        <a:fillRect/>
                      </a:stretch>
                    </p:blipFill>
                    <p:spPr bwMode="auto">
                      <a:xfrm>
                        <a:off x="3240088" y="981075"/>
                        <a:ext cx="1811337"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 name="Objeto 4"/>
          <p:cNvGraphicFramePr>
            <a:graphicFrameLocks noChangeAspect="1"/>
          </p:cNvGraphicFramePr>
          <p:nvPr>
            <p:extLst>
              <p:ext uri="{D42A27DB-BD31-4B8C-83A1-F6EECF244321}">
                <p14:modId xmlns:p14="http://schemas.microsoft.com/office/powerpoint/2010/main" val="2787165207"/>
              </p:ext>
            </p:extLst>
          </p:nvPr>
        </p:nvGraphicFramePr>
        <p:xfrm>
          <a:off x="2152650" y="3101975"/>
          <a:ext cx="2238375" cy="582613"/>
        </p:xfrm>
        <a:graphic>
          <a:graphicData uri="http://schemas.openxmlformats.org/presentationml/2006/ole">
            <mc:AlternateContent xmlns:mc="http://schemas.openxmlformats.org/markup-compatibility/2006">
              <mc:Choice xmlns:v="urn:schemas-microsoft-com:vml" Requires="v">
                <p:oleObj spid="_x0000_s18435" name="Equação" r:id="rId6" imgW="977760" imgH="253800" progId="Equation.3">
                  <p:embed/>
                </p:oleObj>
              </mc:Choice>
              <mc:Fallback>
                <p:oleObj name="Equação" r:id="rId6" imgW="977760" imgH="253800" progId="Equation.3">
                  <p:embed/>
                  <p:pic>
                    <p:nvPicPr>
                      <p:cNvPr id="5" name="Objeto 4"/>
                      <p:cNvPicPr>
                        <a:picLocks noChangeAspect="1" noChangeArrowheads="1"/>
                      </p:cNvPicPr>
                      <p:nvPr/>
                    </p:nvPicPr>
                    <p:blipFill>
                      <a:blip r:embed="rId7"/>
                      <a:srcRect/>
                      <a:stretch>
                        <a:fillRect/>
                      </a:stretch>
                    </p:blipFill>
                    <p:spPr bwMode="auto">
                      <a:xfrm>
                        <a:off x="2152650" y="3101975"/>
                        <a:ext cx="2238375" cy="5826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to 5"/>
          <p:cNvGraphicFramePr>
            <a:graphicFrameLocks noChangeAspect="1"/>
          </p:cNvGraphicFramePr>
          <p:nvPr>
            <p:extLst>
              <p:ext uri="{D42A27DB-BD31-4B8C-83A1-F6EECF244321}">
                <p14:modId xmlns:p14="http://schemas.microsoft.com/office/powerpoint/2010/main" val="1262782796"/>
              </p:ext>
            </p:extLst>
          </p:nvPr>
        </p:nvGraphicFramePr>
        <p:xfrm>
          <a:off x="2895600" y="3962400"/>
          <a:ext cx="3416300" cy="835025"/>
        </p:xfrm>
        <a:graphic>
          <a:graphicData uri="http://schemas.openxmlformats.org/presentationml/2006/ole">
            <mc:AlternateContent xmlns:mc="http://schemas.openxmlformats.org/markup-compatibility/2006">
              <mc:Choice xmlns:v="urn:schemas-microsoft-com:vml" Requires="v">
                <p:oleObj spid="_x0000_s18436" name="Equation" r:id="rId8" imgW="1815840" imgH="444240" progId="Equation.DSMT4">
                  <p:embed/>
                </p:oleObj>
              </mc:Choice>
              <mc:Fallback>
                <p:oleObj name="Equation" r:id="rId8" imgW="1815840" imgH="444240" progId="Equation.DSMT4">
                  <p:embed/>
                  <p:pic>
                    <p:nvPicPr>
                      <p:cNvPr id="6" name="Objeto 5"/>
                      <p:cNvPicPr>
                        <a:picLocks noChangeAspect="1" noChangeArrowheads="1"/>
                      </p:cNvPicPr>
                      <p:nvPr/>
                    </p:nvPicPr>
                    <p:blipFill>
                      <a:blip r:embed="rId9"/>
                      <a:srcRect/>
                      <a:stretch>
                        <a:fillRect/>
                      </a:stretch>
                    </p:blipFill>
                    <p:spPr bwMode="auto">
                      <a:xfrm>
                        <a:off x="2895600" y="3962400"/>
                        <a:ext cx="3416300" cy="835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to 6"/>
          <p:cNvGraphicFramePr>
            <a:graphicFrameLocks noChangeAspect="1"/>
          </p:cNvGraphicFramePr>
          <p:nvPr>
            <p:extLst>
              <p:ext uri="{D42A27DB-BD31-4B8C-83A1-F6EECF244321}">
                <p14:modId xmlns:p14="http://schemas.microsoft.com/office/powerpoint/2010/main" val="2670193084"/>
              </p:ext>
            </p:extLst>
          </p:nvPr>
        </p:nvGraphicFramePr>
        <p:xfrm>
          <a:off x="2678113" y="1890713"/>
          <a:ext cx="1914525" cy="385762"/>
        </p:xfrm>
        <a:graphic>
          <a:graphicData uri="http://schemas.openxmlformats.org/presentationml/2006/ole">
            <mc:AlternateContent xmlns:mc="http://schemas.openxmlformats.org/markup-compatibility/2006">
              <mc:Choice xmlns:v="urn:schemas-microsoft-com:vml" Requires="v">
                <p:oleObj spid="_x0000_s18437" name="Equação" r:id="rId10" imgW="1193760" imgH="241200" progId="Equation.3">
                  <p:embed/>
                </p:oleObj>
              </mc:Choice>
              <mc:Fallback>
                <p:oleObj name="Equação" r:id="rId10" imgW="1193760" imgH="241200" progId="Equation.3">
                  <p:embed/>
                  <p:pic>
                    <p:nvPicPr>
                      <p:cNvPr id="7" name="Objeto 6"/>
                      <p:cNvPicPr>
                        <a:picLocks noChangeAspect="1" noChangeArrowheads="1"/>
                      </p:cNvPicPr>
                      <p:nvPr/>
                    </p:nvPicPr>
                    <p:blipFill>
                      <a:blip r:embed="rId11"/>
                      <a:srcRect/>
                      <a:stretch>
                        <a:fillRect/>
                      </a:stretch>
                    </p:blipFill>
                    <p:spPr bwMode="auto">
                      <a:xfrm>
                        <a:off x="2678113" y="1890713"/>
                        <a:ext cx="1914525" cy="3857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1639881106"/>
              </p:ext>
            </p:extLst>
          </p:nvPr>
        </p:nvGraphicFramePr>
        <p:xfrm>
          <a:off x="1636713" y="5133975"/>
          <a:ext cx="5759450" cy="881063"/>
        </p:xfrm>
        <a:graphic>
          <a:graphicData uri="http://schemas.openxmlformats.org/presentationml/2006/ole">
            <mc:AlternateContent xmlns:mc="http://schemas.openxmlformats.org/markup-compatibility/2006">
              <mc:Choice xmlns:v="urn:schemas-microsoft-com:vml" Requires="v">
                <p:oleObj spid="_x0000_s18438" name="Equation" r:id="rId12" imgW="3060360" imgH="469800" progId="Equation.DSMT4">
                  <p:embed/>
                </p:oleObj>
              </mc:Choice>
              <mc:Fallback>
                <p:oleObj name="Equation" r:id="rId12" imgW="3060360" imgH="469800" progId="Equation.DSMT4">
                  <p:embed/>
                  <p:pic>
                    <p:nvPicPr>
                      <p:cNvPr id="8" name="Objeto 7"/>
                      <p:cNvPicPr>
                        <a:picLocks noChangeAspect="1" noChangeArrowheads="1"/>
                      </p:cNvPicPr>
                      <p:nvPr/>
                    </p:nvPicPr>
                    <p:blipFill>
                      <a:blip r:embed="rId13"/>
                      <a:srcRect/>
                      <a:stretch>
                        <a:fillRect/>
                      </a:stretch>
                    </p:blipFill>
                    <p:spPr bwMode="auto">
                      <a:xfrm>
                        <a:off x="1636713" y="5133975"/>
                        <a:ext cx="5759450" cy="881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o 8"/>
          <p:cNvGraphicFramePr>
            <a:graphicFrameLocks noChangeAspect="1"/>
          </p:cNvGraphicFramePr>
          <p:nvPr>
            <p:extLst>
              <p:ext uri="{D42A27DB-BD31-4B8C-83A1-F6EECF244321}">
                <p14:modId xmlns:p14="http://schemas.microsoft.com/office/powerpoint/2010/main" val="1052042689"/>
              </p:ext>
            </p:extLst>
          </p:nvPr>
        </p:nvGraphicFramePr>
        <p:xfrm>
          <a:off x="4829175" y="3051855"/>
          <a:ext cx="2822575" cy="582613"/>
        </p:xfrm>
        <a:graphic>
          <a:graphicData uri="http://schemas.openxmlformats.org/presentationml/2006/ole">
            <mc:AlternateContent xmlns:mc="http://schemas.openxmlformats.org/markup-compatibility/2006">
              <mc:Choice xmlns:v="urn:schemas-microsoft-com:vml" Requires="v">
                <p:oleObj spid="_x0000_s18439" name="Equação" r:id="rId14" imgW="1231560" imgH="253800" progId="Equation.3">
                  <p:embed/>
                </p:oleObj>
              </mc:Choice>
              <mc:Fallback>
                <p:oleObj name="Equação" r:id="rId14" imgW="1231560" imgH="253800" progId="Equation.3">
                  <p:embed/>
                  <p:pic>
                    <p:nvPicPr>
                      <p:cNvPr id="9" name="Objeto 8"/>
                      <p:cNvPicPr>
                        <a:picLocks noChangeAspect="1" noChangeArrowheads="1"/>
                      </p:cNvPicPr>
                      <p:nvPr/>
                    </p:nvPicPr>
                    <p:blipFill>
                      <a:blip r:embed="rId15"/>
                      <a:srcRect/>
                      <a:stretch>
                        <a:fillRect/>
                      </a:stretch>
                    </p:blipFill>
                    <p:spPr bwMode="auto">
                      <a:xfrm>
                        <a:off x="4829175" y="3051855"/>
                        <a:ext cx="2822575" cy="5826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
          <p:cNvSpPr txBox="1"/>
          <p:nvPr/>
        </p:nvSpPr>
        <p:spPr>
          <a:xfrm rot="16200000">
            <a:off x="-2209551" y="2580991"/>
            <a:ext cx="5486400" cy="1041969"/>
          </a:xfrm>
          <a:prstGeom prst="rect">
            <a:avLst/>
          </a:prstGeom>
          <a:solidFill>
            <a:srgbClr val="00B050"/>
          </a:solidFill>
          <a:ln>
            <a:solidFill>
              <a:schemeClr val="accent1"/>
            </a:solidFill>
          </a:ln>
        </p:spPr>
        <p:txBody>
          <a:bodyPr wrap="square" rtlCol="0" anchor="b" anchorCtr="0">
            <a:normAutofit/>
          </a:bodyPr>
          <a:lstStyle/>
          <a:p>
            <a:r>
              <a:rPr sz="3200" b="1" dirty="0"/>
              <a:t>Processo de Estimação</a:t>
            </a:r>
            <a:endParaRPr sz="3200" dirty="0"/>
          </a:p>
        </p:txBody>
      </p:sp>
      <p:sp>
        <p:nvSpPr>
          <p:cNvPr id="10" name="CaixaDeTexto 9"/>
          <p:cNvSpPr txBox="1"/>
          <p:nvPr/>
        </p:nvSpPr>
        <p:spPr>
          <a:xfrm>
            <a:off x="5868144" y="1194128"/>
            <a:ext cx="2710881" cy="461665"/>
          </a:xfrm>
          <a:prstGeom prst="rect">
            <a:avLst/>
          </a:prstGeom>
          <a:noFill/>
        </p:spPr>
        <p:txBody>
          <a:bodyPr wrap="square" rtlCol="0">
            <a:spAutoFit/>
          </a:bodyPr>
          <a:lstStyle/>
          <a:p>
            <a:r>
              <a:rPr lang="pt-BR" sz="2400" i="1" dirty="0" err="1"/>
              <a:t>U</a:t>
            </a:r>
            <a:r>
              <a:rPr lang="pt-BR" sz="2400" i="1" baseline="-25000" dirty="0" err="1"/>
              <a:t>ji</a:t>
            </a:r>
            <a:r>
              <a:rPr lang="pt-BR" sz="2400" i="1" dirty="0"/>
              <a:t> ~ Bernoulli(</a:t>
            </a:r>
            <a:r>
              <a:rPr lang="pt-BR" sz="2400" i="1" dirty="0" err="1"/>
              <a:t>P</a:t>
            </a:r>
            <a:r>
              <a:rPr lang="pt-BR" sz="2400" i="1" baseline="-25000" dirty="0" err="1"/>
              <a:t>ji</a:t>
            </a:r>
            <a:r>
              <a:rPr lang="pt-BR" sz="2400" i="1" dirty="0"/>
              <a:t>)</a:t>
            </a:r>
          </a:p>
        </p:txBody>
      </p:sp>
      <mc:AlternateContent xmlns:mc="http://schemas.openxmlformats.org/markup-compatibility/2006" xmlns:a14="http://schemas.microsoft.com/office/drawing/2010/main">
        <mc:Choice Requires="a14">
          <p:sp>
            <p:nvSpPr>
              <p:cNvPr id="12" name="Retângulo 11">
                <a:extLst>
                  <a:ext uri="{FF2B5EF4-FFF2-40B4-BE49-F238E27FC236}">
                    <a16:creationId xmlns:a16="http://schemas.microsoft.com/office/drawing/2014/main" id="{ADF1D503-74B2-4573-B34A-D1DB270DE707}"/>
                  </a:ext>
                </a:extLst>
              </p:cNvPr>
              <p:cNvSpPr/>
              <p:nvPr/>
            </p:nvSpPr>
            <p:spPr>
              <a:xfrm>
                <a:off x="5436096" y="4691907"/>
                <a:ext cx="1006429" cy="369332"/>
              </a:xfrm>
              <a:prstGeom prst="rect">
                <a:avLst/>
              </a:prstGeom>
            </p:spPr>
            <p:txBody>
              <a:bodyPr wrap="none">
                <a:spAutoFit/>
              </a:bodyPr>
              <a:lstStyle/>
              <a:p>
                <a14:m>
                  <m:oMath xmlns:m="http://schemas.openxmlformats.org/officeDocument/2006/math">
                    <m:r>
                      <a:rPr lang="en-US" i="1">
                        <a:latin typeface="Cambria Math" panose="02040503050406030204" pitchFamily="18" charset="0"/>
                      </a:rPr>
                      <m:t>𝜉</m:t>
                    </m:r>
                  </m:oMath>
                </a14:m>
                <a:r>
                  <a:rPr lang="en-US" i="1" dirty="0"/>
                  <a:t>=(</a:t>
                </a:r>
                <a:r>
                  <a:rPr lang="en-US" i="1" dirty="0" err="1"/>
                  <a:t>a,b,c</a:t>
                </a:r>
                <a:r>
                  <a:rPr lang="en-US" i="1" dirty="0"/>
                  <a:t>)</a:t>
                </a:r>
              </a:p>
            </p:txBody>
          </p:sp>
        </mc:Choice>
        <mc:Fallback xmlns="">
          <p:sp>
            <p:nvSpPr>
              <p:cNvPr id="12" name="Retângulo 11">
                <a:extLst>
                  <a:ext uri="{FF2B5EF4-FFF2-40B4-BE49-F238E27FC236}">
                    <a16:creationId xmlns:a16="http://schemas.microsoft.com/office/drawing/2014/main" id="{ADF1D503-74B2-4573-B34A-D1DB270DE707}"/>
                  </a:ext>
                </a:extLst>
              </p:cNvPr>
              <p:cNvSpPr>
                <a:spLocks noRot="1" noChangeAspect="1" noMove="1" noResize="1" noEditPoints="1" noAdjustHandles="1" noChangeArrowheads="1" noChangeShapeType="1" noTextEdit="1"/>
              </p:cNvSpPr>
              <p:nvPr/>
            </p:nvSpPr>
            <p:spPr>
              <a:xfrm>
                <a:off x="5436096" y="4691907"/>
                <a:ext cx="1006429" cy="369332"/>
              </a:xfrm>
              <a:prstGeom prst="rect">
                <a:avLst/>
              </a:prstGeom>
              <a:blipFill>
                <a:blip r:embed="rId16"/>
                <a:stretch>
                  <a:fillRect l="-1818" t="-10000" r="-5455" b="-26667"/>
                </a:stretch>
              </a:blipFill>
            </p:spPr>
            <p:txBody>
              <a:bodyPr/>
              <a:lstStyle/>
              <a:p>
                <a:r>
                  <a:rPr lang="en-US">
                    <a:noFill/>
                  </a:rPr>
                  <a:t> </a:t>
                </a:r>
              </a:p>
            </p:txBody>
          </p:sp>
        </mc:Fallback>
      </mc:AlternateContent>
    </p:spTree>
    <p:extLst>
      <p:ext uri="{BB962C8B-B14F-4D97-AF65-F5344CB8AC3E}">
        <p14:creationId xmlns:p14="http://schemas.microsoft.com/office/powerpoint/2010/main" val="3026857874"/>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a:extLst>
              <a:ext uri="{FF2B5EF4-FFF2-40B4-BE49-F238E27FC236}">
                <a16:creationId xmlns:a16="http://schemas.microsoft.com/office/drawing/2014/main" id="{35CF6782-95C1-488C-9540-7C2657D3EF01}"/>
              </a:ext>
            </a:extLst>
          </p:cNvPr>
          <p:cNvGraphicFramePr>
            <a:graphicFrameLocks noChangeAspect="1"/>
          </p:cNvGraphicFramePr>
          <p:nvPr>
            <p:extLst>
              <p:ext uri="{D42A27DB-BD31-4B8C-83A1-F6EECF244321}">
                <p14:modId xmlns:p14="http://schemas.microsoft.com/office/powerpoint/2010/main" val="1911876859"/>
              </p:ext>
            </p:extLst>
          </p:nvPr>
        </p:nvGraphicFramePr>
        <p:xfrm>
          <a:off x="2854325" y="1484313"/>
          <a:ext cx="2633663" cy="1008062"/>
        </p:xfrm>
        <a:graphic>
          <a:graphicData uri="http://schemas.openxmlformats.org/presentationml/2006/ole">
            <mc:AlternateContent xmlns:mc="http://schemas.openxmlformats.org/markup-compatibility/2006">
              <mc:Choice xmlns:v="urn:schemas-microsoft-com:vml" Requires="v">
                <p:oleObj spid="_x0000_s19458" name="Equation" r:id="rId3" imgW="660240" imgH="253800" progId="Equation.DSMT4">
                  <p:embed/>
                </p:oleObj>
              </mc:Choice>
              <mc:Fallback>
                <p:oleObj name="Equation" r:id="rId3" imgW="660240" imgH="253800" progId="Equation.DSMT4">
                  <p:embed/>
                  <p:pic>
                    <p:nvPicPr>
                      <p:cNvPr id="2" name="Objeto 1">
                        <a:extLst>
                          <a:ext uri="{FF2B5EF4-FFF2-40B4-BE49-F238E27FC236}">
                            <a16:creationId xmlns:a16="http://schemas.microsoft.com/office/drawing/2014/main" id="{35CF6782-95C1-488C-9540-7C2657D3EF01}"/>
                          </a:ext>
                        </a:extLst>
                      </p:cNvPr>
                      <p:cNvPicPr>
                        <a:picLocks noChangeAspect="1" noChangeArrowheads="1"/>
                      </p:cNvPicPr>
                      <p:nvPr/>
                    </p:nvPicPr>
                    <p:blipFill>
                      <a:blip r:embed="rId4"/>
                      <a:srcRect/>
                      <a:stretch>
                        <a:fillRect/>
                      </a:stretch>
                    </p:blipFill>
                    <p:spPr bwMode="auto">
                      <a:xfrm>
                        <a:off x="2854325" y="1484313"/>
                        <a:ext cx="2633663" cy="1008062"/>
                      </a:xfrm>
                      <a:prstGeom prst="rect">
                        <a:avLst/>
                      </a:prstGeom>
                      <a:noFill/>
                      <a:extLst/>
                    </p:spPr>
                  </p:pic>
                </p:oleObj>
              </mc:Fallback>
            </mc:AlternateContent>
          </a:graphicData>
        </a:graphic>
      </p:graphicFrame>
      <p:sp>
        <p:nvSpPr>
          <p:cNvPr id="3" name="Retângulo 2">
            <a:extLst>
              <a:ext uri="{FF2B5EF4-FFF2-40B4-BE49-F238E27FC236}">
                <a16:creationId xmlns:a16="http://schemas.microsoft.com/office/drawing/2014/main" id="{55C3C764-593E-41C1-83BF-B4F32C8FAABC}"/>
              </a:ext>
            </a:extLst>
          </p:cNvPr>
          <p:cNvSpPr/>
          <p:nvPr/>
        </p:nvSpPr>
        <p:spPr>
          <a:xfrm>
            <a:off x="683568" y="764704"/>
            <a:ext cx="7042890" cy="461665"/>
          </a:xfrm>
          <a:prstGeom prst="rect">
            <a:avLst/>
          </a:prstGeom>
        </p:spPr>
        <p:txBody>
          <a:bodyPr wrap="none">
            <a:spAutoFit/>
          </a:bodyPr>
          <a:lstStyle/>
          <a:p>
            <a:r>
              <a:rPr lang="pt-BR" sz="2400" b="1" dirty="0">
                <a:solidFill>
                  <a:prstClr val="black">
                    <a:lumMod val="50000"/>
                    <a:lumOff val="50000"/>
                  </a:prstClr>
                </a:solidFill>
              </a:rPr>
              <a:t>5) Obter os valores que maximizam a Verossimilhança</a:t>
            </a:r>
          </a:p>
        </p:txBody>
      </p:sp>
      <p:sp>
        <p:nvSpPr>
          <p:cNvPr id="4" name="CaixaDeTexto 3">
            <a:extLst>
              <a:ext uri="{FF2B5EF4-FFF2-40B4-BE49-F238E27FC236}">
                <a16:creationId xmlns:a16="http://schemas.microsoft.com/office/drawing/2014/main" id="{37DAE77A-4A33-4185-9F31-3ABD9D4ED76E}"/>
              </a:ext>
            </a:extLst>
          </p:cNvPr>
          <p:cNvSpPr txBox="1"/>
          <p:nvPr/>
        </p:nvSpPr>
        <p:spPr>
          <a:xfrm>
            <a:off x="971600" y="2564904"/>
            <a:ext cx="1872208" cy="369332"/>
          </a:xfrm>
          <a:prstGeom prst="rect">
            <a:avLst/>
          </a:prstGeom>
          <a:noFill/>
        </p:spPr>
        <p:txBody>
          <a:bodyPr wrap="square" rtlCol="0">
            <a:spAutoFit/>
          </a:bodyPr>
          <a:lstStyle/>
          <a:p>
            <a:r>
              <a:rPr lang="en-US" dirty="0" err="1"/>
              <a:t>Ou</a:t>
            </a:r>
            <a:r>
              <a:rPr lang="en-US" dirty="0"/>
              <a:t> </a:t>
            </a:r>
            <a:r>
              <a:rPr lang="en-US" dirty="0" err="1"/>
              <a:t>seja</a:t>
            </a:r>
            <a:r>
              <a:rPr lang="en-US" dirty="0"/>
              <a:t>,</a:t>
            </a:r>
          </a:p>
        </p:txBody>
      </p:sp>
      <mc:AlternateContent xmlns:mc="http://schemas.openxmlformats.org/markup-compatibility/2006" xmlns:a14="http://schemas.microsoft.com/office/drawing/2010/main">
        <mc:Choice Requires="a14">
          <p:sp>
            <p:nvSpPr>
              <p:cNvPr id="5" name="Retângulo 4">
                <a:extLst>
                  <a:ext uri="{FF2B5EF4-FFF2-40B4-BE49-F238E27FC236}">
                    <a16:creationId xmlns:a16="http://schemas.microsoft.com/office/drawing/2014/main" id="{748C835A-5309-42D7-9E72-DCD524DD38F5}"/>
                  </a:ext>
                </a:extLst>
              </p:cNvPr>
              <p:cNvSpPr/>
              <p:nvPr/>
            </p:nvSpPr>
            <p:spPr>
              <a:xfrm>
                <a:off x="3635896" y="2564904"/>
                <a:ext cx="2952328" cy="1068241"/>
              </a:xfrm>
              <a:prstGeom prst="rect">
                <a:avLst/>
              </a:prstGeom>
            </p:spPr>
            <p:txBody>
              <a:bodyPr wrap="square">
                <a:spAutoFit/>
              </a:bodyPr>
              <a:lstStyle/>
              <a:p>
                <a14:m>
                  <m:oMath xmlns:m="http://schemas.openxmlformats.org/officeDocument/2006/math">
                    <m:f>
                      <m:fPr>
                        <m:ctrlPr>
                          <a:rPr lang="en-US" sz="2400" i="1" smtClean="0">
                            <a:latin typeface="Cambria Math" panose="02040503050406030204" pitchFamily="18" charset="0"/>
                          </a:rPr>
                        </m:ctrlPr>
                      </m:fPr>
                      <m:num>
                        <m:d>
                          <m:dPr>
                            <m:begChr m:val=""/>
                            <m:ctrlPr>
                              <a:rPr lang="en-US" sz="2400" i="1">
                                <a:latin typeface="Cambria Math" panose="02040503050406030204" pitchFamily="18" charset="0"/>
                              </a:rPr>
                            </m:ctrlPr>
                          </m:dPr>
                          <m:e>
                            <m:r>
                              <a:rPr lang="en-US" sz="2400">
                                <a:latin typeface="Cambria Math" panose="02040503050406030204" pitchFamily="18" charset="0"/>
                              </a:rPr>
                              <m:t>𝜕</m:t>
                            </m:r>
                            <m:r>
                              <a:rPr lang="en-US" sz="2400" i="1">
                                <a:latin typeface="Cambria Math" panose="02040503050406030204" pitchFamily="18" charset="0"/>
                              </a:rPr>
                              <m:t>𝐿</m:t>
                            </m:r>
                            <m:r>
                              <a:rPr lang="en-US" sz="2400" i="0">
                                <a:latin typeface="Cambria Math" panose="02040503050406030204" pitchFamily="18" charset="0"/>
                              </a:rPr>
                              <m:t>(</m:t>
                            </m:r>
                            <m:r>
                              <a:rPr lang="en-US" sz="2400" i="1">
                                <a:latin typeface="Cambria Math" panose="02040503050406030204" pitchFamily="18" charset="0"/>
                              </a:rPr>
                              <m:t>𝜉</m:t>
                            </m:r>
                          </m:e>
                        </m:d>
                      </m:num>
                      <m:den>
                        <m:r>
                          <a:rPr lang="en-US" sz="2400" i="0">
                            <a:latin typeface="Cambria Math" panose="02040503050406030204" pitchFamily="18" charset="0"/>
                          </a:rPr>
                          <m:t>𝜕</m:t>
                        </m:r>
                        <m:d>
                          <m:dPr>
                            <m:ctrlPr>
                              <a:rPr lang="en-US" sz="2400" i="1" smtClean="0">
                                <a:latin typeface="Cambria Math" panose="02040503050406030204" pitchFamily="18" charset="0"/>
                              </a:rPr>
                            </m:ctrlPr>
                          </m:dPr>
                          <m:e>
                            <m:m>
                              <m:mPr>
                                <m:mcs>
                                  <m:mc>
                                    <m:mcPr>
                                      <m:count m:val="1"/>
                                      <m:mcJc m:val="center"/>
                                    </m:mcPr>
                                  </m:mc>
                                </m:mcs>
                                <m:ctrlPr>
                                  <a:rPr lang="en-US" sz="2400" i="1" smtClean="0">
                                    <a:latin typeface="Cambria Math" panose="02040503050406030204" pitchFamily="18" charset="0"/>
                                  </a:rPr>
                                </m:ctrlPr>
                              </m:mPr>
                              <m:mr>
                                <m:e>
                                  <m:r>
                                    <m:rPr>
                                      <m:brk m:alnAt="7"/>
                                    </m:rPr>
                                    <a:rPr lang="en-US" sz="2400" b="0" i="1" smtClean="0">
                                      <a:latin typeface="Cambria Math" panose="02040503050406030204" pitchFamily="18" charset="0"/>
                                    </a:rPr>
                                    <m:t>𝑎</m:t>
                                  </m:r>
                                </m:e>
                              </m:mr>
                              <m:mr>
                                <m:e>
                                  <m:r>
                                    <a:rPr lang="en-US" sz="2400" b="0" i="1" smtClean="0">
                                      <a:latin typeface="Cambria Math" panose="02040503050406030204" pitchFamily="18" charset="0"/>
                                    </a:rPr>
                                    <m:t>𝑏</m:t>
                                  </m:r>
                                </m:e>
                              </m:mr>
                              <m:mr>
                                <m:e>
                                  <m:r>
                                    <a:rPr lang="en-US" sz="2400" b="0" i="1" smtClean="0">
                                      <a:latin typeface="Cambria Math" panose="02040503050406030204" pitchFamily="18" charset="0"/>
                                    </a:rPr>
                                    <m:t>𝑐</m:t>
                                  </m:r>
                                </m:e>
                              </m:mr>
                            </m:m>
                          </m:e>
                        </m:d>
                      </m:den>
                    </m:f>
                  </m:oMath>
                </a14:m>
                <a:r>
                  <a:rPr lang="en-US" dirty="0"/>
                  <a:t>= </a:t>
                </a:r>
                <a14:m>
                  <m:oMath xmlns:m="http://schemas.openxmlformats.org/officeDocument/2006/math">
                    <m:d>
                      <m:dPr>
                        <m:ctrlPr>
                          <a:rPr lang="en-US" i="1">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m:rPr>
                                  <m:sty m:val="p"/>
                                </m:rPr>
                                <a:rPr lang="en-US" b="0" i="0" smtClean="0">
                                  <a:latin typeface="Cambria Math" panose="02040503050406030204" pitchFamily="18" charset="0"/>
                                </a:rPr>
                                <m:t>a</m:t>
                              </m:r>
                            </m:e>
                          </m:m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a:rPr lang="en-US" b="0" i="1" smtClean="0">
                                  <a:latin typeface="Cambria Math" panose="02040503050406030204" pitchFamily="18" charset="0"/>
                                </a:rPr>
                                <m:t>𝑏</m:t>
                              </m:r>
                            </m:e>
                          </m:m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m:rPr>
                                  <m:sty m:val="p"/>
                                </m:rPr>
                                <a:rPr lang="en-US" b="0" i="0" smtClean="0">
                                  <a:latin typeface="Cambria Math" panose="02040503050406030204" pitchFamily="18" charset="0"/>
                                </a:rPr>
                                <m:t>c</m:t>
                              </m:r>
                            </m:e>
                          </m:mr>
                        </m:m>
                      </m:e>
                    </m:d>
                  </m:oMath>
                </a14:m>
                <a:r>
                  <a:rPr lang="en-US" dirty="0"/>
                  <a:t>= </a:t>
                </a:r>
                <a14:m>
                  <m:oMath xmlns:m="http://schemas.openxmlformats.org/officeDocument/2006/math">
                    <m:d>
                      <m:dPr>
                        <m:ctrlPr>
                          <a:rPr lang="en-US" i="1">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r>
                                <a:rPr lang="en-US" b="0" i="1" smtClean="0">
                                  <a:latin typeface="Cambria Math" panose="02040503050406030204" pitchFamily="18" charset="0"/>
                                </a:rPr>
                                <m:t>0</m:t>
                              </m:r>
                            </m:e>
                          </m:mr>
                          <m:mr>
                            <m:e>
                              <m:r>
                                <a:rPr lang="en-US" b="0" i="1" smtClean="0">
                                  <a:latin typeface="Cambria Math" panose="02040503050406030204" pitchFamily="18" charset="0"/>
                                </a:rPr>
                                <m:t>0</m:t>
                              </m:r>
                            </m:e>
                          </m:mr>
                          <m:mr>
                            <m:e>
                              <m:r>
                                <a:rPr lang="en-US" b="0" i="1" smtClean="0">
                                  <a:latin typeface="Cambria Math" panose="02040503050406030204" pitchFamily="18" charset="0"/>
                                </a:rPr>
                                <m:t>0</m:t>
                              </m:r>
                            </m:e>
                          </m:mr>
                        </m:m>
                      </m:e>
                    </m:d>
                  </m:oMath>
                </a14:m>
                <a:endParaRPr lang="en-US" dirty="0"/>
              </a:p>
            </p:txBody>
          </p:sp>
        </mc:Choice>
        <mc:Fallback xmlns="">
          <p:sp>
            <p:nvSpPr>
              <p:cNvPr id="5" name="Retângulo 4">
                <a:extLst>
                  <a:ext uri="{FF2B5EF4-FFF2-40B4-BE49-F238E27FC236}">
                    <a16:creationId xmlns:a16="http://schemas.microsoft.com/office/drawing/2014/main" id="{748C835A-5309-42D7-9E72-DCD524DD38F5}"/>
                  </a:ext>
                </a:extLst>
              </p:cNvPr>
              <p:cNvSpPr>
                <a:spLocks noRot="1" noChangeAspect="1" noMove="1" noResize="1" noEditPoints="1" noAdjustHandles="1" noChangeArrowheads="1" noChangeShapeType="1" noTextEdit="1"/>
              </p:cNvSpPr>
              <p:nvPr/>
            </p:nvSpPr>
            <p:spPr>
              <a:xfrm>
                <a:off x="3635896" y="2564904"/>
                <a:ext cx="2952328" cy="1068241"/>
              </a:xfrm>
              <a:prstGeom prst="rect">
                <a:avLst/>
              </a:prstGeom>
              <a:blipFill>
                <a:blip r:embed="rId5"/>
                <a:stretch>
                  <a:fillRect b="-1143"/>
                </a:stretch>
              </a:blipFill>
            </p:spPr>
            <p:txBody>
              <a:bodyPr/>
              <a:lstStyle/>
              <a:p>
                <a:r>
                  <a:rPr lang="en-US">
                    <a:noFill/>
                  </a:rPr>
                  <a:t> </a:t>
                </a:r>
              </a:p>
            </p:txBody>
          </p:sp>
        </mc:Fallback>
      </mc:AlternateContent>
      <p:sp>
        <p:nvSpPr>
          <p:cNvPr id="6" name="CaixaDeTexto 5">
            <a:extLst>
              <a:ext uri="{FF2B5EF4-FFF2-40B4-BE49-F238E27FC236}">
                <a16:creationId xmlns:a16="http://schemas.microsoft.com/office/drawing/2014/main" id="{26CDC67D-2A93-4893-8C18-8C7AD7AF44A4}"/>
              </a:ext>
            </a:extLst>
          </p:cNvPr>
          <p:cNvSpPr txBox="1"/>
          <p:nvPr/>
        </p:nvSpPr>
        <p:spPr>
          <a:xfrm>
            <a:off x="899592" y="4088104"/>
            <a:ext cx="6826866" cy="1477328"/>
          </a:xfrm>
          <a:prstGeom prst="rect">
            <a:avLst/>
          </a:prstGeom>
          <a:noFill/>
        </p:spPr>
        <p:txBody>
          <a:bodyPr wrap="square" rtlCol="0">
            <a:spAutoFit/>
          </a:bodyPr>
          <a:lstStyle/>
          <a:p>
            <a:pPr algn="just"/>
            <a:r>
              <a:rPr lang="en-US" dirty="0"/>
              <a:t>Para </a:t>
            </a:r>
            <a:r>
              <a:rPr lang="en-US" dirty="0" err="1"/>
              <a:t>encontrar</a:t>
            </a:r>
            <a:r>
              <a:rPr lang="en-US" dirty="0"/>
              <a:t> </a:t>
            </a:r>
            <a:r>
              <a:rPr lang="en-US" dirty="0" err="1"/>
              <a:t>os</a:t>
            </a:r>
            <a:r>
              <a:rPr lang="en-US" dirty="0"/>
              <a:t> zeros (</a:t>
            </a:r>
            <a:r>
              <a:rPr lang="en-US" dirty="0" err="1"/>
              <a:t>raízes</a:t>
            </a:r>
            <a:r>
              <a:rPr lang="en-US" dirty="0"/>
              <a:t>) </a:t>
            </a:r>
            <a:r>
              <a:rPr lang="en-US" dirty="0" err="1"/>
              <a:t>dessas</a:t>
            </a:r>
            <a:r>
              <a:rPr lang="en-US" dirty="0"/>
              <a:t> </a:t>
            </a:r>
            <a:r>
              <a:rPr lang="en-US" dirty="0" err="1"/>
              <a:t>funções</a:t>
            </a:r>
            <a:r>
              <a:rPr lang="en-US" dirty="0"/>
              <a:t> </a:t>
            </a:r>
            <a:r>
              <a:rPr lang="en-US" dirty="0" err="1"/>
              <a:t>devemos</a:t>
            </a:r>
            <a:r>
              <a:rPr lang="en-US" dirty="0"/>
              <a:t> </a:t>
            </a:r>
            <a:r>
              <a:rPr lang="en-US" dirty="0" err="1"/>
              <a:t>aplicar</a:t>
            </a:r>
            <a:r>
              <a:rPr lang="en-US" dirty="0"/>
              <a:t> </a:t>
            </a:r>
            <a:r>
              <a:rPr lang="en-US" dirty="0" err="1"/>
              <a:t>algum</a:t>
            </a:r>
            <a:r>
              <a:rPr lang="en-US" dirty="0"/>
              <a:t> </a:t>
            </a:r>
            <a:r>
              <a:rPr lang="en-US" dirty="0" err="1"/>
              <a:t>método</a:t>
            </a:r>
            <a:r>
              <a:rPr lang="en-US" dirty="0"/>
              <a:t> </a:t>
            </a:r>
            <a:r>
              <a:rPr lang="en-US" dirty="0" err="1"/>
              <a:t>numérico</a:t>
            </a:r>
            <a:r>
              <a:rPr lang="en-US" dirty="0"/>
              <a:t>, </a:t>
            </a:r>
            <a:r>
              <a:rPr lang="en-US" dirty="0" err="1"/>
              <a:t>tal</a:t>
            </a:r>
            <a:r>
              <a:rPr lang="en-US" dirty="0"/>
              <a:t> </a:t>
            </a:r>
            <a:r>
              <a:rPr lang="en-US" dirty="0" err="1"/>
              <a:t>como</a:t>
            </a:r>
            <a:r>
              <a:rPr lang="en-US" dirty="0"/>
              <a:t> Newton-Raphson.  </a:t>
            </a:r>
            <a:r>
              <a:rPr lang="en-US" dirty="0" err="1"/>
              <a:t>Desenvolvendo</a:t>
            </a:r>
            <a:r>
              <a:rPr lang="en-US" dirty="0"/>
              <a:t> a </a:t>
            </a:r>
            <a:r>
              <a:rPr lang="en-US" dirty="0" err="1"/>
              <a:t>equação</a:t>
            </a:r>
            <a:r>
              <a:rPr lang="en-US" dirty="0"/>
              <a:t> </a:t>
            </a:r>
            <a:r>
              <a:rPr lang="en-US" dirty="0" err="1"/>
              <a:t>em</a:t>
            </a:r>
            <a:r>
              <a:rPr lang="en-US" dirty="0"/>
              <a:t> (1) </a:t>
            </a:r>
            <a:r>
              <a:rPr lang="en-US" dirty="0" err="1"/>
              <a:t>obtemos</a:t>
            </a:r>
            <a:r>
              <a:rPr lang="en-US" dirty="0"/>
              <a:t> as </a:t>
            </a:r>
            <a:r>
              <a:rPr lang="en-US" dirty="0" err="1"/>
              <a:t>formas</a:t>
            </a:r>
            <a:r>
              <a:rPr lang="en-US" dirty="0"/>
              <a:t> </a:t>
            </a:r>
            <a:r>
              <a:rPr lang="en-US" dirty="0" err="1"/>
              <a:t>finais</a:t>
            </a:r>
            <a:r>
              <a:rPr lang="en-US" dirty="0"/>
              <a:t> das </a:t>
            </a:r>
            <a:r>
              <a:rPr lang="en-US" dirty="0" err="1"/>
              <a:t>Equações</a:t>
            </a:r>
            <a:r>
              <a:rPr lang="en-US" dirty="0"/>
              <a:t> de </a:t>
            </a:r>
            <a:r>
              <a:rPr lang="en-US" dirty="0" err="1"/>
              <a:t>Estimação</a:t>
            </a:r>
            <a:r>
              <a:rPr lang="en-US" dirty="0"/>
              <a:t> para </a:t>
            </a:r>
            <a:r>
              <a:rPr lang="en-US" dirty="0" err="1"/>
              <a:t>os</a:t>
            </a:r>
            <a:r>
              <a:rPr lang="en-US" dirty="0"/>
              <a:t> </a:t>
            </a:r>
            <a:r>
              <a:rPr lang="en-US" dirty="0" err="1"/>
              <a:t>Parâmetros</a:t>
            </a:r>
            <a:r>
              <a:rPr lang="en-US" dirty="0"/>
              <a:t> dos </a:t>
            </a:r>
            <a:r>
              <a:rPr lang="en-US" dirty="0" err="1"/>
              <a:t>Itens</a:t>
            </a:r>
            <a:r>
              <a:rPr lang="en-US" dirty="0"/>
              <a:t> (PI). </a:t>
            </a:r>
            <a:r>
              <a:rPr lang="en-US" dirty="0" err="1"/>
              <a:t>Detalhes</a:t>
            </a:r>
            <a:r>
              <a:rPr lang="en-US" dirty="0"/>
              <a:t> do </a:t>
            </a:r>
            <a:r>
              <a:rPr lang="en-US" dirty="0" err="1"/>
              <a:t>desenvolvimento</a:t>
            </a:r>
            <a:r>
              <a:rPr lang="en-US" dirty="0"/>
              <a:t> </a:t>
            </a:r>
            <a:r>
              <a:rPr lang="en-US" dirty="0" err="1"/>
              <a:t>em</a:t>
            </a:r>
            <a:r>
              <a:rPr lang="en-US" dirty="0"/>
              <a:t> Andrade, Tavares &amp; Valle (2000)</a:t>
            </a:r>
          </a:p>
        </p:txBody>
      </p:sp>
    </p:spTree>
    <p:extLst>
      <p:ext uri="{BB962C8B-B14F-4D97-AF65-F5344CB8AC3E}">
        <p14:creationId xmlns:p14="http://schemas.microsoft.com/office/powerpoint/2010/main" val="27655780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graphicFrame>
        <p:nvGraphicFramePr>
          <p:cNvPr id="11" name="Object 2"/>
          <p:cNvGraphicFramePr>
            <a:graphicFrameLocks noChangeAspect="1"/>
          </p:cNvGraphicFramePr>
          <p:nvPr>
            <p:extLst>
              <p:ext uri="{D42A27DB-BD31-4B8C-83A1-F6EECF244321}">
                <p14:modId xmlns:p14="http://schemas.microsoft.com/office/powerpoint/2010/main" val="3452087177"/>
              </p:ext>
            </p:extLst>
          </p:nvPr>
        </p:nvGraphicFramePr>
        <p:xfrm>
          <a:off x="1450975" y="1504950"/>
          <a:ext cx="6265863" cy="1143000"/>
        </p:xfrm>
        <a:graphic>
          <a:graphicData uri="http://schemas.openxmlformats.org/presentationml/2006/ole">
            <mc:AlternateContent xmlns:mc="http://schemas.openxmlformats.org/markup-compatibility/2006">
              <mc:Choice xmlns:v="urn:schemas-microsoft-com:vml" Requires="v">
                <p:oleObj spid="_x0000_s20482" name="Equação" r:id="rId4" imgW="3759120" imgH="685800" progId="Equation.3">
                  <p:embed/>
                </p:oleObj>
              </mc:Choice>
              <mc:Fallback>
                <p:oleObj name="Equação" r:id="rId4" imgW="3759120" imgH="685800" progId="Equation.3">
                  <p:embed/>
                  <p:pic>
                    <p:nvPicPr>
                      <p:cNvPr id="11" name="Object 2"/>
                      <p:cNvPicPr>
                        <a:picLocks noGrp="1" noChangeAspect="1" noChangeArrowheads="1"/>
                      </p:cNvPicPr>
                      <p:nvPr/>
                    </p:nvPicPr>
                    <p:blipFill>
                      <a:blip r:embed="rId5"/>
                      <a:srcRect/>
                      <a:stretch>
                        <a:fillRect/>
                      </a:stretch>
                    </p:blipFill>
                    <p:spPr bwMode="auto">
                      <a:xfrm>
                        <a:off x="1450975" y="1504950"/>
                        <a:ext cx="6265863"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2" name="Object 12"/>
          <p:cNvGraphicFramePr>
            <a:graphicFrameLocks noChangeAspect="1"/>
          </p:cNvGraphicFramePr>
          <p:nvPr>
            <p:extLst>
              <p:ext uri="{D42A27DB-BD31-4B8C-83A1-F6EECF244321}">
                <p14:modId xmlns:p14="http://schemas.microsoft.com/office/powerpoint/2010/main" val="1946506937"/>
              </p:ext>
            </p:extLst>
          </p:nvPr>
        </p:nvGraphicFramePr>
        <p:xfrm>
          <a:off x="1455738" y="2438400"/>
          <a:ext cx="6584950" cy="763588"/>
        </p:xfrm>
        <a:graphic>
          <a:graphicData uri="http://schemas.openxmlformats.org/presentationml/2006/ole">
            <mc:AlternateContent xmlns:mc="http://schemas.openxmlformats.org/markup-compatibility/2006">
              <mc:Choice xmlns:v="urn:schemas-microsoft-com:vml" Requires="v">
                <p:oleObj spid="_x0000_s20483" name="Equação" r:id="rId6" imgW="3848040" imgH="444240" progId="Equation.3">
                  <p:embed/>
                </p:oleObj>
              </mc:Choice>
              <mc:Fallback>
                <p:oleObj name="Equação" r:id="rId6" imgW="3848040" imgH="444240" progId="Equation.3">
                  <p:embed/>
                  <p:pic>
                    <p:nvPicPr>
                      <p:cNvPr id="12" name="Object 12"/>
                      <p:cNvPicPr>
                        <a:picLocks noChangeAspect="1" noChangeArrowheads="1"/>
                      </p:cNvPicPr>
                      <p:nvPr/>
                    </p:nvPicPr>
                    <p:blipFill>
                      <a:blip r:embed="rId7"/>
                      <a:srcRect/>
                      <a:stretch>
                        <a:fillRect/>
                      </a:stretch>
                    </p:blipFill>
                    <p:spPr bwMode="auto">
                      <a:xfrm>
                        <a:off x="1455738" y="2438400"/>
                        <a:ext cx="6584950" cy="763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 name="Object 13"/>
          <p:cNvGraphicFramePr>
            <a:graphicFrameLocks noChangeAspect="1"/>
          </p:cNvGraphicFramePr>
          <p:nvPr>
            <p:extLst>
              <p:ext uri="{D42A27DB-BD31-4B8C-83A1-F6EECF244321}">
                <p14:modId xmlns:p14="http://schemas.microsoft.com/office/powerpoint/2010/main" val="2089438249"/>
              </p:ext>
            </p:extLst>
          </p:nvPr>
        </p:nvGraphicFramePr>
        <p:xfrm>
          <a:off x="1484313" y="3446463"/>
          <a:ext cx="5246687" cy="833437"/>
        </p:xfrm>
        <a:graphic>
          <a:graphicData uri="http://schemas.openxmlformats.org/presentationml/2006/ole">
            <mc:AlternateContent xmlns:mc="http://schemas.openxmlformats.org/markup-compatibility/2006">
              <mc:Choice xmlns:v="urn:schemas-microsoft-com:vml" Requires="v">
                <p:oleObj spid="_x0000_s20484" name="Equação" r:id="rId8" imgW="2793960" imgH="444240" progId="Equation.3">
                  <p:embed/>
                </p:oleObj>
              </mc:Choice>
              <mc:Fallback>
                <p:oleObj name="Equação" r:id="rId8" imgW="2793960" imgH="444240" progId="Equation.3">
                  <p:embed/>
                  <p:pic>
                    <p:nvPicPr>
                      <p:cNvPr id="13" name="Object 13"/>
                      <p:cNvPicPr>
                        <a:picLocks noChangeAspect="1" noChangeArrowheads="1"/>
                      </p:cNvPicPr>
                      <p:nvPr/>
                    </p:nvPicPr>
                    <p:blipFill>
                      <a:blip r:embed="rId9"/>
                      <a:srcRect/>
                      <a:stretch>
                        <a:fillRect/>
                      </a:stretch>
                    </p:blipFill>
                    <p:spPr bwMode="auto">
                      <a:xfrm>
                        <a:off x="1484313" y="3446463"/>
                        <a:ext cx="5246687" cy="833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ítulo 1"/>
          <p:cNvSpPr txBox="1">
            <a:spLocks/>
          </p:cNvSpPr>
          <p:nvPr/>
        </p:nvSpPr>
        <p:spPr>
          <a:xfrm>
            <a:off x="374848" y="140705"/>
            <a:ext cx="8229600" cy="1143000"/>
          </a:xfrm>
          <a:prstGeom prst="rect">
            <a:avLst/>
          </a:prstGeom>
        </p:spPr>
        <p:txBody>
          <a:bodyPr/>
          <a:lstStyle>
            <a:lvl1pPr algn="ctr" defTabSz="914400" rtl="0" eaLnBrk="1" latinLnBrk="0" hangingPunct="1">
              <a:spcBef>
                <a:spcPct val="0"/>
              </a:spcBef>
              <a:buNone/>
              <a:defRPr kumimoji="0" lang="pt-BR" sz="4400" kern="1200">
                <a:solidFill>
                  <a:schemeClr val="tx1"/>
                </a:solidFill>
                <a:latin typeface="+mj-lt"/>
                <a:ea typeface="+mj-ea"/>
                <a:cs typeface="+mj-cs"/>
              </a:defRPr>
            </a:lvl1pPr>
          </a:lstStyle>
          <a:p>
            <a:r>
              <a:rPr lang="pt-BR" b="1" dirty="0"/>
              <a:t>Equações de Estimação para os PI</a:t>
            </a:r>
          </a:p>
        </p:txBody>
      </p:sp>
      <p:sp>
        <p:nvSpPr>
          <p:cNvPr id="3" name="CaixaDeTexto 2"/>
          <p:cNvSpPr txBox="1"/>
          <p:nvPr/>
        </p:nvSpPr>
        <p:spPr>
          <a:xfrm>
            <a:off x="611560" y="4653136"/>
            <a:ext cx="7992888" cy="923330"/>
          </a:xfrm>
          <a:prstGeom prst="rect">
            <a:avLst/>
          </a:prstGeom>
          <a:noFill/>
        </p:spPr>
        <p:txBody>
          <a:bodyPr wrap="square" rtlCol="0">
            <a:spAutoFit/>
          </a:bodyPr>
          <a:lstStyle/>
          <a:p>
            <a:r>
              <a:rPr lang="pt-BR" dirty="0"/>
              <a:t>onde </a:t>
            </a:r>
            <a:r>
              <a:rPr lang="pt-BR" i="1" dirty="0" err="1"/>
              <a:t>P</a:t>
            </a:r>
            <a:r>
              <a:rPr lang="pt-BR" i="1" baseline="-25000" dirty="0" err="1"/>
              <a:t>i</a:t>
            </a:r>
            <a:r>
              <a:rPr lang="pt-BR" i="1" dirty="0"/>
              <a:t> = P(U</a:t>
            </a:r>
            <a:r>
              <a:rPr lang="pt-BR" i="1" baseline="-25000" dirty="0"/>
              <a:t>i</a:t>
            </a:r>
            <a:r>
              <a:rPr lang="pt-BR" i="1" dirty="0"/>
              <a:t> = 1 | </a:t>
            </a:r>
            <a:r>
              <a:rPr lang="el-GR" dirty="0"/>
              <a:t>θ</a:t>
            </a:r>
            <a:r>
              <a:rPr lang="pt-BR" i="1" dirty="0"/>
              <a:t>).   Estas equações não possuem solução explícita. Temos que usar métodos numéricos para achar os valores de a</a:t>
            </a:r>
            <a:r>
              <a:rPr lang="pt-BR" i="1" baseline="-25000" dirty="0"/>
              <a:t>i</a:t>
            </a:r>
            <a:r>
              <a:rPr lang="pt-BR" i="1" dirty="0"/>
              <a:t>, b</a:t>
            </a:r>
            <a:r>
              <a:rPr lang="pt-BR" i="1" baseline="-25000" dirty="0"/>
              <a:t>i</a:t>
            </a:r>
            <a:r>
              <a:rPr lang="pt-BR" i="1" dirty="0"/>
              <a:t> e </a:t>
            </a:r>
            <a:r>
              <a:rPr lang="pt-BR" i="1" dirty="0" err="1"/>
              <a:t>c</a:t>
            </a:r>
            <a:r>
              <a:rPr lang="pt-BR" i="1" baseline="-25000" dirty="0" err="1"/>
              <a:t>i</a:t>
            </a:r>
            <a:r>
              <a:rPr lang="pt-BR" i="1" dirty="0"/>
              <a:t> que maximizam essas funções (Newton-</a:t>
            </a:r>
            <a:r>
              <a:rPr lang="pt-BR" i="1" dirty="0" err="1"/>
              <a:t>Raphson</a:t>
            </a:r>
            <a:r>
              <a:rPr lang="pt-BR" i="1" dirty="0"/>
              <a:t>, por exemplo).</a:t>
            </a:r>
          </a:p>
        </p:txBody>
      </p:sp>
    </p:spTree>
    <p:extLst>
      <p:ext uri="{BB962C8B-B14F-4D97-AF65-F5344CB8AC3E}">
        <p14:creationId xmlns:p14="http://schemas.microsoft.com/office/powerpoint/2010/main" val="3272390703"/>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sp>
        <p:nvSpPr>
          <p:cNvPr id="14" name="Título 1"/>
          <p:cNvSpPr txBox="1">
            <a:spLocks/>
          </p:cNvSpPr>
          <p:nvPr/>
        </p:nvSpPr>
        <p:spPr>
          <a:xfrm>
            <a:off x="913994" y="1628800"/>
            <a:ext cx="7961538" cy="706392"/>
          </a:xfrm>
          <a:prstGeom prst="rect">
            <a:avLst/>
          </a:prstGeom>
        </p:spPr>
        <p:txBody>
          <a:bodyPr vert="horz" lIns="0" rIns="0" bIns="0" anchor="b">
            <a:normAutofit fontScale="775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BR" sz="3200" b="0" i="0" u="none" strike="noStrike" kern="1200" cap="none" spc="0" normalizeH="0" baseline="0" noProof="0" dirty="0">
                <a:ln>
                  <a:noFill/>
                </a:ln>
                <a:solidFill>
                  <a:schemeClr val="tx2"/>
                </a:solidFill>
                <a:effectLst/>
                <a:uLnTx/>
                <a:uFillTx/>
                <a:latin typeface="+mj-lt"/>
                <a:ea typeface="+mj-ea"/>
                <a:cs typeface="+mj-cs"/>
              </a:rPr>
              <a:t>Baseada na distribuição da habilidade, condicionada ao vetor de respostas do indivíduo j</a:t>
            </a:r>
          </a:p>
        </p:txBody>
      </p:sp>
      <p:graphicFrame>
        <p:nvGraphicFramePr>
          <p:cNvPr id="16" name="Objeto 15"/>
          <p:cNvGraphicFramePr>
            <a:graphicFrameLocks noChangeAspect="1"/>
          </p:cNvGraphicFramePr>
          <p:nvPr>
            <p:extLst>
              <p:ext uri="{D42A27DB-BD31-4B8C-83A1-F6EECF244321}">
                <p14:modId xmlns:p14="http://schemas.microsoft.com/office/powerpoint/2010/main" val="1408370436"/>
              </p:ext>
            </p:extLst>
          </p:nvPr>
        </p:nvGraphicFramePr>
        <p:xfrm>
          <a:off x="1767458" y="2489702"/>
          <a:ext cx="6089650" cy="673100"/>
        </p:xfrm>
        <a:graphic>
          <a:graphicData uri="http://schemas.openxmlformats.org/presentationml/2006/ole">
            <mc:AlternateContent xmlns:mc="http://schemas.openxmlformats.org/markup-compatibility/2006">
              <mc:Choice xmlns:v="urn:schemas-microsoft-com:vml" Requires="v">
                <p:oleObj spid="_x0000_s21506" name="Equação" r:id="rId4" imgW="2298600" imgH="253800" progId="Equation.3">
                  <p:embed/>
                </p:oleObj>
              </mc:Choice>
              <mc:Fallback>
                <p:oleObj name="Equação" r:id="rId4" imgW="2298600" imgH="253800" progId="Equation.3">
                  <p:embed/>
                  <p:pic>
                    <p:nvPicPr>
                      <p:cNvPr id="16" name="Objeto 15"/>
                      <p:cNvPicPr>
                        <a:picLocks noChangeAspect="1" noChangeArrowheads="1"/>
                      </p:cNvPicPr>
                      <p:nvPr/>
                    </p:nvPicPr>
                    <p:blipFill>
                      <a:blip r:embed="rId5"/>
                      <a:srcRect/>
                      <a:stretch>
                        <a:fillRect/>
                      </a:stretch>
                    </p:blipFill>
                    <p:spPr bwMode="auto">
                      <a:xfrm>
                        <a:off x="1767458" y="2489702"/>
                        <a:ext cx="6089650" cy="673100"/>
                      </a:xfrm>
                      <a:prstGeom prst="rect">
                        <a:avLst/>
                      </a:prstGeom>
                      <a:noFill/>
                      <a:ln>
                        <a:noFill/>
                      </a:ln>
                      <a:effectLst/>
                    </p:spPr>
                  </p:pic>
                </p:oleObj>
              </mc:Fallback>
            </mc:AlternateContent>
          </a:graphicData>
        </a:graphic>
      </p:graphicFrame>
      <p:sp>
        <p:nvSpPr>
          <p:cNvPr id="17" name="Título 1"/>
          <p:cNvSpPr txBox="1">
            <a:spLocks/>
          </p:cNvSpPr>
          <p:nvPr/>
        </p:nvSpPr>
        <p:spPr>
          <a:xfrm>
            <a:off x="374848" y="140705"/>
            <a:ext cx="8229600" cy="1143000"/>
          </a:xfrm>
          <a:prstGeom prst="rect">
            <a:avLst/>
          </a:prstGeom>
        </p:spPr>
        <p:txBody>
          <a:bodyPr/>
          <a:lstStyle>
            <a:lvl1pPr algn="ctr" defTabSz="914400" rtl="0" eaLnBrk="1" latinLnBrk="0" hangingPunct="1">
              <a:spcBef>
                <a:spcPct val="0"/>
              </a:spcBef>
              <a:buNone/>
              <a:defRPr kumimoji="0" lang="pt-BR" sz="4400" kern="1200">
                <a:solidFill>
                  <a:schemeClr val="tx1"/>
                </a:solidFill>
                <a:latin typeface="+mj-lt"/>
                <a:ea typeface="+mj-ea"/>
                <a:cs typeface="+mj-cs"/>
              </a:defRPr>
            </a:lvl1pPr>
          </a:lstStyle>
          <a:p>
            <a:r>
              <a:rPr lang="pt-BR" b="1" dirty="0"/>
              <a:t>Equações de Estimação as Proficiências</a:t>
            </a:r>
          </a:p>
        </p:txBody>
      </p:sp>
      <p:sp>
        <p:nvSpPr>
          <p:cNvPr id="3" name="CaixaDeTexto 2"/>
          <p:cNvSpPr txBox="1"/>
          <p:nvPr/>
        </p:nvSpPr>
        <p:spPr>
          <a:xfrm>
            <a:off x="827584" y="3324770"/>
            <a:ext cx="7723907" cy="1477328"/>
          </a:xfrm>
          <a:prstGeom prst="rect">
            <a:avLst/>
          </a:prstGeom>
          <a:noFill/>
        </p:spPr>
        <p:txBody>
          <a:bodyPr wrap="square" rtlCol="0">
            <a:spAutoFit/>
          </a:bodyPr>
          <a:lstStyle/>
          <a:p>
            <a:r>
              <a:rPr lang="pt-BR" dirty="0"/>
              <a:t>Em suma, e o ajustamento da distribuição da habilidade N(0,1) para ficar compatível com as respostas do indivíduo </a:t>
            </a:r>
            <a:r>
              <a:rPr lang="pt-BR" i="1" dirty="0"/>
              <a:t>j</a:t>
            </a:r>
            <a:r>
              <a:rPr lang="pt-BR" dirty="0"/>
              <a:t>.  Assim, cada indivíduo passa a ter sua própria função densidade.</a:t>
            </a:r>
          </a:p>
          <a:p>
            <a:r>
              <a:rPr lang="pt-BR" dirty="0"/>
              <a:t>Como estimador, podemos usar a Esperança desta distribuição (EAP) ou a Moda (MAP)</a:t>
            </a:r>
          </a:p>
        </p:txBody>
      </p:sp>
      <p:graphicFrame>
        <p:nvGraphicFramePr>
          <p:cNvPr id="7" name="Object 11"/>
          <p:cNvGraphicFramePr>
            <a:graphicFrameLocks noChangeAspect="1"/>
          </p:cNvGraphicFramePr>
          <p:nvPr>
            <p:extLst>
              <p:ext uri="{D42A27DB-BD31-4B8C-83A1-F6EECF244321}">
                <p14:modId xmlns:p14="http://schemas.microsoft.com/office/powerpoint/2010/main" val="3499135995"/>
              </p:ext>
            </p:extLst>
          </p:nvPr>
        </p:nvGraphicFramePr>
        <p:xfrm>
          <a:off x="4387677" y="5157192"/>
          <a:ext cx="3469431" cy="715213"/>
        </p:xfrm>
        <a:graphic>
          <a:graphicData uri="http://schemas.openxmlformats.org/presentationml/2006/ole">
            <mc:AlternateContent xmlns:mc="http://schemas.openxmlformats.org/markup-compatibility/2006">
              <mc:Choice xmlns:v="urn:schemas-microsoft-com:vml" Requires="v">
                <p:oleObj spid="_x0000_s21507" name="Equação" r:id="rId6" imgW="2463480" imgH="507960" progId="Equation.3">
                  <p:embed/>
                </p:oleObj>
              </mc:Choice>
              <mc:Fallback>
                <p:oleObj name="Equação" r:id="rId6" imgW="2463480" imgH="507960" progId="Equation.3">
                  <p:embed/>
                  <p:pic>
                    <p:nvPicPr>
                      <p:cNvPr id="7" name="Object 11"/>
                      <p:cNvPicPr>
                        <a:picLocks noChangeAspect="1" noChangeArrowheads="1"/>
                      </p:cNvPicPr>
                      <p:nvPr/>
                    </p:nvPicPr>
                    <p:blipFill>
                      <a:blip r:embed="rId7"/>
                      <a:srcRect/>
                      <a:stretch>
                        <a:fillRect/>
                      </a:stretch>
                    </p:blipFill>
                    <p:spPr bwMode="auto">
                      <a:xfrm>
                        <a:off x="4387677" y="5157192"/>
                        <a:ext cx="3469431" cy="715213"/>
                      </a:xfrm>
                      <a:prstGeom prst="rect">
                        <a:avLst/>
                      </a:prstGeom>
                      <a:noFill/>
                      <a:ln>
                        <a:noFill/>
                      </a:ln>
                      <a:effectLst/>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2219103348"/>
              </p:ext>
            </p:extLst>
          </p:nvPr>
        </p:nvGraphicFramePr>
        <p:xfrm>
          <a:off x="913994" y="5210970"/>
          <a:ext cx="2509838" cy="698500"/>
        </p:xfrm>
        <a:graphic>
          <a:graphicData uri="http://schemas.openxmlformats.org/presentationml/2006/ole">
            <mc:AlternateContent xmlns:mc="http://schemas.openxmlformats.org/markup-compatibility/2006">
              <mc:Choice xmlns:v="urn:schemas-microsoft-com:vml" Requires="v">
                <p:oleObj spid="_x0000_s21508" name="Equação" r:id="rId8" imgW="1002960" imgH="279360" progId="Equation.3">
                  <p:embed/>
                </p:oleObj>
              </mc:Choice>
              <mc:Fallback>
                <p:oleObj name="Equação" r:id="rId8" imgW="1002960" imgH="279360" progId="Equation.3">
                  <p:embed/>
                  <p:pic>
                    <p:nvPicPr>
                      <p:cNvPr id="8" name="Objeto 7"/>
                      <p:cNvPicPr>
                        <a:picLocks noChangeAspect="1" noChangeArrowheads="1"/>
                      </p:cNvPicPr>
                      <p:nvPr/>
                    </p:nvPicPr>
                    <p:blipFill>
                      <a:blip r:embed="rId9"/>
                      <a:srcRect/>
                      <a:stretch>
                        <a:fillRect/>
                      </a:stretch>
                    </p:blipFill>
                    <p:spPr bwMode="auto">
                      <a:xfrm>
                        <a:off x="913994" y="5210970"/>
                        <a:ext cx="2509838" cy="698500"/>
                      </a:xfrm>
                      <a:prstGeom prst="rect">
                        <a:avLst/>
                      </a:prstGeom>
                      <a:noFill/>
                      <a:ln>
                        <a:noFill/>
                      </a:ln>
                      <a:effectLst/>
                    </p:spPr>
                  </p:pic>
                </p:oleObj>
              </mc:Fallback>
            </mc:AlternateContent>
          </a:graphicData>
        </a:graphic>
      </p:graphicFrame>
      <p:sp>
        <p:nvSpPr>
          <p:cNvPr id="4" name="CaixaDeTexto 3"/>
          <p:cNvSpPr txBox="1"/>
          <p:nvPr/>
        </p:nvSpPr>
        <p:spPr>
          <a:xfrm>
            <a:off x="1299406" y="5157192"/>
            <a:ext cx="468052" cy="307777"/>
          </a:xfrm>
          <a:prstGeom prst="rect">
            <a:avLst/>
          </a:prstGeom>
          <a:noFill/>
        </p:spPr>
        <p:txBody>
          <a:bodyPr wrap="square" rtlCol="0">
            <a:spAutoFit/>
          </a:bodyPr>
          <a:lstStyle/>
          <a:p>
            <a:r>
              <a:rPr lang="pt-BR" sz="1400" dirty="0"/>
              <a:t>EAP</a:t>
            </a:r>
          </a:p>
        </p:txBody>
      </p:sp>
      <p:sp>
        <p:nvSpPr>
          <p:cNvPr id="5" name="CaixaDeTexto 4"/>
          <p:cNvSpPr txBox="1"/>
          <p:nvPr/>
        </p:nvSpPr>
        <p:spPr>
          <a:xfrm>
            <a:off x="4387677" y="4725144"/>
            <a:ext cx="3856731" cy="369332"/>
          </a:xfrm>
          <a:prstGeom prst="rect">
            <a:avLst/>
          </a:prstGeom>
          <a:noFill/>
        </p:spPr>
        <p:txBody>
          <a:bodyPr wrap="square" rtlCol="0">
            <a:spAutoFit/>
          </a:bodyPr>
          <a:lstStyle/>
          <a:p>
            <a:r>
              <a:rPr lang="pt-BR" dirty="0" err="1"/>
              <a:t>arg</a:t>
            </a:r>
            <a:r>
              <a:rPr lang="pt-BR" dirty="0"/>
              <a:t> </a:t>
            </a:r>
            <a:r>
              <a:rPr lang="pt-BR" dirty="0" err="1"/>
              <a:t>max</a:t>
            </a:r>
            <a:r>
              <a:rPr lang="pt-BR" dirty="0"/>
              <a:t> log-verossimilhança:</a:t>
            </a:r>
          </a:p>
        </p:txBody>
      </p:sp>
    </p:spTree>
    <p:extLst>
      <p:ext uri="{BB962C8B-B14F-4D97-AF65-F5344CB8AC3E}">
        <p14:creationId xmlns:p14="http://schemas.microsoft.com/office/powerpoint/2010/main" val="134536405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custDataLst>
              <p:tags r:id="rId1"/>
            </p:custDataLst>
          </p:nvPr>
        </p:nvSpPr>
        <p:spPr>
          <a:xfrm>
            <a:off x="395536" y="1484784"/>
            <a:ext cx="6319604" cy="4658860"/>
          </a:xfrm>
          <a:prstGeom prst="rect">
            <a:avLst/>
          </a:prstGeom>
        </p:spPr>
        <p:txBody>
          <a:bodyPr>
            <a:normAutofit/>
          </a:bodyPr>
          <a:lstStyle/>
          <a:p>
            <a:pPr marL="457200" indent="-457200">
              <a:lnSpc>
                <a:spcPct val="114000"/>
              </a:lnSpc>
              <a:spcBef>
                <a:spcPct val="20000"/>
              </a:spcBef>
              <a:defRPr lang="pt-BR"/>
            </a:pPr>
            <a:endParaRPr lang="pt-BR" sz="2200" dirty="0">
              <a:solidFill>
                <a:prstClr val="black"/>
              </a:solidFill>
            </a:endParaRPr>
          </a:p>
        </p:txBody>
      </p:sp>
      <p:grpSp>
        <p:nvGrpSpPr>
          <p:cNvPr id="2" name="Group 9"/>
          <p:cNvGrpSpPr/>
          <p:nvPr/>
        </p:nvGrpSpPr>
        <p:grpSpPr>
          <a:xfrm>
            <a:off x="7164288" y="692696"/>
            <a:ext cx="1438275" cy="1438275"/>
            <a:chOff x="762001" y="1946209"/>
            <a:chExt cx="2057400" cy="2057400"/>
          </a:xfrm>
        </p:grpSpPr>
        <p:sp>
          <p:nvSpPr>
            <p:cNvPr id="8" name="Oval 7"/>
            <p:cNvSpPr/>
            <p:nvPr/>
          </p:nvSpPr>
          <p:spPr>
            <a:xfrm>
              <a:off x="762001" y="1946209"/>
              <a:ext cx="2057400" cy="2057400"/>
            </a:xfrm>
            <a:prstGeom prst="ellipse">
              <a:avLst/>
            </a:prstGeom>
            <a:gradFill>
              <a:gsLst>
                <a:gs pos="38000">
                  <a:srgbClr val="00B0F0"/>
                </a:gs>
                <a:gs pos="79000">
                  <a:srgbClr val="0065B0"/>
                </a:gs>
              </a:gsLst>
              <a:path path="circle">
                <a:fillToRect l="50000" t="50000" r="50000" b="50000"/>
              </a:path>
            </a:gradFill>
            <a:ln w="82550">
              <a:noFill/>
            </a:ln>
            <a:effectLst>
              <a:outerShdw blurRad="1270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9" name="Oval 8"/>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grpSp>
      <p:pic>
        <p:nvPicPr>
          <p:cNvPr id="12" name="Picture 11"/>
          <p:cNvPicPr>
            <a:picLocks noChangeAspect="1"/>
          </p:cNvPicPr>
          <p:nvPr/>
        </p:nvPicPr>
        <p:blipFill>
          <a:blip r:embed="rId4" cstate="print"/>
          <a:stretch>
            <a:fillRect/>
          </a:stretch>
        </p:blipFill>
        <p:spPr>
          <a:xfrm>
            <a:off x="7308304" y="836712"/>
            <a:ext cx="1133856" cy="1133856"/>
          </a:xfrm>
          <a:prstGeom prst="rect">
            <a:avLst/>
          </a:prstGeom>
        </p:spPr>
      </p:pic>
      <p:sp>
        <p:nvSpPr>
          <p:cNvPr id="19" name="Title 18"/>
          <p:cNvSpPr>
            <a:spLocks noGrp="1"/>
          </p:cNvSpPr>
          <p:nvPr>
            <p:ph type="title"/>
          </p:nvPr>
        </p:nvSpPr>
        <p:spPr>
          <a:xfrm>
            <a:off x="445911" y="76200"/>
            <a:ext cx="8229600" cy="1143000"/>
          </a:xfrm>
        </p:spPr>
        <p:txBody>
          <a:bodyPr>
            <a:normAutofit/>
          </a:bodyPr>
          <a:lstStyle/>
          <a:p>
            <a:pPr lvl="0">
              <a:spcBef>
                <a:spcPts val="0"/>
              </a:spcBef>
            </a:pPr>
            <a:r>
              <a:rPr lang="pt-BR" b="1" dirty="0">
                <a:solidFill>
                  <a:prstClr val="black">
                    <a:lumMod val="85000"/>
                    <a:lumOff val="15000"/>
                  </a:prstClr>
                </a:solidFill>
                <a:ea typeface="+mn-ea"/>
                <a:cs typeface="+mn-cs"/>
              </a:rPr>
              <a:t>Algumas perguntas a fazer...</a:t>
            </a:r>
            <a:endParaRPr lang="pt-BR" dirty="0"/>
          </a:p>
        </p:txBody>
      </p:sp>
      <p:pic>
        <p:nvPicPr>
          <p:cNvPr id="17" name="Picture 16"/>
          <p:cNvPicPr>
            <a:picLocks noChangeAspect="1"/>
          </p:cNvPicPr>
          <p:nvPr/>
        </p:nvPicPr>
        <p:blipFill>
          <a:blip r:embed="rId5" cstate="print"/>
          <a:stretch>
            <a:fillRect/>
          </a:stretch>
        </p:blipFill>
        <p:spPr>
          <a:xfrm>
            <a:off x="7308304" y="5301208"/>
            <a:ext cx="1134454" cy="1134454"/>
          </a:xfrm>
          <a:prstGeom prst="rect">
            <a:avLst/>
          </a:prstGeom>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372599" y="2062304"/>
            <a:ext cx="559337" cy="452296"/>
          </a:xfrm>
          <a:prstGeom prst="rect">
            <a:avLst/>
          </a:prstGeom>
          <a:extLst>
            <a:ext uri="{53640926-AAD7-44D8-BBD7-CCE9431645EC}">
              <a14:shadowObscured xmlns:a14="http://schemas.microsoft.com/office/drawing/2010/main" val="1"/>
            </a:ext>
          </a:extLst>
        </p:spPr>
      </p:pic>
      <p:sp>
        <p:nvSpPr>
          <p:cNvPr id="10" name="CaixaDeTexto 9"/>
          <p:cNvSpPr txBox="1"/>
          <p:nvPr/>
        </p:nvSpPr>
        <p:spPr>
          <a:xfrm>
            <a:off x="285720" y="1071547"/>
            <a:ext cx="7000924" cy="1938992"/>
          </a:xfrm>
          <a:prstGeom prst="rect">
            <a:avLst/>
          </a:prstGeom>
          <a:noFill/>
        </p:spPr>
        <p:txBody>
          <a:bodyPr wrap="square" rtlCol="0">
            <a:spAutoFit/>
          </a:bodyPr>
          <a:lstStyle/>
          <a:p>
            <a:pPr fontAlgn="base"/>
            <a:r>
              <a:rPr sz="2000">
                <a:solidFill>
                  <a:schemeClr val="accent5">
                    <a:lumMod val="50000"/>
                  </a:schemeClr>
                </a:solidFill>
              </a:rPr>
              <a:t>A ordem de nascimento na família é algo que há muito tempo desperta a rivalidade entre irmãos, mas, segundo um novo estudo, também pode influenciar a personalidade e a inteligência da criança.  Os primogênitos são tipicamente mais espertos, enquanto os irmãos mais novos têm melhores notas e são mais extrovertidos.</a:t>
            </a:r>
          </a:p>
        </p:txBody>
      </p:sp>
      <p:sp>
        <p:nvSpPr>
          <p:cNvPr id="11" name="CaixaDeTexto 10"/>
          <p:cNvSpPr txBox="1"/>
          <p:nvPr/>
        </p:nvSpPr>
        <p:spPr>
          <a:xfrm>
            <a:off x="357158" y="3143248"/>
            <a:ext cx="8072494" cy="3046988"/>
          </a:xfrm>
          <a:prstGeom prst="rect">
            <a:avLst/>
          </a:prstGeom>
          <a:noFill/>
        </p:spPr>
        <p:txBody>
          <a:bodyPr wrap="square" rtlCol="0">
            <a:spAutoFit/>
          </a:bodyPr>
          <a:lstStyle/>
          <a:p>
            <a:pPr fontAlgn="base"/>
            <a:r>
              <a:rPr sz="2000">
                <a:solidFill>
                  <a:schemeClr val="accent5">
                    <a:lumMod val="50000"/>
                  </a:schemeClr>
                </a:solidFill>
              </a:rPr>
              <a:t>Nos últimos 125 anos, muitos estudos documentaram diferenças de personalidade determinadas pela ordem do nascimento. Um deles mostra que os pais encorajam os mais velhos a seguir carreiras tradicionais como Direito, mas têm uma postura muito mais relaxada em relação aos mais novos. Dos 23 astronautas que foram ao espaço, 21 eram filhos mais velhos. Uma pesquisa de 2007 com executivos das maiores empresas americanas mostrou que 43% deles eram filhos mais velhos, 33% eram do meio e 23%, caçulas. </a:t>
            </a:r>
          </a:p>
          <a:p>
            <a:endParaRPr sz="1400"/>
          </a:p>
          <a:p>
            <a:endParaRPr lang="pt-B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50000" decel="50000" fill="hold" nodeType="withEffect">
                                  <p:stCondLst>
                                    <p:cond delay="500"/>
                                  </p:stCondLst>
                                  <p:childTnLst>
                                    <p:animRot by="21600000">
                                      <p:cBhvr>
                                        <p:cTn id="6" dur="500" fill="hold"/>
                                        <p:tgtEl>
                                          <p:spTgt spid="12"/>
                                        </p:tgtEl>
                                        <p:attrNameLst>
                                          <p:attrName>r</p:attrName>
                                        </p:attrNameLst>
                                      </p:cBhvr>
                                    </p:animRot>
                                  </p:childTnLst>
                                </p:cTn>
                              </p:par>
                              <p:par>
                                <p:cTn id="7" presetID="10" presetClass="entr" presetSubtype="0" fill="hold" nodeType="withEffect">
                                  <p:stCondLst>
                                    <p:cond delay="5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childTnLst>
                                </p:cTn>
                              </p:par>
                            </p:childTnLst>
                          </p:cTn>
                        </p:par>
                        <p:par>
                          <p:cTn id="10" fill="hold">
                            <p:stCondLst>
                              <p:cond delay="1500"/>
                            </p:stCondLst>
                            <p:childTnLst>
                              <p:par>
                                <p:cTn id="11" presetID="42" presetClass="path" presetSubtype="0" accel="19000" decel="40000" fill="hold" nodeType="afterEffect">
                                  <p:stCondLst>
                                    <p:cond delay="0"/>
                                  </p:stCondLst>
                                  <p:childTnLst>
                                    <p:animMotion origin="layout" path="M -0.01389 -0.01134 L -0.50556 -0.00764 " pathEditMode="relative" rAng="0" ptsTypes="AA">
                                      <p:cBhvr>
                                        <p:cTn id="12" dur="1000" fill="hold"/>
                                        <p:tgtEl>
                                          <p:spTgt spid="2050"/>
                                        </p:tgtEl>
                                        <p:attrNameLst>
                                          <p:attrName>ppt_x</p:attrName>
                                          <p:attrName>ppt_y</p:attrName>
                                        </p:attrNameLst>
                                      </p:cBhvr>
                                      <p:rCtr x="-24583" y="185"/>
                                    </p:animMotion>
                                  </p:childTnLst>
                                </p:cTn>
                              </p:par>
                            </p:childTnLst>
                          </p:cTn>
                        </p:par>
                        <p:par>
                          <p:cTn id="13" fill="hold">
                            <p:stCondLst>
                              <p:cond delay="2500"/>
                            </p:stCondLst>
                            <p:childTnLst>
                              <p:par>
                                <p:cTn id="14" presetID="0" presetClass="path" presetSubtype="0" accel="50000" decel="50000" fill="hold" nodeType="afterEffect">
                                  <p:stCondLst>
                                    <p:cond delay="0"/>
                                  </p:stCondLst>
                                  <p:childTnLst>
                                    <p:animMotion origin="layout" path="M -0.50452 -0.0081 C -0.49844 -0.00555 -0.49306 -0.00139 -0.48716 0.00092 C -0.48368 0.00439 -0.48073 0.00462 -0.47691 0.00717 C -0.47344 0.00948 -0.46997 0.01248 -0.4665 0.0148 C -0.45886 0.01989 -0.45 0.02197 -0.44237 0.02705 C -0.43073 0.03492 -0.41928 0.04486 -0.40678 0.04995 C -0.40365 0.05458 -0.39636 0.05735 -0.39184 0.06082 C -0.38438 0.0666 -0.37605 0.07007 -0.36875 0.07608 C -0.36493 0.07932 -0.36459 0.08117 -0.36077 0.08372 C -0.35625 0.08672 -0.35816 0.08348 -0.35382 0.08834 C -0.34792 0.09505 -0.33612 0.10892 -0.32865 0.11147 C -0.32587 0.11679 -0.32344 0.12026 -0.31945 0.12372 C -0.31823 0.12581 -0.31737 0.12812 -0.31598 0.12997 C -0.31459 0.13182 -0.3125 0.13251 -0.31129 0.13436 C -0.31059 0.13552 -0.31077 0.1376 -0.31025 0.13899 C -0.30973 0.14038 -0.30868 0.14107 -0.30799 0.14223 C -0.30521 0.15263 -0.30712 0.14893 -0.3033 0.15448 C -0.30035 0.16512 -0.29775 0.17576 -0.29532 0.18663 C -0.29219 0.21878 -0.30053 0.26272 -0.31719 0.28769 C -0.32066 0.29301 -0.32483 0.29787 -0.32865 0.30296 C -0.33056 0.3055 -0.33351 0.30643 -0.33542 0.30897 C -0.33924 0.31383 -0.34202 0.31753 -0.34705 0.31984 C -0.35226 0.32631 -0.36059 0.33372 -0.36771 0.33649 C -0.37171 0.34227 -0.38351 0.3462 -0.38959 0.34875 C -0.3941 0.35522 -0.40921 0.35915 -0.41598 0.36124 C -0.42934 0.3647 -0.44219 0.37072 -0.45504 0.37673 C -0.4632 0.38043 -0.47084 0.38506 -0.47917 0.38876 C -0.48664 0.39199 -0.47848 0.38829 -0.48612 0.39338 C -0.48716 0.39408 -0.50782 0.39801 -0.50782 0.39824 " pathEditMode="relative" rAng="0" ptsTypes="fffffffffffffffffffffffffffff">
                                      <p:cBhvr>
                                        <p:cTn id="15" dur="1500" fill="hold"/>
                                        <p:tgtEl>
                                          <p:spTgt spid="2050"/>
                                        </p:tgtEl>
                                        <p:attrNameLst>
                                          <p:attrName>ppt_x</p:attrName>
                                          <p:attrName>ppt_y</p:attrName>
                                        </p:attrNameLst>
                                      </p:cBhvr>
                                      <p:rCtr x="10451" y="20305"/>
                                    </p:animMotion>
                                  </p:childTnLst>
                                </p:cTn>
                              </p:par>
                            </p:childTnLst>
                          </p:cTn>
                        </p:par>
                        <p:par>
                          <p:cTn id="16" fill="hold">
                            <p:stCondLst>
                              <p:cond delay="4000"/>
                            </p:stCondLst>
                            <p:childTnLst>
                              <p:par>
                                <p:cTn id="17" presetID="0" presetClass="path" presetSubtype="0" accel="50000" decel="50000" fill="hold" nodeType="afterEffect">
                                  <p:stCondLst>
                                    <p:cond delay="0"/>
                                  </p:stCondLst>
                                  <p:childTnLst>
                                    <p:animMotion origin="layout" path="M -0.50834 0.39939 L -0.38889 0.42853 " pathEditMode="relative" rAng="0" ptsTypes="AA">
                                      <p:cBhvr>
                                        <p:cTn id="18" dur="1000" fill="hold"/>
                                        <p:tgtEl>
                                          <p:spTgt spid="2050"/>
                                        </p:tgtEl>
                                        <p:attrNameLst>
                                          <p:attrName>ppt_x</p:attrName>
                                          <p:attrName>ppt_y</p:attrName>
                                        </p:attrNameLst>
                                      </p:cBhvr>
                                      <p:rCtr x="5972" y="1457"/>
                                    </p:animMotion>
                                  </p:childTnLst>
                                </p:cTn>
                              </p:par>
                              <p:par>
                                <p:cTn id="19" presetID="8" presetClass="emph" presetSubtype="0" accel="50000" decel="50000" fill="hold" nodeType="withEffect">
                                  <p:stCondLst>
                                    <p:cond delay="500"/>
                                  </p:stCondLst>
                                  <p:childTnLst>
                                    <p:animRot by="21600000">
                                      <p:cBhvr>
                                        <p:cTn id="20" dur="5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imativas das Habilidades</a:t>
            </a:r>
          </a:p>
        </p:txBody>
      </p:sp>
      <p:graphicFrame>
        <p:nvGraphicFramePr>
          <p:cNvPr id="4" name="Chart 1"/>
          <p:cNvGraphicFramePr>
            <a:graphicFrameLocks/>
          </p:cNvGraphicFramePr>
          <p:nvPr>
            <p:extLst/>
          </p:nvPr>
        </p:nvGraphicFramePr>
        <p:xfrm>
          <a:off x="395536" y="1196752"/>
          <a:ext cx="8280920" cy="48665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13951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5F8687F-265E-4318-AD8D-CB2843C7EDF3}"/>
              </a:ext>
            </a:extLst>
          </p:cNvPr>
          <p:cNvSpPr>
            <a:spLocks noGrp="1"/>
          </p:cNvSpPr>
          <p:nvPr>
            <p:ph type="title"/>
          </p:nvPr>
        </p:nvSpPr>
        <p:spPr>
          <a:xfrm>
            <a:off x="467544" y="1988840"/>
            <a:ext cx="7992888" cy="2376264"/>
          </a:xfrm>
        </p:spPr>
        <p:txBody>
          <a:bodyPr>
            <a:normAutofit/>
          </a:bodyPr>
          <a:lstStyle/>
          <a:p>
            <a:r>
              <a:rPr lang="en-US" sz="5400" dirty="0">
                <a:solidFill>
                  <a:schemeClr val="tx1"/>
                </a:solidFill>
              </a:rPr>
              <a:t>RECURSOS COMPUTACIONAIS</a:t>
            </a:r>
          </a:p>
        </p:txBody>
      </p:sp>
    </p:spTree>
    <p:extLst>
      <p:ext uri="{BB962C8B-B14F-4D97-AF65-F5344CB8AC3E}">
        <p14:creationId xmlns:p14="http://schemas.microsoft.com/office/powerpoint/2010/main" val="22630310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22" name="Rectangle 2"/>
          <p:cNvSpPr>
            <a:spLocks noGrp="1" noChangeArrowheads="1"/>
          </p:cNvSpPr>
          <p:nvPr>
            <p:ph type="title"/>
          </p:nvPr>
        </p:nvSpPr>
        <p:spPr/>
        <p:txBody>
          <a:bodyPr/>
          <a:lstStyle/>
          <a:p>
            <a:pPr eaLnBrk="1" hangingPunct="1">
              <a:defRPr/>
            </a:pPr>
            <a:r>
              <a:rPr lang="pt-BR"/>
              <a:t>Softwares</a:t>
            </a:r>
          </a:p>
        </p:txBody>
      </p:sp>
      <p:sp>
        <p:nvSpPr>
          <p:cNvPr id="593923" name="Rectangle 3"/>
          <p:cNvSpPr>
            <a:spLocks noGrp="1" noChangeArrowheads="1"/>
          </p:cNvSpPr>
          <p:nvPr>
            <p:ph type="body" sz="half" idx="1"/>
          </p:nvPr>
        </p:nvSpPr>
        <p:spPr>
          <a:xfrm>
            <a:off x="457200" y="1600200"/>
            <a:ext cx="5843588" cy="4495800"/>
          </a:xfrm>
        </p:spPr>
        <p:txBody>
          <a:bodyPr/>
          <a:lstStyle/>
          <a:p>
            <a:pPr eaLnBrk="1" hangingPunct="1">
              <a:defRPr/>
            </a:pPr>
            <a:r>
              <a:rPr lang="pt-BR" sz="2800" dirty="0"/>
              <a:t>BILOG-MG (</a:t>
            </a:r>
            <a:r>
              <a:rPr lang="pt-BR" sz="2800" dirty="0">
                <a:hlinkClick r:id="rId3"/>
              </a:rPr>
              <a:t>www.ssicentral.com</a:t>
            </a:r>
            <a:r>
              <a:rPr lang="pt-BR" sz="2800" dirty="0"/>
              <a:t>)</a:t>
            </a:r>
          </a:p>
          <a:p>
            <a:pPr eaLnBrk="1" hangingPunct="1">
              <a:defRPr/>
            </a:pPr>
            <a:r>
              <a:rPr lang="pt-BR" sz="2800" dirty="0" err="1"/>
              <a:t>Xcalibre</a:t>
            </a:r>
            <a:endParaRPr lang="pt-BR" sz="2800" dirty="0"/>
          </a:p>
          <a:p>
            <a:pPr eaLnBrk="1" hangingPunct="1">
              <a:defRPr/>
            </a:pPr>
            <a:r>
              <a:rPr lang="pt-BR" sz="2800" dirty="0" err="1"/>
              <a:t>Parscale</a:t>
            </a:r>
            <a:endParaRPr lang="pt-BR" sz="2800" dirty="0"/>
          </a:p>
          <a:p>
            <a:pPr eaLnBrk="1" hangingPunct="1">
              <a:defRPr/>
            </a:pPr>
            <a:r>
              <a:rPr lang="pt-BR" sz="2800" dirty="0" err="1"/>
              <a:t>TestFact</a:t>
            </a:r>
            <a:endParaRPr lang="pt-BR" sz="2800" dirty="0"/>
          </a:p>
          <a:p>
            <a:pPr eaLnBrk="1" hangingPunct="1">
              <a:defRPr/>
            </a:pPr>
            <a:r>
              <a:rPr lang="pt-BR" sz="2800" dirty="0" err="1"/>
              <a:t>Multilog</a:t>
            </a:r>
            <a:endParaRPr lang="pt-BR" sz="2800" dirty="0"/>
          </a:p>
          <a:p>
            <a:pPr eaLnBrk="1" hangingPunct="1">
              <a:defRPr/>
            </a:pPr>
            <a:r>
              <a:rPr lang="pt-BR" sz="2800" dirty="0"/>
              <a:t>R</a:t>
            </a:r>
          </a:p>
        </p:txBody>
      </p:sp>
      <p:sp>
        <p:nvSpPr>
          <p:cNvPr id="75780" name="Text Box 4"/>
          <p:cNvSpPr txBox="1">
            <a:spLocks noChangeArrowheads="1"/>
          </p:cNvSpPr>
          <p:nvPr/>
        </p:nvSpPr>
        <p:spPr bwMode="auto">
          <a:xfrm>
            <a:off x="2771775" y="2420938"/>
            <a:ext cx="56165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spcBef>
                <a:spcPct val="50000"/>
              </a:spcBef>
            </a:pPr>
            <a:endParaRPr lang="pt-BR" altLang="pt-BR"/>
          </a:p>
        </p:txBody>
      </p:sp>
      <p:pic>
        <p:nvPicPr>
          <p:cNvPr id="75781" name="Picture 5"/>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a:xfrm>
            <a:off x="3419475" y="2179638"/>
            <a:ext cx="5473700" cy="4384675"/>
          </a:xfr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82715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pPr eaLnBrk="1" hangingPunct="1">
              <a:defRPr/>
            </a:pPr>
            <a:r>
              <a:rPr lang="pt-BR"/>
              <a:t>BILOG-MG</a:t>
            </a:r>
          </a:p>
        </p:txBody>
      </p:sp>
      <p:sp>
        <p:nvSpPr>
          <p:cNvPr id="595971" name="Rectangle 3"/>
          <p:cNvSpPr>
            <a:spLocks noGrp="1" noChangeArrowheads="1"/>
          </p:cNvSpPr>
          <p:nvPr>
            <p:ph type="body" idx="1"/>
          </p:nvPr>
        </p:nvSpPr>
        <p:spPr/>
        <p:txBody>
          <a:bodyPr>
            <a:normAutofit lnSpcReduction="10000"/>
          </a:bodyPr>
          <a:lstStyle/>
          <a:p>
            <a:pPr eaLnBrk="1" hangingPunct="1">
              <a:lnSpc>
                <a:spcPct val="90000"/>
              </a:lnSpc>
              <a:defRPr/>
            </a:pPr>
            <a:r>
              <a:rPr lang="pt-BR"/>
              <a:t>Exige um arquivo para o Banco de Dados e outro para a Macro (linhas de comando).  A macro tem um formato específico;</a:t>
            </a:r>
          </a:p>
          <a:p>
            <a:pPr eaLnBrk="1" hangingPunct="1">
              <a:lnSpc>
                <a:spcPct val="90000"/>
              </a:lnSpc>
              <a:defRPr/>
            </a:pPr>
            <a:r>
              <a:rPr lang="pt-BR"/>
              <a:t>Pode-se facilmente trabalhar com vários cadernos;</a:t>
            </a:r>
          </a:p>
          <a:p>
            <a:pPr eaLnBrk="1" hangingPunct="1">
              <a:lnSpc>
                <a:spcPct val="90000"/>
              </a:lnSpc>
              <a:defRPr/>
            </a:pPr>
            <a:r>
              <a:rPr lang="pt-BR"/>
              <a:t>Pode-se ter itens conhecidos ou não</a:t>
            </a:r>
          </a:p>
          <a:p>
            <a:pPr eaLnBrk="1" hangingPunct="1">
              <a:lnSpc>
                <a:spcPct val="90000"/>
              </a:lnSpc>
              <a:defRPr/>
            </a:pPr>
            <a:r>
              <a:rPr lang="pt-BR"/>
              <a:t>Faz a parte clássica também, um pouco diferente</a:t>
            </a:r>
          </a:p>
          <a:p>
            <a:pPr eaLnBrk="1" hangingPunct="1">
              <a:lnSpc>
                <a:spcPct val="90000"/>
              </a:lnSpc>
              <a:defRPr/>
            </a:pPr>
            <a:r>
              <a:rPr lang="pt-BR"/>
              <a:t>Guarda arquivos separados para os proficiências (SCOres), PARâmetros dos Itens.</a:t>
            </a:r>
          </a:p>
          <a:p>
            <a:pPr eaLnBrk="1" hangingPunct="1">
              <a:lnSpc>
                <a:spcPct val="90000"/>
              </a:lnSpc>
              <a:defRPr/>
            </a:pPr>
            <a:endParaRPr lang="pt-BR"/>
          </a:p>
          <a:p>
            <a:pPr eaLnBrk="1" hangingPunct="1">
              <a:lnSpc>
                <a:spcPct val="90000"/>
              </a:lnSpc>
              <a:defRPr/>
            </a:pPr>
            <a:endParaRPr lang="pt-BR"/>
          </a:p>
        </p:txBody>
      </p:sp>
    </p:spTree>
    <p:extLst>
      <p:ext uri="{BB962C8B-B14F-4D97-AF65-F5344CB8AC3E}">
        <p14:creationId xmlns:p14="http://schemas.microsoft.com/office/powerpoint/2010/main" val="151732968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1C5A6D1-E926-47F7-8298-4EF490F89AEC}"/>
              </a:ext>
            </a:extLst>
          </p:cNvPr>
          <p:cNvSpPr>
            <a:spLocks noGrp="1"/>
          </p:cNvSpPr>
          <p:nvPr>
            <p:ph type="title"/>
          </p:nvPr>
        </p:nvSpPr>
        <p:spPr/>
        <p:txBody>
          <a:bodyPr/>
          <a:lstStyle/>
          <a:p>
            <a:r>
              <a:rPr lang="en-US" dirty="0"/>
              <a:t>BILOG-MG: Base de Dados (</a:t>
            </a:r>
            <a:r>
              <a:rPr lang="en-US" dirty="0" err="1"/>
              <a:t>dicotômicos</a:t>
            </a:r>
            <a:r>
              <a:rPr lang="en-US" dirty="0"/>
              <a:t>)</a:t>
            </a:r>
          </a:p>
        </p:txBody>
      </p:sp>
      <p:pic>
        <p:nvPicPr>
          <p:cNvPr id="4" name="Imagem 3">
            <a:extLst>
              <a:ext uri="{FF2B5EF4-FFF2-40B4-BE49-F238E27FC236}">
                <a16:creationId xmlns:a16="http://schemas.microsoft.com/office/drawing/2014/main" id="{82D08990-C50E-4813-9BF0-F7E5FA1DCF87}"/>
              </a:ext>
            </a:extLst>
          </p:cNvPr>
          <p:cNvPicPr>
            <a:picLocks noChangeAspect="1"/>
          </p:cNvPicPr>
          <p:nvPr/>
        </p:nvPicPr>
        <p:blipFill>
          <a:blip r:embed="rId2"/>
          <a:stretch>
            <a:fillRect/>
          </a:stretch>
        </p:blipFill>
        <p:spPr>
          <a:xfrm>
            <a:off x="539552" y="908720"/>
            <a:ext cx="6542857" cy="5190476"/>
          </a:xfrm>
          <a:prstGeom prst="rect">
            <a:avLst/>
          </a:prstGeom>
        </p:spPr>
      </p:pic>
    </p:spTree>
    <p:extLst>
      <p:ext uri="{BB962C8B-B14F-4D97-AF65-F5344CB8AC3E}">
        <p14:creationId xmlns:p14="http://schemas.microsoft.com/office/powerpoint/2010/main" val="27255810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8611" name="Picture 3"/>
          <p:cNvPicPr>
            <a:picLocks noGrp="1" noChangeAspect="1" noChangeArrowheads="1"/>
          </p:cNvPicPr>
          <p:nvPr>
            <p:ph type="body" idx="1"/>
          </p:nvPr>
        </p:nvPicPr>
        <p:blipFill>
          <a:blip r:embed="rId3" cstate="print"/>
          <a:srcRect/>
          <a:stretch>
            <a:fillRect/>
          </a:stretch>
        </p:blipFill>
        <p:spPr>
          <a:xfrm>
            <a:off x="395288" y="1052513"/>
            <a:ext cx="7568053" cy="5112791"/>
          </a:xfrm>
        </p:spPr>
      </p:pic>
      <p:sp>
        <p:nvSpPr>
          <p:cNvPr id="6" name="Título 1">
            <a:extLst>
              <a:ext uri="{FF2B5EF4-FFF2-40B4-BE49-F238E27FC236}">
                <a16:creationId xmlns:a16="http://schemas.microsoft.com/office/drawing/2014/main" id="{8884C164-5E8B-4D8E-B2DC-90C19C1A222A}"/>
              </a:ext>
            </a:extLst>
          </p:cNvPr>
          <p:cNvSpPr txBox="1">
            <a:spLocks/>
          </p:cNvSpPr>
          <p:nvPr/>
        </p:nvSpPr>
        <p:spPr>
          <a:xfrm>
            <a:off x="588580" y="228600"/>
            <a:ext cx="8403020" cy="68580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kumimoji="0" lang="pt-BR" sz="3000" b="0" kern="1200">
                <a:solidFill>
                  <a:schemeClr val="tx1">
                    <a:lumMod val="85000"/>
                    <a:lumOff val="15000"/>
                  </a:schemeClr>
                </a:solidFill>
                <a:latin typeface="+mj-lt"/>
                <a:ea typeface="+mj-ea"/>
                <a:cs typeface="+mj-cs"/>
              </a:defRPr>
            </a:lvl1pPr>
          </a:lstStyle>
          <a:p>
            <a:r>
              <a:rPr lang="en-US" dirty="0"/>
              <a:t>BILOG-MG: Base de Dados (Original)</a:t>
            </a:r>
          </a:p>
        </p:txBody>
      </p:sp>
    </p:spTree>
    <p:extLst>
      <p:ext uri="{BB962C8B-B14F-4D97-AF65-F5344CB8AC3E}">
        <p14:creationId xmlns:p14="http://schemas.microsoft.com/office/powerpoint/2010/main" val="12921376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6" name="Rectangle 4"/>
          <p:cNvSpPr>
            <a:spLocks noGrp="1" noChangeArrowheads="1"/>
          </p:cNvSpPr>
          <p:nvPr>
            <p:ph type="title"/>
          </p:nvPr>
        </p:nvSpPr>
        <p:spPr/>
        <p:txBody>
          <a:bodyPr/>
          <a:lstStyle/>
          <a:p>
            <a:pPr eaLnBrk="1" hangingPunct="1">
              <a:defRPr/>
            </a:pPr>
            <a:r>
              <a:rPr lang="pt-BR" dirty="0"/>
              <a:t>Sintaxe do BILOG-MG</a:t>
            </a:r>
          </a:p>
        </p:txBody>
      </p:sp>
      <p:pic>
        <p:nvPicPr>
          <p:cNvPr id="4" name="Imagem 3">
            <a:extLst>
              <a:ext uri="{FF2B5EF4-FFF2-40B4-BE49-F238E27FC236}">
                <a16:creationId xmlns:a16="http://schemas.microsoft.com/office/drawing/2014/main" id="{EA2B5F57-D789-4D21-8389-2EAE6B48B090}"/>
              </a:ext>
            </a:extLst>
          </p:cNvPr>
          <p:cNvPicPr>
            <a:picLocks noChangeAspect="1"/>
          </p:cNvPicPr>
          <p:nvPr/>
        </p:nvPicPr>
        <p:blipFill>
          <a:blip r:embed="rId3"/>
          <a:stretch>
            <a:fillRect/>
          </a:stretch>
        </p:blipFill>
        <p:spPr>
          <a:xfrm>
            <a:off x="-18768" y="997361"/>
            <a:ext cx="9202302" cy="5867482"/>
          </a:xfrm>
          <a:prstGeom prst="rect">
            <a:avLst/>
          </a:prstGeom>
        </p:spPr>
      </p:pic>
    </p:spTree>
    <p:extLst>
      <p:ext uri="{BB962C8B-B14F-4D97-AF65-F5344CB8AC3E}">
        <p14:creationId xmlns:p14="http://schemas.microsoft.com/office/powerpoint/2010/main" val="21096223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1D931EE-8CD9-40FF-A482-A93B2C283EB7}"/>
              </a:ext>
            </a:extLst>
          </p:cNvPr>
          <p:cNvSpPr>
            <a:spLocks noGrp="1"/>
          </p:cNvSpPr>
          <p:nvPr>
            <p:ph type="title"/>
          </p:nvPr>
        </p:nvSpPr>
        <p:spPr/>
        <p:txBody>
          <a:bodyPr>
            <a:normAutofit/>
          </a:bodyPr>
          <a:lstStyle/>
          <a:p>
            <a:r>
              <a:rPr lang="en-US" sz="3600" b="1" dirty="0" err="1"/>
              <a:t>Outras</a:t>
            </a:r>
            <a:r>
              <a:rPr lang="en-US" sz="3600" b="1" dirty="0"/>
              <a:t> </a:t>
            </a:r>
            <a:r>
              <a:rPr lang="en-US" sz="3600" b="1" dirty="0" err="1"/>
              <a:t>situações</a:t>
            </a:r>
            <a:r>
              <a:rPr lang="en-US" sz="3600" b="1" dirty="0"/>
              <a:t>:</a:t>
            </a:r>
          </a:p>
        </p:txBody>
      </p:sp>
      <p:sp>
        <p:nvSpPr>
          <p:cNvPr id="3" name="Espaço Reservado para Conteúdo 2">
            <a:extLst>
              <a:ext uri="{FF2B5EF4-FFF2-40B4-BE49-F238E27FC236}">
                <a16:creationId xmlns:a16="http://schemas.microsoft.com/office/drawing/2014/main" id="{3696A780-6D78-435A-BF7C-4D646765FBAE}"/>
              </a:ext>
            </a:extLst>
          </p:cNvPr>
          <p:cNvSpPr>
            <a:spLocks noGrp="1"/>
          </p:cNvSpPr>
          <p:nvPr>
            <p:ph idx="1"/>
          </p:nvPr>
        </p:nvSpPr>
        <p:spPr/>
        <p:txBody>
          <a:bodyPr/>
          <a:lstStyle/>
          <a:p>
            <a:pPr marL="514350" indent="-514350">
              <a:buFont typeface="+mj-lt"/>
              <a:buAutoNum type="arabicParenR"/>
            </a:pPr>
            <a:r>
              <a:rPr lang="en-US" dirty="0"/>
              <a:t>Testes com </a:t>
            </a:r>
            <a:r>
              <a:rPr lang="en-US" dirty="0" err="1"/>
              <a:t>mais</a:t>
            </a:r>
            <a:r>
              <a:rPr lang="en-US" dirty="0"/>
              <a:t> de um: </a:t>
            </a:r>
            <a:r>
              <a:rPr lang="en-US" dirty="0" err="1"/>
              <a:t>Caderno</a:t>
            </a:r>
            <a:r>
              <a:rPr lang="en-US" dirty="0"/>
              <a:t> de </a:t>
            </a:r>
            <a:r>
              <a:rPr lang="en-US" dirty="0" err="1"/>
              <a:t>prova</a:t>
            </a:r>
            <a:endParaRPr lang="en-US" dirty="0"/>
          </a:p>
          <a:p>
            <a:pPr marL="514350" indent="-514350">
              <a:buFont typeface="+mj-lt"/>
              <a:buAutoNum type="arabicParenR"/>
            </a:pPr>
            <a:r>
              <a:rPr lang="en-US" dirty="0"/>
              <a:t>Teste com </a:t>
            </a:r>
            <a:r>
              <a:rPr lang="en-US" dirty="0" err="1"/>
              <a:t>mais</a:t>
            </a:r>
            <a:r>
              <a:rPr lang="en-US" dirty="0"/>
              <a:t> de um: Grupo</a:t>
            </a:r>
          </a:p>
          <a:p>
            <a:pPr marL="514350" indent="-514350">
              <a:buFont typeface="+mj-lt"/>
              <a:buAutoNum type="arabicParenR"/>
            </a:pPr>
            <a:r>
              <a:rPr lang="en-US" dirty="0"/>
              <a:t>Testes com </a:t>
            </a:r>
            <a:r>
              <a:rPr lang="en-US" dirty="0" err="1"/>
              <a:t>mais</a:t>
            </a:r>
            <a:r>
              <a:rPr lang="en-US" dirty="0"/>
              <a:t> de um: </a:t>
            </a:r>
            <a:r>
              <a:rPr lang="en-US" dirty="0" err="1"/>
              <a:t>caderno</a:t>
            </a:r>
            <a:r>
              <a:rPr lang="en-US" dirty="0"/>
              <a:t> e Grupo</a:t>
            </a:r>
          </a:p>
          <a:p>
            <a:pPr marL="514350" indent="-514350">
              <a:buFont typeface="+mj-lt"/>
              <a:buAutoNum type="arabicParenR"/>
            </a:pPr>
            <a:r>
              <a:rPr lang="en-US" dirty="0" err="1"/>
              <a:t>Itens</a:t>
            </a:r>
            <a:r>
              <a:rPr lang="en-US" dirty="0"/>
              <a:t> </a:t>
            </a:r>
            <a:r>
              <a:rPr lang="en-US" dirty="0" err="1"/>
              <a:t>Fixados</a:t>
            </a:r>
            <a:r>
              <a:rPr lang="en-US" dirty="0"/>
              <a:t> com o PAR</a:t>
            </a:r>
          </a:p>
          <a:p>
            <a:pPr marL="514350" indent="-514350">
              <a:buFont typeface="+mj-lt"/>
              <a:buAutoNum type="arabicParenR"/>
            </a:pPr>
            <a:r>
              <a:rPr lang="en-US" dirty="0" err="1"/>
              <a:t>Itens</a:t>
            </a:r>
            <a:r>
              <a:rPr lang="en-US" dirty="0"/>
              <a:t> </a:t>
            </a:r>
            <a:r>
              <a:rPr lang="en-US" dirty="0" err="1"/>
              <a:t>Fixados</a:t>
            </a:r>
            <a:r>
              <a:rPr lang="en-US" dirty="0"/>
              <a:t> com PRM</a:t>
            </a:r>
          </a:p>
          <a:p>
            <a:pPr marL="514350" indent="-514350">
              <a:buFont typeface="+mj-lt"/>
              <a:buAutoNum type="arabicParenR"/>
            </a:pPr>
            <a:r>
              <a:rPr lang="en-US" dirty="0"/>
              <a:t>Dados </a:t>
            </a:r>
            <a:r>
              <a:rPr lang="en-US" dirty="0" err="1"/>
              <a:t>em</a:t>
            </a:r>
            <a:r>
              <a:rPr lang="en-US" dirty="0"/>
              <a:t> </a:t>
            </a:r>
            <a:r>
              <a:rPr lang="en-US" dirty="0" err="1"/>
              <a:t>formato</a:t>
            </a:r>
            <a:r>
              <a:rPr lang="en-US" dirty="0"/>
              <a:t> </a:t>
            </a:r>
            <a:r>
              <a:rPr lang="en-US" dirty="0" err="1"/>
              <a:t>Compacto</a:t>
            </a:r>
            <a:r>
              <a:rPr lang="en-US" dirty="0"/>
              <a:t> x </a:t>
            </a:r>
            <a:r>
              <a:rPr lang="en-US" dirty="0" err="1"/>
              <a:t>Estendido</a:t>
            </a:r>
            <a:r>
              <a:rPr lang="en-US" dirty="0"/>
              <a:t> (</a:t>
            </a:r>
            <a:r>
              <a:rPr lang="en-US" dirty="0" err="1"/>
              <a:t>Aberto</a:t>
            </a:r>
            <a:r>
              <a:rPr lang="en-US" dirty="0"/>
              <a:t>, </a:t>
            </a:r>
            <a:r>
              <a:rPr lang="en-US" dirty="0" err="1"/>
              <a:t>Expandido</a:t>
            </a:r>
            <a:r>
              <a:rPr lang="en-US" dirty="0"/>
              <a:t>)</a:t>
            </a:r>
          </a:p>
        </p:txBody>
      </p:sp>
    </p:spTree>
    <p:extLst>
      <p:ext uri="{BB962C8B-B14F-4D97-AF65-F5344CB8AC3E}">
        <p14:creationId xmlns:p14="http://schemas.microsoft.com/office/powerpoint/2010/main" val="194182129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Montagem dos Cadernos de Prova</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17" name="Rectangle 3"/>
          <p:cNvSpPr txBox="1">
            <a:spLocks noChangeArrowheads="1"/>
          </p:cNvSpPr>
          <p:nvPr/>
        </p:nvSpPr>
        <p:spPr>
          <a:xfrm>
            <a:off x="1331640" y="2492896"/>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Font typeface="Wingdings" pitchFamily="2" charset="2"/>
              <a:buNone/>
            </a:pPr>
            <a:r>
              <a:rPr lang="pt-BR" sz="2400" dirty="0"/>
              <a:t>     Nos anos Iniciais do EF assume-se que os alunos podem receber um número reduzido de itens, e a matriz de Referência também é menor. A matriz do SisPAE será coberta com a aplicação de </a:t>
            </a:r>
            <a:r>
              <a:rPr lang="pt-BR" sz="2400" b="1" dirty="0"/>
              <a:t>77 itens</a:t>
            </a:r>
            <a:r>
              <a:rPr lang="pt-BR" sz="2400" dirty="0"/>
              <a:t>. Divide-se esse conjunto de 77 itens em </a:t>
            </a:r>
            <a:r>
              <a:rPr lang="pt-BR" sz="2400" b="1" dirty="0"/>
              <a:t>7 blocos com 11 itens cada</a:t>
            </a:r>
            <a:r>
              <a:rPr lang="pt-BR" sz="2400" dirty="0"/>
              <a:t>, agrupando-os de dois em dois, em </a:t>
            </a:r>
            <a:r>
              <a:rPr lang="pt-BR" sz="2400" b="1" dirty="0"/>
              <a:t>21 cadernos parcialmente diferentes</a:t>
            </a:r>
            <a:r>
              <a:rPr lang="pt-BR" sz="2400" dirty="0"/>
              <a:t> de prova. Dessa forma, apesar de estar avaliando um amplo escopo de conteúdos, </a:t>
            </a:r>
            <a:r>
              <a:rPr lang="pt-BR" sz="2400" b="1" dirty="0"/>
              <a:t>cada aluno responde apenas a 2 x 11 = 22 itens de cada área (LP e MT), com 44 no total (LP + MT).</a:t>
            </a:r>
            <a:endParaRPr lang="pt-BR" sz="2400" dirty="0"/>
          </a:p>
        </p:txBody>
      </p:sp>
      <p:sp>
        <p:nvSpPr>
          <p:cNvPr id="18" name="Rectangle 1"/>
          <p:cNvSpPr>
            <a:spLocks noChangeArrowheads="1"/>
          </p:cNvSpPr>
          <p:nvPr/>
        </p:nvSpPr>
        <p:spPr bwMode="auto">
          <a:xfrm>
            <a:off x="3779912" y="1259469"/>
            <a:ext cx="468052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lang="pt-BR" b="1" i="1" dirty="0">
                <a:latin typeface="Arial" pitchFamily="34" charset="0"/>
                <a:cs typeface="Arial" pitchFamily="34" charset="0"/>
              </a:rPr>
              <a:t>Para cobrir a Matriz de Referência dos </a:t>
            </a:r>
            <a:r>
              <a:rPr lang="pt-BR" b="1" i="1" dirty="0">
                <a:solidFill>
                  <a:srgbClr val="FF0000"/>
                </a:solidFill>
                <a:latin typeface="Arial" pitchFamily="34" charset="0"/>
                <a:cs typeface="Arial" pitchFamily="34" charset="0"/>
              </a:rPr>
              <a:t>Anos Iniciais do EF </a:t>
            </a:r>
            <a:r>
              <a:rPr lang="pt-BR" b="1" i="1" dirty="0">
                <a:latin typeface="Arial" pitchFamily="34" charset="0"/>
                <a:cs typeface="Arial" pitchFamily="34" charset="0"/>
              </a:rPr>
              <a:t>serão aplicados 77 itens, mas cada aluno só receberá 22</a:t>
            </a:r>
            <a:r>
              <a:rPr lang="pt-BR" dirty="0">
                <a:latin typeface="Arial" pitchFamily="34" charset="0"/>
                <a:cs typeface="Arial" pitchFamily="34" charset="0"/>
              </a:rPr>
              <a:t>.</a:t>
            </a:r>
            <a:endParaRPr kumimoji="0" lang="pt-BR" sz="2800" b="0" i="0" u="none" strike="noStrike" cap="none" normalizeH="0" baseline="0" dirty="0">
              <a:ln>
                <a:noFill/>
              </a:ln>
              <a:solidFill>
                <a:schemeClr val="tx1"/>
              </a:solidFill>
              <a:effectLst/>
              <a:latin typeface="Arial" pitchFamily="34" charset="0"/>
              <a:cs typeface="Arial" pitchFamily="34" charset="0"/>
            </a:endParaRPr>
          </a:p>
        </p:txBody>
      </p:sp>
      <p:sp>
        <p:nvSpPr>
          <p:cNvPr id="4" name="CaixaDeTexto 3">
            <a:extLst>
              <a:ext uri="{FF2B5EF4-FFF2-40B4-BE49-F238E27FC236}">
                <a16:creationId xmlns:a16="http://schemas.microsoft.com/office/drawing/2014/main" id="{2B2AE3C0-7799-4A41-9725-4262B7E34F95}"/>
              </a:ext>
            </a:extLst>
          </p:cNvPr>
          <p:cNvSpPr txBox="1"/>
          <p:nvPr/>
        </p:nvSpPr>
        <p:spPr>
          <a:xfrm>
            <a:off x="611560" y="476672"/>
            <a:ext cx="2736304" cy="1846659"/>
          </a:xfrm>
          <a:prstGeom prst="rect">
            <a:avLst/>
          </a:prstGeom>
          <a:noFill/>
        </p:spPr>
        <p:txBody>
          <a:bodyPr wrap="square" rtlCol="0">
            <a:spAutoFit/>
          </a:bodyPr>
          <a:lstStyle/>
          <a:p>
            <a:r>
              <a:rPr lang="en-US" sz="6600" b="1" dirty="0"/>
              <a:t>AI-EF</a:t>
            </a:r>
          </a:p>
          <a:p>
            <a:pPr algn="ctr"/>
            <a:r>
              <a:rPr lang="en-US" sz="4400" dirty="0"/>
              <a:t>1</a:t>
            </a:r>
            <a:r>
              <a:rPr lang="en-US" sz="4400" baseline="30000" dirty="0"/>
              <a:t>o</a:t>
            </a:r>
            <a:r>
              <a:rPr lang="en-US" sz="4400" dirty="0"/>
              <a:t>-5</a:t>
            </a:r>
            <a:r>
              <a:rPr lang="en-US" sz="4400" baseline="30000" dirty="0"/>
              <a:t>o</a:t>
            </a:r>
            <a:r>
              <a:rPr lang="en-US" sz="900" dirty="0"/>
              <a:t> </a:t>
            </a:r>
          </a:p>
        </p:txBody>
      </p:sp>
    </p:spTree>
    <p:extLst>
      <p:ext uri="{BB962C8B-B14F-4D97-AF65-F5344CB8AC3E}">
        <p14:creationId xmlns:p14="http://schemas.microsoft.com/office/powerpoint/2010/main" val="133152578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Montagem dos Cadernos de Prova</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17" name="Rectangle 3"/>
          <p:cNvSpPr txBox="1">
            <a:spLocks noChangeArrowheads="1"/>
          </p:cNvSpPr>
          <p:nvPr/>
        </p:nvSpPr>
        <p:spPr>
          <a:xfrm>
            <a:off x="1331640" y="2492896"/>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Font typeface="Wingdings" pitchFamily="2" charset="2"/>
              <a:buNone/>
            </a:pPr>
            <a:r>
              <a:rPr lang="pt-BR" sz="2400" dirty="0"/>
              <a:t>     Nos anos Finais do EF e no EM assume-se que os alunos podem receber um número maior de itens, e a matriz é mais ampla. A matriz do SisPAE será coberta com a aplicação de </a:t>
            </a:r>
            <a:r>
              <a:rPr lang="pt-BR" sz="2400" b="1" dirty="0"/>
              <a:t>91 itens</a:t>
            </a:r>
            <a:r>
              <a:rPr lang="pt-BR" sz="2400" dirty="0"/>
              <a:t>. Divide-se esse conjunto em </a:t>
            </a:r>
            <a:r>
              <a:rPr lang="pt-BR" sz="2400" b="1" dirty="0"/>
              <a:t>7 blocos com 13 itens cada</a:t>
            </a:r>
            <a:r>
              <a:rPr lang="pt-BR" sz="2400" dirty="0"/>
              <a:t>, agrupando-os de dois em dois, em </a:t>
            </a:r>
            <a:r>
              <a:rPr lang="pt-BR" sz="2400" b="1" dirty="0"/>
              <a:t>21 cadernos diferentes</a:t>
            </a:r>
            <a:r>
              <a:rPr lang="pt-BR" sz="2400" dirty="0"/>
              <a:t> de prova. Dessa forma, apesar de estar avaliando um amplo escopo de conteúdos, </a:t>
            </a:r>
            <a:r>
              <a:rPr lang="pt-BR" sz="2400" b="1" dirty="0"/>
              <a:t>cada aluno responde apenas a 2 x 13 = 26 itens de cada área (LP e MT), 52 no total.</a:t>
            </a:r>
            <a:endParaRPr lang="pt-BR" sz="2400" dirty="0"/>
          </a:p>
        </p:txBody>
      </p:sp>
      <p:sp>
        <p:nvSpPr>
          <p:cNvPr id="18" name="Rectangle 1"/>
          <p:cNvSpPr>
            <a:spLocks noChangeArrowheads="1"/>
          </p:cNvSpPr>
          <p:nvPr/>
        </p:nvSpPr>
        <p:spPr bwMode="auto">
          <a:xfrm>
            <a:off x="3779912" y="1259469"/>
            <a:ext cx="468052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lang="pt-BR" b="1" i="1" dirty="0">
                <a:latin typeface="Arial" pitchFamily="34" charset="0"/>
                <a:cs typeface="Arial" pitchFamily="34" charset="0"/>
              </a:rPr>
              <a:t>Para cobrir a Matriz de Referência dos </a:t>
            </a:r>
            <a:r>
              <a:rPr lang="pt-BR" b="1" i="1" dirty="0">
                <a:solidFill>
                  <a:srgbClr val="FF0000"/>
                </a:solidFill>
                <a:latin typeface="Arial" pitchFamily="34" charset="0"/>
                <a:cs typeface="Arial" pitchFamily="34" charset="0"/>
              </a:rPr>
              <a:t>Anos Finais do EF e EM</a:t>
            </a:r>
            <a:r>
              <a:rPr lang="pt-BR" b="1" i="1" dirty="0">
                <a:latin typeface="Arial" pitchFamily="34" charset="0"/>
                <a:cs typeface="Arial" pitchFamily="34" charset="0"/>
              </a:rPr>
              <a:t> serão aplicados 91 itens, mas cada aluno só receberá 26</a:t>
            </a:r>
            <a:r>
              <a:rPr lang="pt-BR" dirty="0">
                <a:latin typeface="Arial" pitchFamily="34" charset="0"/>
                <a:cs typeface="Arial" pitchFamily="34" charset="0"/>
              </a:rPr>
              <a:t>.</a:t>
            </a:r>
            <a:endParaRPr kumimoji="0" lang="pt-BR" sz="2800" b="0" i="0" u="none" strike="noStrike" cap="none" normalizeH="0" baseline="0" dirty="0">
              <a:ln>
                <a:noFill/>
              </a:ln>
              <a:solidFill>
                <a:schemeClr val="tx1"/>
              </a:solidFill>
              <a:effectLst/>
              <a:latin typeface="Arial" pitchFamily="34" charset="0"/>
              <a:cs typeface="Arial" pitchFamily="34" charset="0"/>
            </a:endParaRPr>
          </a:p>
        </p:txBody>
      </p:sp>
      <p:sp>
        <p:nvSpPr>
          <p:cNvPr id="6" name="CaixaDeTexto 5">
            <a:extLst>
              <a:ext uri="{FF2B5EF4-FFF2-40B4-BE49-F238E27FC236}">
                <a16:creationId xmlns:a16="http://schemas.microsoft.com/office/drawing/2014/main" id="{036E046A-B77E-4792-9C26-25943D6D6F06}"/>
              </a:ext>
            </a:extLst>
          </p:cNvPr>
          <p:cNvSpPr txBox="1"/>
          <p:nvPr/>
        </p:nvSpPr>
        <p:spPr>
          <a:xfrm>
            <a:off x="323528" y="476672"/>
            <a:ext cx="3312368" cy="1692771"/>
          </a:xfrm>
          <a:prstGeom prst="rect">
            <a:avLst/>
          </a:prstGeom>
          <a:noFill/>
        </p:spPr>
        <p:txBody>
          <a:bodyPr wrap="square" rtlCol="0">
            <a:spAutoFit/>
          </a:bodyPr>
          <a:lstStyle/>
          <a:p>
            <a:r>
              <a:rPr lang="en-US" sz="6000" b="1" dirty="0"/>
              <a:t>AF-EF, EM</a:t>
            </a:r>
          </a:p>
          <a:p>
            <a:pPr algn="ctr"/>
            <a:r>
              <a:rPr lang="en-US" sz="4400" dirty="0"/>
              <a:t>6</a:t>
            </a:r>
            <a:r>
              <a:rPr lang="en-US" sz="4400" baseline="30000" dirty="0"/>
              <a:t>o</a:t>
            </a:r>
            <a:r>
              <a:rPr lang="en-US" sz="4400" dirty="0"/>
              <a:t>-9</a:t>
            </a:r>
            <a:r>
              <a:rPr lang="en-US" sz="4400" baseline="30000" dirty="0"/>
              <a:t>o</a:t>
            </a:r>
            <a:r>
              <a:rPr lang="en-US" sz="4400" dirty="0"/>
              <a:t>, 1</a:t>
            </a:r>
            <a:r>
              <a:rPr lang="en-US" sz="4400" baseline="30000" dirty="0"/>
              <a:t>a</a:t>
            </a:r>
            <a:r>
              <a:rPr lang="en-US" sz="4400" dirty="0"/>
              <a:t> a 3</a:t>
            </a:r>
            <a:r>
              <a:rPr lang="en-US" sz="4400" baseline="30000" dirty="0"/>
              <a:t>a</a:t>
            </a:r>
            <a:r>
              <a:rPr lang="en-US" sz="4400" dirty="0"/>
              <a:t>. </a:t>
            </a:r>
            <a:r>
              <a:rPr lang="en-US" sz="900" dirty="0"/>
              <a:t> </a:t>
            </a:r>
          </a:p>
        </p:txBody>
      </p:sp>
    </p:spTree>
    <p:extLst>
      <p:ext uri="{BB962C8B-B14F-4D97-AF65-F5344CB8AC3E}">
        <p14:creationId xmlns:p14="http://schemas.microsoft.com/office/powerpoint/2010/main" val="1419838539"/>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762000" y="1946209"/>
            <a:ext cx="2057400" cy="2057400"/>
          </a:xfrm>
          <a:prstGeom prst="ellipse">
            <a:avLst/>
          </a:prstGeom>
          <a:gradFill>
            <a:gsLst>
              <a:gs pos="0">
                <a:srgbClr val="00B0F0"/>
              </a:gs>
              <a:gs pos="50000">
                <a:srgbClr val="399ECB"/>
              </a:gs>
              <a:gs pos="100000">
                <a:srgbClr val="0077D0"/>
              </a:gs>
            </a:gsLst>
            <a:path path="circle">
              <a:fillToRect l="50000" t="50000" r="50000" b="50000"/>
            </a:path>
          </a:gradFill>
          <a:ln w="82550">
            <a:noFill/>
          </a:ln>
          <a:effectLst>
            <a:outerShdw blurRad="1270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8" name="Oval 7"/>
          <p:cNvSpPr/>
          <p:nvPr/>
        </p:nvSpPr>
        <p:spPr>
          <a:xfrm>
            <a:off x="1007328" y="198958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17" name="TextBox 16"/>
          <p:cNvSpPr txBox="1"/>
          <p:nvPr/>
        </p:nvSpPr>
        <p:spPr>
          <a:xfrm>
            <a:off x="1159728" y="1531434"/>
            <a:ext cx="1219200" cy="2708434"/>
          </a:xfrm>
          <a:prstGeom prst="rect">
            <a:avLst/>
          </a:prstGeom>
          <a:noFill/>
        </p:spPr>
        <p:txBody>
          <a:bodyPr wrap="square" rtlCol="0">
            <a:spAutoFit/>
          </a:bodyPr>
          <a:lstStyle/>
          <a:p>
            <a:r>
              <a:rPr lang="pt-BR" sz="17000" b="1">
                <a:solidFill>
                  <a:srgbClr val="2A7A9E">
                    <a:alpha val="40000"/>
                  </a:srgbClr>
                </a:solidFill>
                <a:cs typeface="Arial" pitchFamily="34" charset="0"/>
              </a:rPr>
              <a:t>2</a:t>
            </a:r>
          </a:p>
        </p:txBody>
      </p:sp>
      <p:sp>
        <p:nvSpPr>
          <p:cNvPr id="9" name="Title 8"/>
          <p:cNvSpPr>
            <a:spLocks noGrp="1"/>
          </p:cNvSpPr>
          <p:nvPr>
            <p:ph type="title"/>
          </p:nvPr>
        </p:nvSpPr>
        <p:spPr>
          <a:xfrm>
            <a:off x="539552" y="1052736"/>
            <a:ext cx="8208912" cy="1008112"/>
          </a:xfrm>
        </p:spPr>
        <p:txBody>
          <a:bodyPr>
            <a:noAutofit/>
          </a:bodyPr>
          <a:lstStyle/>
          <a:p>
            <a:pPr lvl="0">
              <a:spcBef>
                <a:spcPts val="0"/>
              </a:spcBef>
            </a:pPr>
            <a:r>
              <a:rPr lang="pt-BR" sz="4000" cap="none" dirty="0">
                <a:solidFill>
                  <a:prstClr val="black">
                    <a:lumMod val="85000"/>
                    <a:lumOff val="15000"/>
                  </a:prstClr>
                </a:solidFill>
                <a:ea typeface="+mn-ea"/>
                <a:cs typeface="+mn-cs"/>
              </a:rPr>
              <a:t>Principais aplicações: Indicadores</a:t>
            </a:r>
            <a:endParaRPr lang="pt-BR" sz="4000" b="0" cap="none" dirty="0">
              <a:solidFill>
                <a:prstClr val="black">
                  <a:lumMod val="50000"/>
                  <a:lumOff val="50000"/>
                </a:prstClr>
              </a:solidFill>
              <a:ea typeface="+mn-ea"/>
              <a:cs typeface="+mn-cs"/>
            </a:endParaRPr>
          </a:p>
        </p:txBody>
      </p:sp>
      <p:sp>
        <p:nvSpPr>
          <p:cNvPr id="7" name="Rectangle 2"/>
          <p:cNvSpPr>
            <a:spLocks noChangeArrowheads="1"/>
          </p:cNvSpPr>
          <p:nvPr/>
        </p:nvSpPr>
        <p:spPr bwMode="auto">
          <a:xfrm>
            <a:off x="2843808" y="1916832"/>
            <a:ext cx="6120680" cy="4093428"/>
          </a:xfrm>
          <a:prstGeom prst="rect">
            <a:avLst/>
          </a:prstGeom>
          <a:noFill/>
          <a:ln w="9525">
            <a:noFill/>
            <a:miter lim="800000"/>
            <a:headEnd/>
            <a:tailEnd/>
          </a:ln>
          <a:effectLst/>
        </p:spPr>
        <p:txBody>
          <a:bodyPr wrap="square">
            <a:spAutoFit/>
          </a:bodyPr>
          <a:lstStyle/>
          <a:p>
            <a:pPr marL="371475" indent="-371475" algn="just">
              <a:buFontTx/>
              <a:buChar char="•"/>
            </a:pPr>
            <a:r>
              <a:rPr lang="pt-BR" sz="3600" dirty="0" err="1"/>
              <a:t>Psicometria</a:t>
            </a:r>
            <a:r>
              <a:rPr lang="pt-BR" sz="3600" dirty="0"/>
              <a:t>;</a:t>
            </a:r>
          </a:p>
          <a:p>
            <a:pPr marL="371475" indent="-371475" algn="just">
              <a:buFontTx/>
              <a:buChar char="•"/>
            </a:pPr>
            <a:r>
              <a:rPr lang="pt-BR" sz="3600" dirty="0"/>
              <a:t>Educação;</a:t>
            </a:r>
          </a:p>
          <a:p>
            <a:pPr marL="371475" indent="-371475" algn="just">
              <a:buFontTx/>
              <a:buChar char="•"/>
            </a:pPr>
            <a:r>
              <a:rPr lang="pt-BR" sz="3600" dirty="0"/>
              <a:t>Saúde;</a:t>
            </a:r>
          </a:p>
          <a:p>
            <a:pPr marL="371475" indent="-371475" algn="just">
              <a:buFontTx/>
              <a:buChar char="•"/>
            </a:pPr>
            <a:r>
              <a:rPr lang="pt-BR" sz="3600" dirty="0"/>
              <a:t>Infraestrutura;</a:t>
            </a:r>
          </a:p>
          <a:p>
            <a:pPr marL="371475" indent="-371475" algn="just">
              <a:buFontTx/>
              <a:buChar char="•"/>
            </a:pPr>
            <a:r>
              <a:rPr lang="pt-BR" sz="3600" dirty="0"/>
              <a:t>Qualidade de vida;</a:t>
            </a:r>
          </a:p>
          <a:p>
            <a:pPr marL="371475" indent="-371475" algn="just">
              <a:buFontTx/>
              <a:buChar char="•"/>
            </a:pPr>
            <a:r>
              <a:rPr lang="pt-BR" sz="3600" dirty="0"/>
              <a:t>Gestão etc.</a:t>
            </a:r>
          </a:p>
          <a:p>
            <a:pPr marL="371475" indent="-371475" algn="just">
              <a:buFontTx/>
              <a:buChar char="•"/>
            </a:pPr>
            <a:endParaRPr lang="pt-BR" sz="2200" dirty="0"/>
          </a:p>
          <a:p>
            <a:pPr marL="371475" indent="-371475" algn="just">
              <a:buFontTx/>
              <a:buChar char="•"/>
            </a:pPr>
            <a:endParaRPr lang="pt-BR" sz="2200" dirty="0"/>
          </a:p>
        </p:txBody>
      </p:sp>
    </p:spTree>
    <p:extLst>
      <p:ext uri="{BB962C8B-B14F-4D97-AF65-F5344CB8AC3E}">
        <p14:creationId xmlns:p14="http://schemas.microsoft.com/office/powerpoint/2010/main" val="515627278"/>
      </p:ext>
    </p:extLst>
  </p:cSld>
  <p:clrMapOvr>
    <a:masterClrMapping/>
  </p:clrMapOvr>
  <p:transition spd="slow">
    <p:dissolv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546394" y="5867400"/>
            <a:ext cx="8126784" cy="999530"/>
          </a:xfrm>
          <a:prstGeom prst="rect">
            <a:avLst/>
          </a:prstGeom>
          <a:noFill/>
        </p:spPr>
        <p:txBody>
          <a:bodyPr wrap="square" rtlCol="0" anchor="t">
            <a:normAutofit/>
          </a:bodyPr>
          <a:lstStyle/>
          <a:p>
            <a:pPr algn="ctr"/>
            <a:endParaRPr lang="pt-BR" dirty="0">
              <a:solidFill>
                <a:prstClr val="black"/>
              </a:solidFill>
            </a:endParaRPr>
          </a:p>
        </p:txBody>
      </p:sp>
      <p:sp>
        <p:nvSpPr>
          <p:cNvPr id="2" name="Title 1"/>
          <p:cNvSpPr>
            <a:spLocks noGrp="1"/>
          </p:cNvSpPr>
          <p:nvPr>
            <p:ph type="title"/>
          </p:nvPr>
        </p:nvSpPr>
        <p:spPr>
          <a:xfrm>
            <a:off x="-1" y="414867"/>
            <a:ext cx="9144001" cy="457200"/>
          </a:xfrm>
        </p:spPr>
        <p:txBody>
          <a:bodyPr>
            <a:noAutofit/>
          </a:bodyPr>
          <a:lstStyle/>
          <a:p>
            <a:r>
              <a:rPr lang="pt-BR" dirty="0">
                <a:solidFill>
                  <a:prstClr val="white"/>
                </a:solidFill>
              </a:rPr>
              <a:t>     Montagem dos Cadernos de Prova (LP e MAT) </a:t>
            </a:r>
            <a:endParaRPr lang="pt-BR" dirty="0"/>
          </a:p>
        </p:txBody>
      </p:sp>
      <p:graphicFrame>
        <p:nvGraphicFramePr>
          <p:cNvPr id="3" name="Tabela 2"/>
          <p:cNvGraphicFramePr>
            <a:graphicFrameLocks noGrp="1"/>
          </p:cNvGraphicFramePr>
          <p:nvPr>
            <p:extLst>
              <p:ext uri="{D42A27DB-BD31-4B8C-83A1-F6EECF244321}">
                <p14:modId xmlns:p14="http://schemas.microsoft.com/office/powerpoint/2010/main" val="3588101761"/>
              </p:ext>
            </p:extLst>
          </p:nvPr>
        </p:nvGraphicFramePr>
        <p:xfrm>
          <a:off x="251520" y="1124744"/>
          <a:ext cx="3816424" cy="5501531"/>
        </p:xfrm>
        <a:graphic>
          <a:graphicData uri="http://schemas.openxmlformats.org/drawingml/2006/table">
            <a:tbl>
              <a:tblPr>
                <a:tableStyleId>{5C22544A-7EE6-4342-B048-85BDC9FD1C3A}</a:tableStyleId>
              </a:tblPr>
              <a:tblGrid>
                <a:gridCol w="864096">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0">
                <a:tc gridSpan="5">
                  <a:txBody>
                    <a:bodyPr/>
                    <a:lstStyle/>
                    <a:p>
                      <a:pPr algn="ctr" fontAlgn="ctr"/>
                      <a:endParaRPr lang="en-US" sz="900" b="1" i="0" u="none" strike="noStrike" dirty="0">
                        <a:solidFill>
                          <a:srgbClr val="000000"/>
                        </a:solidFill>
                        <a:effectLst/>
                        <a:latin typeface="Arial" panose="020B0604020202020204" pitchFamily="34" charset="0"/>
                      </a:endParaRPr>
                    </a:p>
                  </a:txBody>
                  <a:tcPr marL="8523" marR="8523" marT="8523"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43107">
                <a:tc rowSpan="2">
                  <a:txBody>
                    <a:bodyPr/>
                    <a:lstStyle/>
                    <a:p>
                      <a:pPr algn="ctr" fontAlgn="ctr"/>
                      <a:r>
                        <a:rPr lang="en-US" sz="1200" u="none" strike="noStrike" dirty="0">
                          <a:effectLst/>
                        </a:rPr>
                        <a:t>Nº do </a:t>
                      </a:r>
                      <a:r>
                        <a:rPr lang="en-US" sz="1200" u="none" strike="noStrike" dirty="0" err="1">
                          <a:effectLst/>
                        </a:rPr>
                        <a:t>caderno</a:t>
                      </a:r>
                      <a:r>
                        <a:rPr lang="en-US" sz="1200" u="none" strike="noStrike" dirty="0">
                          <a:effectLst/>
                        </a:rPr>
                        <a:t> </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gridSpan="2">
                  <a:txBody>
                    <a:bodyPr/>
                    <a:lstStyle/>
                    <a:p>
                      <a:pPr algn="ctr" fontAlgn="ctr"/>
                      <a:r>
                        <a:rPr lang="en-US" sz="1200" u="none" strike="noStrike" dirty="0" err="1">
                          <a:effectLst/>
                        </a:rPr>
                        <a:t>Blocos</a:t>
                      </a:r>
                      <a:r>
                        <a:rPr lang="en-US" sz="1200" u="none" strike="noStrike" dirty="0">
                          <a:effectLst/>
                        </a:rPr>
                        <a:t> de L. Portuguesa</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hMerge="1">
                  <a:txBody>
                    <a:bodyPr/>
                    <a:lstStyle/>
                    <a:p>
                      <a:endParaRPr lang="en-US"/>
                    </a:p>
                  </a:txBody>
                  <a:tcPr/>
                </a:tc>
                <a:tc gridSpan="2">
                  <a:txBody>
                    <a:bodyPr/>
                    <a:lstStyle/>
                    <a:p>
                      <a:pPr algn="ctr" fontAlgn="ctr"/>
                      <a:r>
                        <a:rPr lang="en-US" sz="1200" u="none" strike="noStrike" dirty="0" err="1">
                          <a:effectLst/>
                        </a:rPr>
                        <a:t>Blocos</a:t>
                      </a:r>
                      <a:r>
                        <a:rPr lang="en-US" sz="1200" u="none" strike="noStrike" dirty="0">
                          <a:effectLst/>
                        </a:rPr>
                        <a:t> de </a:t>
                      </a:r>
                      <a:r>
                        <a:rPr lang="en-US" sz="1200" u="none" strike="noStrike" dirty="0" err="1">
                          <a:effectLst/>
                        </a:rPr>
                        <a:t>Matemática</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hMerge="1">
                  <a:txBody>
                    <a:bodyPr/>
                    <a:lstStyle/>
                    <a:p>
                      <a:endParaRPr lang="en-US"/>
                    </a:p>
                  </a:txBody>
                  <a:tcPr/>
                </a:tc>
                <a:extLst>
                  <a:ext uri="{0D108BD9-81ED-4DB2-BD59-A6C34878D82A}">
                    <a16:rowId xmlns:a16="http://schemas.microsoft.com/office/drawing/2014/main" val="10001"/>
                  </a:ext>
                </a:extLst>
              </a:tr>
              <a:tr h="353198">
                <a:tc vMerge="1">
                  <a:txBody>
                    <a:bodyPr/>
                    <a:lstStyle/>
                    <a:p>
                      <a:endParaRPr lang="en-US"/>
                    </a:p>
                  </a:txBody>
                  <a:tcPr/>
                </a:tc>
                <a:tc>
                  <a:txBody>
                    <a:bodyPr/>
                    <a:lstStyle/>
                    <a:p>
                      <a:pPr algn="ctr" fontAlgn="ctr"/>
                      <a:r>
                        <a:rPr lang="en-US" sz="1200" u="none" strike="noStrike" dirty="0" err="1">
                          <a:effectLst/>
                        </a:rPr>
                        <a:t>Posição</a:t>
                      </a:r>
                      <a:r>
                        <a:rPr lang="en-US" sz="1200" u="none" strike="noStrike" dirty="0">
                          <a:effectLst/>
                        </a:rPr>
                        <a:t> 1</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2</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1</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2</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extLst>
                  <a:ext uri="{0D108BD9-81ED-4DB2-BD59-A6C34878D82A}">
                    <a16:rowId xmlns:a16="http://schemas.microsoft.com/office/drawing/2014/main" val="10002"/>
                  </a:ext>
                </a:extLst>
              </a:tr>
              <a:tr h="211919">
                <a:tc>
                  <a:txBody>
                    <a:bodyPr/>
                    <a:lstStyle/>
                    <a:p>
                      <a:pPr algn="ctr" fontAlgn="ctr"/>
                      <a:r>
                        <a:rPr lang="en-US" sz="1400" u="none" strike="noStrike" dirty="0">
                          <a:effectLst/>
                        </a:rPr>
                        <a:t>1</a:t>
                      </a:r>
                      <a:endParaRPr lang="en-US" sz="1400" b="1"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3"/>
                  </a:ext>
                </a:extLst>
              </a:tr>
              <a:tr h="211919">
                <a:tc>
                  <a:txBody>
                    <a:bodyPr/>
                    <a:lstStyle/>
                    <a:p>
                      <a:pPr algn="ctr" fontAlgn="ctr"/>
                      <a:r>
                        <a:rPr lang="en-US" sz="1400" u="none" strike="noStrike">
                          <a:effectLst/>
                        </a:rPr>
                        <a:t>2</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4"/>
                  </a:ext>
                </a:extLst>
              </a:tr>
              <a:tr h="211919">
                <a:tc>
                  <a:txBody>
                    <a:bodyPr/>
                    <a:lstStyle/>
                    <a:p>
                      <a:pPr algn="ctr" fontAlgn="ctr"/>
                      <a:r>
                        <a:rPr lang="en-US" sz="1400" u="none" strike="noStrike">
                          <a:effectLst/>
                        </a:rPr>
                        <a:t>3</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5"/>
                  </a:ext>
                </a:extLst>
              </a:tr>
              <a:tr h="211919">
                <a:tc>
                  <a:txBody>
                    <a:bodyPr/>
                    <a:lstStyle/>
                    <a:p>
                      <a:pPr algn="ctr" fontAlgn="ctr"/>
                      <a:r>
                        <a:rPr lang="en-US" sz="1400" u="none" strike="noStrike">
                          <a:effectLst/>
                        </a:rPr>
                        <a:t>4</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6"/>
                  </a:ext>
                </a:extLst>
              </a:tr>
              <a:tr h="211919">
                <a:tc>
                  <a:txBody>
                    <a:bodyPr/>
                    <a:lstStyle/>
                    <a:p>
                      <a:pPr algn="ctr" fontAlgn="ctr"/>
                      <a:r>
                        <a:rPr lang="en-US" sz="1400" u="none" strike="noStrike">
                          <a:effectLst/>
                        </a:rPr>
                        <a:t>5</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7"/>
                  </a:ext>
                </a:extLst>
              </a:tr>
              <a:tr h="211919">
                <a:tc>
                  <a:txBody>
                    <a:bodyPr/>
                    <a:lstStyle/>
                    <a:p>
                      <a:pPr algn="ctr" fontAlgn="ctr"/>
                      <a:r>
                        <a:rPr lang="en-US" sz="1400" u="none" strike="noStrike">
                          <a:effectLst/>
                        </a:rPr>
                        <a:t>6</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8"/>
                  </a:ext>
                </a:extLst>
              </a:tr>
              <a:tr h="211919">
                <a:tc>
                  <a:txBody>
                    <a:bodyPr/>
                    <a:lstStyle/>
                    <a:p>
                      <a:pPr algn="ctr" fontAlgn="ctr"/>
                      <a:r>
                        <a:rPr lang="en-US" sz="1400" u="none" strike="noStrike">
                          <a:effectLst/>
                        </a:rPr>
                        <a:t>7</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9"/>
                  </a:ext>
                </a:extLst>
              </a:tr>
              <a:tr h="211919">
                <a:tc>
                  <a:txBody>
                    <a:bodyPr/>
                    <a:lstStyle/>
                    <a:p>
                      <a:pPr algn="ctr" fontAlgn="ctr"/>
                      <a:r>
                        <a:rPr lang="en-US" sz="1400" u="none" strike="noStrike">
                          <a:effectLst/>
                        </a:rPr>
                        <a:t>8</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0"/>
                  </a:ext>
                </a:extLst>
              </a:tr>
              <a:tr h="211919">
                <a:tc>
                  <a:txBody>
                    <a:bodyPr/>
                    <a:lstStyle/>
                    <a:p>
                      <a:pPr algn="ctr" fontAlgn="ctr"/>
                      <a:r>
                        <a:rPr lang="en-US" sz="1400" u="none" strike="noStrike">
                          <a:effectLst/>
                        </a:rPr>
                        <a:t>9</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1"/>
                  </a:ext>
                </a:extLst>
              </a:tr>
              <a:tr h="211919">
                <a:tc>
                  <a:txBody>
                    <a:bodyPr/>
                    <a:lstStyle/>
                    <a:p>
                      <a:pPr algn="ctr" fontAlgn="ctr"/>
                      <a:r>
                        <a:rPr lang="en-US" sz="1400" u="none" strike="noStrike">
                          <a:effectLst/>
                        </a:rPr>
                        <a:t>10</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2"/>
                  </a:ext>
                </a:extLst>
              </a:tr>
              <a:tr h="211919">
                <a:tc>
                  <a:txBody>
                    <a:bodyPr/>
                    <a:lstStyle/>
                    <a:p>
                      <a:pPr algn="ctr" fontAlgn="ctr"/>
                      <a:r>
                        <a:rPr lang="en-US" sz="1400" u="none" strike="noStrike">
                          <a:effectLst/>
                        </a:rPr>
                        <a:t>11</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3"/>
                  </a:ext>
                </a:extLst>
              </a:tr>
              <a:tr h="211919">
                <a:tc>
                  <a:txBody>
                    <a:bodyPr/>
                    <a:lstStyle/>
                    <a:p>
                      <a:pPr algn="ctr" fontAlgn="ctr"/>
                      <a:r>
                        <a:rPr lang="en-US" sz="1400" u="none" strike="noStrike">
                          <a:effectLst/>
                        </a:rPr>
                        <a:t>12</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4"/>
                  </a:ext>
                </a:extLst>
              </a:tr>
              <a:tr h="211919">
                <a:tc>
                  <a:txBody>
                    <a:bodyPr/>
                    <a:lstStyle/>
                    <a:p>
                      <a:pPr algn="ctr" fontAlgn="ctr"/>
                      <a:r>
                        <a:rPr lang="en-US" sz="1400" u="none" strike="noStrike">
                          <a:effectLst/>
                        </a:rPr>
                        <a:t>13</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5"/>
                  </a:ext>
                </a:extLst>
              </a:tr>
              <a:tr h="211919">
                <a:tc>
                  <a:txBody>
                    <a:bodyPr/>
                    <a:lstStyle/>
                    <a:p>
                      <a:pPr algn="ctr" fontAlgn="ctr"/>
                      <a:r>
                        <a:rPr lang="en-US" sz="1400" u="none" strike="noStrike">
                          <a:effectLst/>
                        </a:rPr>
                        <a:t>14</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7</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6"/>
                  </a:ext>
                </a:extLst>
              </a:tr>
              <a:tr h="211919">
                <a:tc>
                  <a:txBody>
                    <a:bodyPr/>
                    <a:lstStyle/>
                    <a:p>
                      <a:pPr algn="ctr" fontAlgn="ctr"/>
                      <a:r>
                        <a:rPr lang="en-US" sz="1400" u="none" strike="noStrike">
                          <a:effectLst/>
                        </a:rPr>
                        <a:t>15</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7"/>
                  </a:ext>
                </a:extLst>
              </a:tr>
              <a:tr h="211919">
                <a:tc>
                  <a:txBody>
                    <a:bodyPr/>
                    <a:lstStyle/>
                    <a:p>
                      <a:pPr algn="ctr" fontAlgn="ctr"/>
                      <a:r>
                        <a:rPr lang="en-US" sz="1400" u="none" strike="noStrike">
                          <a:effectLst/>
                        </a:rPr>
                        <a:t>16</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8"/>
                  </a:ext>
                </a:extLst>
              </a:tr>
              <a:tr h="211919">
                <a:tc>
                  <a:txBody>
                    <a:bodyPr/>
                    <a:lstStyle/>
                    <a:p>
                      <a:pPr algn="ctr" fontAlgn="ctr"/>
                      <a:r>
                        <a:rPr lang="en-US" sz="1400" u="none" strike="noStrike">
                          <a:effectLst/>
                        </a:rPr>
                        <a:t>17</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9"/>
                  </a:ext>
                </a:extLst>
              </a:tr>
              <a:tr h="211919">
                <a:tc>
                  <a:txBody>
                    <a:bodyPr/>
                    <a:lstStyle/>
                    <a:p>
                      <a:pPr algn="ctr" fontAlgn="ctr"/>
                      <a:r>
                        <a:rPr lang="en-US" sz="1400" u="none" strike="noStrike">
                          <a:effectLst/>
                        </a:rPr>
                        <a:t>18</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7</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0"/>
                  </a:ext>
                </a:extLst>
              </a:tr>
              <a:tr h="211919">
                <a:tc>
                  <a:txBody>
                    <a:bodyPr/>
                    <a:lstStyle/>
                    <a:p>
                      <a:pPr algn="ctr" fontAlgn="ctr"/>
                      <a:r>
                        <a:rPr lang="en-US" sz="1400" u="none" strike="noStrike">
                          <a:effectLst/>
                        </a:rPr>
                        <a:t>19</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1"/>
                  </a:ext>
                </a:extLst>
              </a:tr>
              <a:tr h="211919">
                <a:tc>
                  <a:txBody>
                    <a:bodyPr/>
                    <a:lstStyle/>
                    <a:p>
                      <a:pPr algn="ctr" fontAlgn="ctr"/>
                      <a:r>
                        <a:rPr lang="en-US" sz="1400" u="none" strike="noStrike">
                          <a:effectLst/>
                        </a:rPr>
                        <a:t>20</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2"/>
                  </a:ext>
                </a:extLst>
              </a:tr>
              <a:tr h="211919">
                <a:tc>
                  <a:txBody>
                    <a:bodyPr/>
                    <a:lstStyle/>
                    <a:p>
                      <a:pPr algn="ctr" fontAlgn="ctr"/>
                      <a:r>
                        <a:rPr lang="en-US" sz="1400" u="none" strike="noStrike">
                          <a:effectLst/>
                        </a:rPr>
                        <a:t>21</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3"/>
                  </a:ext>
                </a:extLst>
              </a:tr>
            </a:tbl>
          </a:graphicData>
        </a:graphic>
      </p:graphicFrame>
      <p:pic>
        <p:nvPicPr>
          <p:cNvPr id="5" name="Imagem 4">
            <a:extLst>
              <a:ext uri="{FF2B5EF4-FFF2-40B4-BE49-F238E27FC236}">
                <a16:creationId xmlns:a16="http://schemas.microsoft.com/office/drawing/2014/main" id="{D72CC68E-3950-4844-B682-426BA178E4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2080" y="1196752"/>
            <a:ext cx="3122099" cy="5805264"/>
          </a:xfrm>
          <a:prstGeom prst="rect">
            <a:avLst/>
          </a:prstGeom>
        </p:spPr>
      </p:pic>
      <p:sp>
        <p:nvSpPr>
          <p:cNvPr id="6" name="Título 1">
            <a:extLst>
              <a:ext uri="{FF2B5EF4-FFF2-40B4-BE49-F238E27FC236}">
                <a16:creationId xmlns:a16="http://schemas.microsoft.com/office/drawing/2014/main" id="{4E895BA9-AAF5-4C1C-93C8-D7748F6E26F0}"/>
              </a:ext>
            </a:extLst>
          </p:cNvPr>
          <p:cNvSpPr txBox="1">
            <a:spLocks/>
          </p:cNvSpPr>
          <p:nvPr/>
        </p:nvSpPr>
        <p:spPr>
          <a:xfrm>
            <a:off x="4799498" y="908720"/>
            <a:ext cx="4107261" cy="288032"/>
          </a:xfrm>
          <a:prstGeom prst="rect">
            <a:avLst/>
          </a:prstGeom>
          <a:solidFill>
            <a:schemeClr val="tx1">
              <a:lumMod val="50000"/>
              <a:lumOff val="50000"/>
            </a:schemeClr>
          </a:solidFill>
        </p:spPr>
        <p:txBody>
          <a:bodyPr vert="horz" lIns="91440" tIns="45720" rIns="91440" bIns="45720" rtlCol="0" anchor="ctr">
            <a:normAutofit lnSpcReduction="10000"/>
          </a:bodyPr>
          <a:lstStyle>
            <a:lvl1pPr algn="l" defTabSz="914400" rtl="0" eaLnBrk="1" latinLnBrk="0" hangingPunct="1">
              <a:spcBef>
                <a:spcPct val="0"/>
              </a:spcBef>
              <a:buNone/>
              <a:defRPr kumimoji="0" lang="pt-BR" sz="2800" b="1" kern="1200" baseline="0">
                <a:solidFill>
                  <a:schemeClr val="bg1"/>
                </a:solidFill>
                <a:latin typeface="+mn-lt"/>
                <a:ea typeface="+mn-ea"/>
                <a:cs typeface="+mn-cs"/>
              </a:defRPr>
            </a:lvl1pPr>
          </a:lstStyle>
          <a:p>
            <a:r>
              <a:rPr lang="en-US" sz="1400" dirty="0"/>
              <a:t>Outro: </a:t>
            </a:r>
            <a:r>
              <a:rPr lang="en-US" sz="1400" dirty="0" err="1"/>
              <a:t>Esquema</a:t>
            </a:r>
            <a:r>
              <a:rPr lang="en-US" sz="1400" dirty="0"/>
              <a:t> BIB do SARESP (e SAEB Antigo)</a:t>
            </a:r>
          </a:p>
        </p:txBody>
      </p:sp>
    </p:spTree>
    <p:custDataLst>
      <p:tags r:id="rId1"/>
    </p:custDataLst>
    <p:extLst>
      <p:ext uri="{BB962C8B-B14F-4D97-AF65-F5344CB8AC3E}">
        <p14:creationId xmlns:p14="http://schemas.microsoft.com/office/powerpoint/2010/main" val="1833803990"/>
      </p:ext>
    </p:extLst>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ela 6">
            <a:extLst>
              <a:ext uri="{FF2B5EF4-FFF2-40B4-BE49-F238E27FC236}">
                <a16:creationId xmlns:a16="http://schemas.microsoft.com/office/drawing/2014/main" id="{0535E7A9-7DC3-4EA3-BF9B-6D78737C3508}"/>
              </a:ext>
            </a:extLst>
          </p:cNvPr>
          <p:cNvGraphicFramePr>
            <a:graphicFrameLocks noGrp="1"/>
          </p:cNvGraphicFramePr>
          <p:nvPr>
            <p:extLst>
              <p:ext uri="{D42A27DB-BD31-4B8C-83A1-F6EECF244321}">
                <p14:modId xmlns:p14="http://schemas.microsoft.com/office/powerpoint/2010/main" val="2016920934"/>
              </p:ext>
            </p:extLst>
          </p:nvPr>
        </p:nvGraphicFramePr>
        <p:xfrm>
          <a:off x="422820" y="816238"/>
          <a:ext cx="8583487" cy="5709744"/>
        </p:xfrm>
        <a:graphic>
          <a:graphicData uri="http://schemas.openxmlformats.org/drawingml/2006/table">
            <a:tbl>
              <a:tblPr firstRow="1" firstCol="1" bandRow="1">
                <a:tableStyleId>{5C22544A-7EE6-4342-B048-85BDC9FD1C3A}</a:tableStyleId>
              </a:tblPr>
              <a:tblGrid>
                <a:gridCol w="896917">
                  <a:extLst>
                    <a:ext uri="{9D8B030D-6E8A-4147-A177-3AD203B41FA5}">
                      <a16:colId xmlns:a16="http://schemas.microsoft.com/office/drawing/2014/main" val="2355464382"/>
                    </a:ext>
                  </a:extLst>
                </a:gridCol>
                <a:gridCol w="544198">
                  <a:extLst>
                    <a:ext uri="{9D8B030D-6E8A-4147-A177-3AD203B41FA5}">
                      <a16:colId xmlns:a16="http://schemas.microsoft.com/office/drawing/2014/main" val="3734837784"/>
                    </a:ext>
                  </a:extLst>
                </a:gridCol>
                <a:gridCol w="519462">
                  <a:extLst>
                    <a:ext uri="{9D8B030D-6E8A-4147-A177-3AD203B41FA5}">
                      <a16:colId xmlns:a16="http://schemas.microsoft.com/office/drawing/2014/main" val="151806329"/>
                    </a:ext>
                  </a:extLst>
                </a:gridCol>
                <a:gridCol w="519462">
                  <a:extLst>
                    <a:ext uri="{9D8B030D-6E8A-4147-A177-3AD203B41FA5}">
                      <a16:colId xmlns:a16="http://schemas.microsoft.com/office/drawing/2014/main" val="1965719473"/>
                    </a:ext>
                  </a:extLst>
                </a:gridCol>
                <a:gridCol w="519462">
                  <a:extLst>
                    <a:ext uri="{9D8B030D-6E8A-4147-A177-3AD203B41FA5}">
                      <a16:colId xmlns:a16="http://schemas.microsoft.com/office/drawing/2014/main" val="3201728326"/>
                    </a:ext>
                  </a:extLst>
                </a:gridCol>
                <a:gridCol w="519462">
                  <a:extLst>
                    <a:ext uri="{9D8B030D-6E8A-4147-A177-3AD203B41FA5}">
                      <a16:colId xmlns:a16="http://schemas.microsoft.com/office/drawing/2014/main" val="3556805304"/>
                    </a:ext>
                  </a:extLst>
                </a:gridCol>
                <a:gridCol w="519462">
                  <a:extLst>
                    <a:ext uri="{9D8B030D-6E8A-4147-A177-3AD203B41FA5}">
                      <a16:colId xmlns:a16="http://schemas.microsoft.com/office/drawing/2014/main" val="3790714560"/>
                    </a:ext>
                  </a:extLst>
                </a:gridCol>
                <a:gridCol w="519462">
                  <a:extLst>
                    <a:ext uri="{9D8B030D-6E8A-4147-A177-3AD203B41FA5}">
                      <a16:colId xmlns:a16="http://schemas.microsoft.com/office/drawing/2014/main" val="1182381097"/>
                    </a:ext>
                  </a:extLst>
                </a:gridCol>
                <a:gridCol w="519462">
                  <a:extLst>
                    <a:ext uri="{9D8B030D-6E8A-4147-A177-3AD203B41FA5}">
                      <a16:colId xmlns:a16="http://schemas.microsoft.com/office/drawing/2014/main" val="2042862753"/>
                    </a:ext>
                  </a:extLst>
                </a:gridCol>
                <a:gridCol w="519462">
                  <a:extLst>
                    <a:ext uri="{9D8B030D-6E8A-4147-A177-3AD203B41FA5}">
                      <a16:colId xmlns:a16="http://schemas.microsoft.com/office/drawing/2014/main" val="312802964"/>
                    </a:ext>
                  </a:extLst>
                </a:gridCol>
                <a:gridCol w="519462">
                  <a:extLst>
                    <a:ext uri="{9D8B030D-6E8A-4147-A177-3AD203B41FA5}">
                      <a16:colId xmlns:a16="http://schemas.microsoft.com/office/drawing/2014/main" val="3552660531"/>
                    </a:ext>
                  </a:extLst>
                </a:gridCol>
                <a:gridCol w="519462">
                  <a:extLst>
                    <a:ext uri="{9D8B030D-6E8A-4147-A177-3AD203B41FA5}">
                      <a16:colId xmlns:a16="http://schemas.microsoft.com/office/drawing/2014/main" val="593258457"/>
                    </a:ext>
                  </a:extLst>
                </a:gridCol>
                <a:gridCol w="519462">
                  <a:extLst>
                    <a:ext uri="{9D8B030D-6E8A-4147-A177-3AD203B41FA5}">
                      <a16:colId xmlns:a16="http://schemas.microsoft.com/office/drawing/2014/main" val="1669589708"/>
                    </a:ext>
                  </a:extLst>
                </a:gridCol>
                <a:gridCol w="519462">
                  <a:extLst>
                    <a:ext uri="{9D8B030D-6E8A-4147-A177-3AD203B41FA5}">
                      <a16:colId xmlns:a16="http://schemas.microsoft.com/office/drawing/2014/main" val="4027457199"/>
                    </a:ext>
                  </a:extLst>
                </a:gridCol>
                <a:gridCol w="88260">
                  <a:extLst>
                    <a:ext uri="{9D8B030D-6E8A-4147-A177-3AD203B41FA5}">
                      <a16:colId xmlns:a16="http://schemas.microsoft.com/office/drawing/2014/main" val="817271170"/>
                    </a:ext>
                  </a:extLst>
                </a:gridCol>
                <a:gridCol w="820568">
                  <a:extLst>
                    <a:ext uri="{9D8B030D-6E8A-4147-A177-3AD203B41FA5}">
                      <a16:colId xmlns:a16="http://schemas.microsoft.com/office/drawing/2014/main" val="3308321604"/>
                    </a:ext>
                  </a:extLst>
                </a:gridCol>
              </a:tblGrid>
              <a:tr h="173893">
                <a:tc>
                  <a:txBody>
                    <a:bodyPr/>
                    <a:lstStyle/>
                    <a:p>
                      <a:pPr marL="0" marR="0">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098479780"/>
                  </a:ext>
                </a:extLst>
              </a:tr>
              <a:tr h="172384">
                <a:tc>
                  <a:txBody>
                    <a:bodyPr/>
                    <a:lstStyle/>
                    <a:p>
                      <a:pPr marL="0" marR="0">
                        <a:lnSpc>
                          <a:spcPct val="115000"/>
                        </a:lnSpc>
                        <a:spcBef>
                          <a:spcPts val="0"/>
                        </a:spcBef>
                        <a:spcAft>
                          <a:spcPts val="0"/>
                        </a:spcAft>
                      </a:pPr>
                      <a:r>
                        <a:rPr lang="pt-BR" sz="900" dirty="0">
                          <a:effectLst/>
                        </a:rPr>
                        <a:t>Caderno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026449924"/>
                  </a:ext>
                </a:extLst>
              </a:tr>
              <a:tr h="172384">
                <a:tc>
                  <a:txBody>
                    <a:bodyPr/>
                    <a:lstStyle/>
                    <a:p>
                      <a:pPr marL="0" marR="0">
                        <a:lnSpc>
                          <a:spcPct val="115000"/>
                        </a:lnSpc>
                        <a:spcBef>
                          <a:spcPts val="0"/>
                        </a:spcBef>
                        <a:spcAft>
                          <a:spcPts val="0"/>
                        </a:spcAft>
                      </a:pPr>
                      <a:r>
                        <a:rPr lang="pt-BR" sz="900">
                          <a:effectLst/>
                        </a:rPr>
                        <a:t>Caderno 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588654086"/>
                  </a:ext>
                </a:extLst>
              </a:tr>
              <a:tr h="172384">
                <a:tc>
                  <a:txBody>
                    <a:bodyPr/>
                    <a:lstStyle/>
                    <a:p>
                      <a:pPr marL="0" marR="0">
                        <a:lnSpc>
                          <a:spcPct val="115000"/>
                        </a:lnSpc>
                        <a:spcBef>
                          <a:spcPts val="0"/>
                        </a:spcBef>
                        <a:spcAft>
                          <a:spcPts val="0"/>
                        </a:spcAft>
                      </a:pPr>
                      <a:r>
                        <a:rPr lang="pt-BR" sz="900">
                          <a:effectLst/>
                        </a:rPr>
                        <a:t>Caderno 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391616470"/>
                  </a:ext>
                </a:extLst>
              </a:tr>
              <a:tr h="172384">
                <a:tc>
                  <a:txBody>
                    <a:bodyPr/>
                    <a:lstStyle/>
                    <a:p>
                      <a:pPr marL="0" marR="0">
                        <a:lnSpc>
                          <a:spcPct val="115000"/>
                        </a:lnSpc>
                        <a:spcBef>
                          <a:spcPts val="0"/>
                        </a:spcBef>
                        <a:spcAft>
                          <a:spcPts val="0"/>
                        </a:spcAft>
                      </a:pPr>
                      <a:r>
                        <a:rPr lang="pt-BR" sz="900">
                          <a:effectLst/>
                        </a:rPr>
                        <a:t>Caderno 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921086343"/>
                  </a:ext>
                </a:extLst>
              </a:tr>
              <a:tr h="172384">
                <a:tc>
                  <a:txBody>
                    <a:bodyPr/>
                    <a:lstStyle/>
                    <a:p>
                      <a:pPr marL="0" marR="0">
                        <a:lnSpc>
                          <a:spcPct val="115000"/>
                        </a:lnSpc>
                        <a:spcBef>
                          <a:spcPts val="0"/>
                        </a:spcBef>
                        <a:spcAft>
                          <a:spcPts val="0"/>
                        </a:spcAft>
                      </a:pPr>
                      <a:r>
                        <a:rPr lang="pt-BR" sz="900">
                          <a:effectLst/>
                        </a:rPr>
                        <a:t>Caderno 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570362300"/>
                  </a:ext>
                </a:extLst>
              </a:tr>
              <a:tr h="172384">
                <a:tc>
                  <a:txBody>
                    <a:bodyPr/>
                    <a:lstStyle/>
                    <a:p>
                      <a:pPr marL="0" marR="0">
                        <a:lnSpc>
                          <a:spcPct val="115000"/>
                        </a:lnSpc>
                        <a:spcBef>
                          <a:spcPts val="0"/>
                        </a:spcBef>
                        <a:spcAft>
                          <a:spcPts val="0"/>
                        </a:spcAft>
                      </a:pPr>
                      <a:r>
                        <a:rPr lang="pt-BR" sz="900">
                          <a:effectLst/>
                        </a:rPr>
                        <a:t>Caderno 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29025519"/>
                  </a:ext>
                </a:extLst>
              </a:tr>
              <a:tr h="172384">
                <a:tc>
                  <a:txBody>
                    <a:bodyPr/>
                    <a:lstStyle/>
                    <a:p>
                      <a:pPr marL="0" marR="0">
                        <a:lnSpc>
                          <a:spcPct val="115000"/>
                        </a:lnSpc>
                        <a:spcBef>
                          <a:spcPts val="0"/>
                        </a:spcBef>
                        <a:spcAft>
                          <a:spcPts val="0"/>
                        </a:spcAft>
                      </a:pPr>
                      <a:r>
                        <a:rPr lang="pt-BR" sz="900">
                          <a:effectLst/>
                        </a:rPr>
                        <a:t>Caderno 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451830702"/>
                  </a:ext>
                </a:extLst>
              </a:tr>
              <a:tr h="172384">
                <a:tc>
                  <a:txBody>
                    <a:bodyPr/>
                    <a:lstStyle/>
                    <a:p>
                      <a:pPr marL="0" marR="0">
                        <a:lnSpc>
                          <a:spcPct val="115000"/>
                        </a:lnSpc>
                        <a:spcBef>
                          <a:spcPts val="0"/>
                        </a:spcBef>
                        <a:spcAft>
                          <a:spcPts val="0"/>
                        </a:spcAft>
                      </a:pPr>
                      <a:r>
                        <a:rPr lang="pt-BR" sz="900">
                          <a:effectLst/>
                        </a:rPr>
                        <a:t>Caderno 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263201598"/>
                  </a:ext>
                </a:extLst>
              </a:tr>
              <a:tr h="172384">
                <a:tc>
                  <a:txBody>
                    <a:bodyPr/>
                    <a:lstStyle/>
                    <a:p>
                      <a:pPr marL="0" marR="0">
                        <a:lnSpc>
                          <a:spcPct val="115000"/>
                        </a:lnSpc>
                        <a:spcBef>
                          <a:spcPts val="0"/>
                        </a:spcBef>
                        <a:spcAft>
                          <a:spcPts val="0"/>
                        </a:spcAft>
                      </a:pPr>
                      <a:r>
                        <a:rPr lang="pt-BR" sz="900">
                          <a:effectLst/>
                        </a:rPr>
                        <a:t>Caderno 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08202567"/>
                  </a:ext>
                </a:extLst>
              </a:tr>
              <a:tr h="172384">
                <a:tc>
                  <a:txBody>
                    <a:bodyPr/>
                    <a:lstStyle/>
                    <a:p>
                      <a:pPr marL="0" marR="0">
                        <a:lnSpc>
                          <a:spcPct val="115000"/>
                        </a:lnSpc>
                        <a:spcBef>
                          <a:spcPts val="0"/>
                        </a:spcBef>
                        <a:spcAft>
                          <a:spcPts val="0"/>
                        </a:spcAft>
                      </a:pPr>
                      <a:r>
                        <a:rPr lang="pt-BR" sz="900">
                          <a:effectLst/>
                        </a:rPr>
                        <a:t>Caderno 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91531729"/>
                  </a:ext>
                </a:extLst>
              </a:tr>
              <a:tr h="172384">
                <a:tc>
                  <a:txBody>
                    <a:bodyPr/>
                    <a:lstStyle/>
                    <a:p>
                      <a:pPr marL="0" marR="0">
                        <a:lnSpc>
                          <a:spcPct val="115000"/>
                        </a:lnSpc>
                        <a:spcBef>
                          <a:spcPts val="0"/>
                        </a:spcBef>
                        <a:spcAft>
                          <a:spcPts val="0"/>
                        </a:spcAft>
                      </a:pPr>
                      <a:r>
                        <a:rPr lang="pt-BR" sz="900">
                          <a:effectLst/>
                        </a:rPr>
                        <a:t>Caderno 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466427521"/>
                  </a:ext>
                </a:extLst>
              </a:tr>
              <a:tr h="172384">
                <a:tc>
                  <a:txBody>
                    <a:bodyPr/>
                    <a:lstStyle/>
                    <a:p>
                      <a:pPr marL="0" marR="0">
                        <a:lnSpc>
                          <a:spcPct val="115000"/>
                        </a:lnSpc>
                        <a:spcBef>
                          <a:spcPts val="0"/>
                        </a:spcBef>
                        <a:spcAft>
                          <a:spcPts val="0"/>
                        </a:spcAft>
                      </a:pPr>
                      <a:r>
                        <a:rPr lang="pt-BR" sz="900">
                          <a:effectLst/>
                        </a:rPr>
                        <a:t>Caderno 1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839442161"/>
                  </a:ext>
                </a:extLst>
              </a:tr>
              <a:tr h="172384">
                <a:tc>
                  <a:txBody>
                    <a:bodyPr/>
                    <a:lstStyle/>
                    <a:p>
                      <a:pPr marL="0" marR="0">
                        <a:lnSpc>
                          <a:spcPct val="115000"/>
                        </a:lnSpc>
                        <a:spcBef>
                          <a:spcPts val="0"/>
                        </a:spcBef>
                        <a:spcAft>
                          <a:spcPts val="0"/>
                        </a:spcAft>
                      </a:pPr>
                      <a:r>
                        <a:rPr lang="pt-BR" sz="900">
                          <a:effectLst/>
                        </a:rPr>
                        <a:t>Caderno 1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655694097"/>
                  </a:ext>
                </a:extLst>
              </a:tr>
              <a:tr h="172384">
                <a:tc>
                  <a:txBody>
                    <a:bodyPr/>
                    <a:lstStyle/>
                    <a:p>
                      <a:pPr marL="0" marR="0">
                        <a:lnSpc>
                          <a:spcPct val="115000"/>
                        </a:lnSpc>
                        <a:spcBef>
                          <a:spcPts val="0"/>
                        </a:spcBef>
                        <a:spcAft>
                          <a:spcPts val="0"/>
                        </a:spcAft>
                      </a:pPr>
                      <a:r>
                        <a:rPr lang="pt-BR" sz="900">
                          <a:effectLst/>
                        </a:rPr>
                        <a:t>Caderno 1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355695906"/>
                  </a:ext>
                </a:extLst>
              </a:tr>
              <a:tr h="172384">
                <a:tc>
                  <a:txBody>
                    <a:bodyPr/>
                    <a:lstStyle/>
                    <a:p>
                      <a:pPr marL="0" marR="0">
                        <a:lnSpc>
                          <a:spcPct val="115000"/>
                        </a:lnSpc>
                        <a:spcBef>
                          <a:spcPts val="0"/>
                        </a:spcBef>
                        <a:spcAft>
                          <a:spcPts val="0"/>
                        </a:spcAft>
                      </a:pPr>
                      <a:r>
                        <a:rPr lang="pt-BR" sz="900">
                          <a:effectLst/>
                        </a:rPr>
                        <a:t>Caderno 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937803040"/>
                  </a:ext>
                </a:extLst>
              </a:tr>
              <a:tr h="172384">
                <a:tc>
                  <a:txBody>
                    <a:bodyPr/>
                    <a:lstStyle/>
                    <a:p>
                      <a:pPr marL="0" marR="0">
                        <a:lnSpc>
                          <a:spcPct val="115000"/>
                        </a:lnSpc>
                        <a:spcBef>
                          <a:spcPts val="0"/>
                        </a:spcBef>
                        <a:spcAft>
                          <a:spcPts val="0"/>
                        </a:spcAft>
                      </a:pPr>
                      <a:r>
                        <a:rPr lang="pt-BR" sz="900">
                          <a:effectLst/>
                        </a:rPr>
                        <a:t>Caderno 1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202340355"/>
                  </a:ext>
                </a:extLst>
              </a:tr>
              <a:tr h="172384">
                <a:tc>
                  <a:txBody>
                    <a:bodyPr/>
                    <a:lstStyle/>
                    <a:p>
                      <a:pPr marL="0" marR="0">
                        <a:lnSpc>
                          <a:spcPct val="115000"/>
                        </a:lnSpc>
                        <a:spcBef>
                          <a:spcPts val="0"/>
                        </a:spcBef>
                        <a:spcAft>
                          <a:spcPts val="0"/>
                        </a:spcAft>
                      </a:pPr>
                      <a:r>
                        <a:rPr lang="pt-BR" sz="900">
                          <a:effectLst/>
                        </a:rPr>
                        <a:t>Caderno 1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141410105"/>
                  </a:ext>
                </a:extLst>
              </a:tr>
              <a:tr h="172384">
                <a:tc>
                  <a:txBody>
                    <a:bodyPr/>
                    <a:lstStyle/>
                    <a:p>
                      <a:pPr marL="0" marR="0">
                        <a:lnSpc>
                          <a:spcPct val="115000"/>
                        </a:lnSpc>
                        <a:spcBef>
                          <a:spcPts val="0"/>
                        </a:spcBef>
                        <a:spcAft>
                          <a:spcPts val="0"/>
                        </a:spcAft>
                      </a:pPr>
                      <a:r>
                        <a:rPr lang="pt-BR" sz="900">
                          <a:effectLst/>
                        </a:rPr>
                        <a:t>Caderno 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5382717"/>
                  </a:ext>
                </a:extLst>
              </a:tr>
              <a:tr h="172384">
                <a:tc>
                  <a:txBody>
                    <a:bodyPr/>
                    <a:lstStyle/>
                    <a:p>
                      <a:pPr marL="0" marR="0">
                        <a:lnSpc>
                          <a:spcPct val="115000"/>
                        </a:lnSpc>
                        <a:spcBef>
                          <a:spcPts val="0"/>
                        </a:spcBef>
                        <a:spcAft>
                          <a:spcPts val="0"/>
                        </a:spcAft>
                      </a:pPr>
                      <a:r>
                        <a:rPr lang="pt-BR" sz="900">
                          <a:effectLst/>
                        </a:rPr>
                        <a:t>Caderno 1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466189676"/>
                  </a:ext>
                </a:extLst>
              </a:tr>
              <a:tr h="172384">
                <a:tc>
                  <a:txBody>
                    <a:bodyPr/>
                    <a:lstStyle/>
                    <a:p>
                      <a:pPr marL="0" marR="0">
                        <a:lnSpc>
                          <a:spcPct val="115000"/>
                        </a:lnSpc>
                        <a:spcBef>
                          <a:spcPts val="0"/>
                        </a:spcBef>
                        <a:spcAft>
                          <a:spcPts val="0"/>
                        </a:spcAft>
                      </a:pPr>
                      <a:r>
                        <a:rPr lang="pt-BR" sz="900">
                          <a:effectLst/>
                        </a:rPr>
                        <a:t>Caderno 2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478219917"/>
                  </a:ext>
                </a:extLst>
              </a:tr>
              <a:tr h="172384">
                <a:tc>
                  <a:txBody>
                    <a:bodyPr/>
                    <a:lstStyle/>
                    <a:p>
                      <a:pPr marL="0" marR="0">
                        <a:lnSpc>
                          <a:spcPct val="115000"/>
                        </a:lnSpc>
                        <a:spcBef>
                          <a:spcPts val="0"/>
                        </a:spcBef>
                        <a:spcAft>
                          <a:spcPts val="0"/>
                        </a:spcAft>
                      </a:pPr>
                      <a:r>
                        <a:rPr lang="pt-BR" sz="900">
                          <a:effectLst/>
                        </a:rPr>
                        <a:t>Caderno 2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404767928"/>
                  </a:ext>
                </a:extLst>
              </a:tr>
              <a:tr h="172384">
                <a:tc>
                  <a:txBody>
                    <a:bodyPr/>
                    <a:lstStyle/>
                    <a:p>
                      <a:pPr marL="0" marR="0">
                        <a:lnSpc>
                          <a:spcPct val="115000"/>
                        </a:lnSpc>
                        <a:spcBef>
                          <a:spcPts val="0"/>
                        </a:spcBef>
                        <a:spcAft>
                          <a:spcPts val="0"/>
                        </a:spcAft>
                      </a:pPr>
                      <a:r>
                        <a:rPr lang="pt-BR" sz="900">
                          <a:effectLst/>
                        </a:rPr>
                        <a:t>Caderno 2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572726424"/>
                  </a:ext>
                </a:extLst>
              </a:tr>
              <a:tr h="172384">
                <a:tc>
                  <a:txBody>
                    <a:bodyPr/>
                    <a:lstStyle/>
                    <a:p>
                      <a:pPr marL="0" marR="0">
                        <a:lnSpc>
                          <a:spcPct val="115000"/>
                        </a:lnSpc>
                        <a:spcBef>
                          <a:spcPts val="0"/>
                        </a:spcBef>
                        <a:spcAft>
                          <a:spcPts val="0"/>
                        </a:spcAft>
                      </a:pPr>
                      <a:r>
                        <a:rPr lang="pt-BR" sz="900">
                          <a:effectLst/>
                        </a:rPr>
                        <a:t>Caderno 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810910446"/>
                  </a:ext>
                </a:extLst>
              </a:tr>
              <a:tr h="172384">
                <a:tc>
                  <a:txBody>
                    <a:bodyPr/>
                    <a:lstStyle/>
                    <a:p>
                      <a:pPr marL="0" marR="0">
                        <a:lnSpc>
                          <a:spcPct val="115000"/>
                        </a:lnSpc>
                        <a:spcBef>
                          <a:spcPts val="0"/>
                        </a:spcBef>
                        <a:spcAft>
                          <a:spcPts val="0"/>
                        </a:spcAft>
                      </a:pPr>
                      <a:r>
                        <a:rPr lang="pt-BR" sz="900">
                          <a:effectLst/>
                        </a:rPr>
                        <a:t>Caderno 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104714331"/>
                  </a:ext>
                </a:extLst>
              </a:tr>
              <a:tr h="172384">
                <a:tc>
                  <a:txBody>
                    <a:bodyPr/>
                    <a:lstStyle/>
                    <a:p>
                      <a:pPr marL="0" marR="0">
                        <a:lnSpc>
                          <a:spcPct val="115000"/>
                        </a:lnSpc>
                        <a:spcBef>
                          <a:spcPts val="0"/>
                        </a:spcBef>
                        <a:spcAft>
                          <a:spcPts val="0"/>
                        </a:spcAft>
                      </a:pPr>
                      <a:r>
                        <a:rPr lang="pt-BR" sz="900">
                          <a:effectLst/>
                        </a:rPr>
                        <a:t>Caderno 2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035433388"/>
                  </a:ext>
                </a:extLst>
              </a:tr>
              <a:tr h="173893">
                <a:tc>
                  <a:txBody>
                    <a:bodyPr/>
                    <a:lstStyle/>
                    <a:p>
                      <a:pPr marL="0" marR="0">
                        <a:lnSpc>
                          <a:spcPct val="115000"/>
                        </a:lnSpc>
                        <a:spcBef>
                          <a:spcPts val="0"/>
                        </a:spcBef>
                        <a:spcAft>
                          <a:spcPts val="0"/>
                        </a:spcAft>
                      </a:pPr>
                      <a:r>
                        <a:rPr lang="pt-BR" sz="900">
                          <a:effectLst/>
                        </a:rPr>
                        <a:t>Caderno 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981180844"/>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550330864"/>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677527971"/>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920547657"/>
                  </a:ext>
                </a:extLst>
              </a:tr>
              <a:tr h="509579">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gridSpan="13">
                  <a:txBody>
                    <a:bodyPr/>
                    <a:lstStyle/>
                    <a:p>
                      <a:pPr marL="0" marR="0">
                        <a:lnSpc>
                          <a:spcPct val="115000"/>
                        </a:lnSpc>
                        <a:spcBef>
                          <a:spcPts val="0"/>
                        </a:spcBef>
                        <a:spcAft>
                          <a:spcPts val="0"/>
                        </a:spcAft>
                      </a:pPr>
                      <a:r>
                        <a:rPr lang="pt-BR" sz="900">
                          <a:effectLst/>
                        </a:rPr>
                        <a:t>Obs: note que cada par de blocos aparece no mesmo caderno um número constante de vezes. Por exemplo, B1 e B2 aparecem juntos apenas no Caderno 1, já os blocos B1 e B3 aparecem juntos apenas no Caderno 14.  Verificando todos, notaremos que cada par de blocos aparecem juntos no mesmo caderno apenas uma vez, o que torna o planejamento completamente balanceado.</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120253483"/>
                  </a:ext>
                </a:extLst>
              </a:tr>
            </a:tbl>
          </a:graphicData>
        </a:graphic>
      </p:graphicFrame>
      <p:sp>
        <p:nvSpPr>
          <p:cNvPr id="8" name="Título 7">
            <a:extLst>
              <a:ext uri="{FF2B5EF4-FFF2-40B4-BE49-F238E27FC236}">
                <a16:creationId xmlns:a16="http://schemas.microsoft.com/office/drawing/2014/main" id="{76FB5DE4-1EDD-404E-97B8-44087589DC21}"/>
              </a:ext>
            </a:extLst>
          </p:cNvPr>
          <p:cNvSpPr>
            <a:spLocks noGrp="1"/>
          </p:cNvSpPr>
          <p:nvPr>
            <p:ph type="title"/>
          </p:nvPr>
        </p:nvSpPr>
        <p:spPr/>
        <p:txBody>
          <a:bodyPr/>
          <a:lstStyle/>
          <a:p>
            <a:r>
              <a:rPr lang="en-US" dirty="0" err="1"/>
              <a:t>Representação</a:t>
            </a:r>
            <a:r>
              <a:rPr lang="en-US" dirty="0"/>
              <a:t> </a:t>
            </a:r>
            <a:r>
              <a:rPr lang="en-US" dirty="0" err="1"/>
              <a:t>Espiral</a:t>
            </a:r>
            <a:r>
              <a:rPr lang="en-US" dirty="0"/>
              <a:t>:</a:t>
            </a:r>
          </a:p>
        </p:txBody>
      </p:sp>
    </p:spTree>
    <p:extLst>
      <p:ext uri="{BB962C8B-B14F-4D97-AF65-F5344CB8AC3E}">
        <p14:creationId xmlns:p14="http://schemas.microsoft.com/office/powerpoint/2010/main" val="44060136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p:cNvGraphicFramePr>
            <a:graphicFrameLocks noGrp="1"/>
          </p:cNvGraphicFramePr>
          <p:nvPr>
            <p:extLst>
              <p:ext uri="{D42A27DB-BD31-4B8C-83A1-F6EECF244321}">
                <p14:modId xmlns:p14="http://schemas.microsoft.com/office/powerpoint/2010/main" val="1496624391"/>
              </p:ext>
            </p:extLst>
          </p:nvPr>
        </p:nvGraphicFramePr>
        <p:xfrm>
          <a:off x="251520" y="1196752"/>
          <a:ext cx="7992888" cy="5271013"/>
        </p:xfrm>
        <a:graphic>
          <a:graphicData uri="http://schemas.openxmlformats.org/drawingml/2006/table">
            <a:tbl>
              <a:tblPr>
                <a:tableStyleId>{0E3FDE45-AF77-4B5C-9715-49D594BDF05E}</a:tableStyleId>
              </a:tblPr>
              <a:tblGrid>
                <a:gridCol w="1008112">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227622">
                <a:tc>
                  <a:txBody>
                    <a:bodyPr/>
                    <a:lstStyle/>
                    <a:p>
                      <a:pPr algn="just">
                        <a:lnSpc>
                          <a:spcPct val="115000"/>
                        </a:lnSpc>
                        <a:spcAft>
                          <a:spcPts val="0"/>
                        </a:spcAft>
                      </a:pPr>
                      <a:r>
                        <a:rPr lang="pt-BR" sz="1400" b="1" dirty="0"/>
                        <a:t>Habilidade</a:t>
                      </a:r>
                      <a:endParaRPr lang="pt-BR" sz="1400" b="1" dirty="0">
                        <a:latin typeface="+mn-lt"/>
                        <a:ea typeface="Calibri"/>
                        <a:cs typeface="Times New Roman"/>
                      </a:endParaRPr>
                    </a:p>
                  </a:txBody>
                  <a:tcPr marL="42624" marR="42624" marT="0" marB="0"/>
                </a:tc>
                <a:tc>
                  <a:txBody>
                    <a:bodyPr/>
                    <a:lstStyle/>
                    <a:p>
                      <a:pPr algn="ctr">
                        <a:lnSpc>
                          <a:spcPct val="115000"/>
                        </a:lnSpc>
                        <a:spcAft>
                          <a:spcPts val="0"/>
                        </a:spcAft>
                      </a:pPr>
                      <a:r>
                        <a:rPr lang="pt-BR" sz="1800" b="1" dirty="0"/>
                        <a:t>Língua</a:t>
                      </a:r>
                      <a:r>
                        <a:rPr lang="pt-BR" sz="1800" b="1" baseline="0" dirty="0"/>
                        <a:t> Portuguesa 4º e 5º  anos Ensino Fundamental</a:t>
                      </a:r>
                      <a:endParaRPr lang="pt-BR" sz="1800" b="1" dirty="0">
                        <a:latin typeface="+mn-lt"/>
                        <a:ea typeface="Calibri"/>
                        <a:cs typeface="Times New Roman"/>
                      </a:endParaRPr>
                    </a:p>
                  </a:txBody>
                  <a:tcPr marL="42624" marR="42624" marT="0" marB="0"/>
                </a:tc>
                <a:extLst>
                  <a:ext uri="{0D108BD9-81ED-4DB2-BD59-A6C34878D82A}">
                    <a16:rowId xmlns:a16="http://schemas.microsoft.com/office/drawing/2014/main" val="10000"/>
                  </a:ext>
                </a:extLst>
              </a:tr>
              <a:tr h="201098">
                <a:tc>
                  <a:txBody>
                    <a:bodyPr/>
                    <a:lstStyle/>
                    <a:p>
                      <a:pPr algn="just">
                        <a:lnSpc>
                          <a:spcPct val="115000"/>
                        </a:lnSpc>
                        <a:spcAft>
                          <a:spcPts val="0"/>
                        </a:spcAft>
                      </a:pPr>
                      <a:endParaRPr lang="pt-BR" sz="1200" dirty="0">
                        <a:latin typeface="+mn-lt"/>
                        <a:ea typeface="Calibri"/>
                        <a:cs typeface="Times New Roman"/>
                      </a:endParaRPr>
                    </a:p>
                  </a:txBody>
                  <a:tcPr marL="42624" marR="42624" marT="0" marB="0"/>
                </a:tc>
                <a:tc>
                  <a:txBody>
                    <a:bodyPr/>
                    <a:lstStyle/>
                    <a:p>
                      <a:pPr algn="just">
                        <a:lnSpc>
                          <a:spcPct val="115000"/>
                        </a:lnSpc>
                        <a:spcAft>
                          <a:spcPts val="0"/>
                        </a:spcAft>
                      </a:pPr>
                      <a:r>
                        <a:rPr lang="pt-BR" sz="1200" dirty="0"/>
                        <a:t>Tema I – CONTEXTO DE PRODUÇÃO E COMPREENSÃO DO TEXTO</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01"/>
                  </a:ext>
                </a:extLst>
              </a:tr>
              <a:tr h="227622">
                <a:tc>
                  <a:txBody>
                    <a:bodyPr/>
                    <a:lstStyle/>
                    <a:p>
                      <a:pPr algn="just">
                        <a:lnSpc>
                          <a:spcPct val="115000"/>
                        </a:lnSpc>
                        <a:spcAft>
                          <a:spcPts val="0"/>
                        </a:spcAft>
                      </a:pPr>
                      <a:r>
                        <a:rPr lang="pt-BR" sz="1200" dirty="0"/>
                        <a:t>LPA01</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a finalidade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2"/>
                  </a:ext>
                </a:extLst>
              </a:tr>
              <a:tr h="227622">
                <a:tc>
                  <a:txBody>
                    <a:bodyPr/>
                    <a:lstStyle/>
                    <a:p>
                      <a:pPr algn="just">
                        <a:lnSpc>
                          <a:spcPct val="115000"/>
                        </a:lnSpc>
                        <a:spcAft>
                          <a:spcPts val="0"/>
                        </a:spcAft>
                      </a:pPr>
                      <a:r>
                        <a:rPr lang="pt-BR" sz="1200" dirty="0"/>
                        <a:t>LPA02</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Localizar informações explícitas em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3"/>
                  </a:ext>
                </a:extLst>
              </a:tr>
              <a:tr h="227622">
                <a:tc>
                  <a:txBody>
                    <a:bodyPr/>
                    <a:lstStyle/>
                    <a:p>
                      <a:pPr algn="just">
                        <a:lnSpc>
                          <a:spcPct val="115000"/>
                        </a:lnSpc>
                        <a:spcAft>
                          <a:spcPts val="0"/>
                        </a:spcAft>
                      </a:pPr>
                      <a:r>
                        <a:rPr lang="pt-BR" sz="1200" dirty="0"/>
                        <a:t>LPA03</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Reconhecer tema ou assunto principal de um texto, com base em informações contidas em título, subtítulo ou corpo do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4"/>
                  </a:ext>
                </a:extLst>
              </a:tr>
              <a:tr h="227622">
                <a:tc>
                  <a:txBody>
                    <a:bodyPr/>
                    <a:lstStyle/>
                    <a:p>
                      <a:pPr algn="just">
                        <a:lnSpc>
                          <a:spcPct val="115000"/>
                        </a:lnSpc>
                        <a:spcAft>
                          <a:spcPts val="0"/>
                        </a:spcAft>
                      </a:pPr>
                      <a:r>
                        <a:rPr lang="pt-BR" sz="1200" dirty="0"/>
                        <a:t>LPA04</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ferir o sentido de palavra ou expressão, selecionando aquele que pode </a:t>
                      </a:r>
                      <a:r>
                        <a:rPr lang="pt-BR" sz="1200" dirty="0" err="1"/>
                        <a:t>substitui-lo</a:t>
                      </a:r>
                      <a:r>
                        <a:rPr lang="pt-BR" sz="1200" dirty="0"/>
                        <a:t> no contexto em que se insere.</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5"/>
                  </a:ext>
                </a:extLst>
              </a:tr>
              <a:tr h="227622">
                <a:tc>
                  <a:txBody>
                    <a:bodyPr/>
                    <a:lstStyle/>
                    <a:p>
                      <a:pPr algn="just">
                        <a:lnSpc>
                          <a:spcPct val="115000"/>
                        </a:lnSpc>
                        <a:spcAft>
                          <a:spcPts val="0"/>
                        </a:spcAft>
                      </a:pPr>
                      <a:r>
                        <a:rPr lang="pt-BR" sz="1200" dirty="0"/>
                        <a:t>LPA05</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a:t>Inferir informação pressuposta ou subentendida em um texto.</a:t>
                      </a:r>
                      <a:endParaRPr lang="pt-BR" sz="1200">
                        <a:latin typeface="+mn-lt"/>
                        <a:ea typeface="Calibri"/>
                        <a:cs typeface="Times New Roman"/>
                      </a:endParaRPr>
                    </a:p>
                  </a:txBody>
                  <a:tcPr marL="42624" marR="42624" marT="0" marB="0"/>
                </a:tc>
                <a:extLst>
                  <a:ext uri="{0D108BD9-81ED-4DB2-BD59-A6C34878D82A}">
                    <a16:rowId xmlns:a16="http://schemas.microsoft.com/office/drawing/2014/main" val="10006"/>
                  </a:ext>
                </a:extLst>
              </a:tr>
              <a:tr h="227622">
                <a:tc>
                  <a:txBody>
                    <a:bodyPr/>
                    <a:lstStyle/>
                    <a:p>
                      <a:pPr algn="just">
                        <a:lnSpc>
                          <a:spcPct val="115000"/>
                        </a:lnSpc>
                        <a:spcAft>
                          <a:spcPts val="0"/>
                        </a:spcAft>
                      </a:pP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Tema II </a:t>
                      </a:r>
                      <a:r>
                        <a:rPr lang="pt-BR" sz="1200" baseline="0" dirty="0"/>
                        <a:t> - </a:t>
                      </a:r>
                      <a:r>
                        <a:rPr lang="pt-BR" sz="1200" dirty="0"/>
                        <a:t>COMPOSIÇÃO DO GÊNERO</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07"/>
                  </a:ext>
                </a:extLst>
              </a:tr>
              <a:tr h="227622">
                <a:tc>
                  <a:txBody>
                    <a:bodyPr/>
                    <a:lstStyle/>
                    <a:p>
                      <a:pPr algn="just">
                        <a:lnSpc>
                          <a:spcPct val="115000"/>
                        </a:lnSpc>
                        <a:spcAft>
                          <a:spcPts val="0"/>
                        </a:spcAft>
                      </a:pPr>
                      <a:r>
                        <a:rPr lang="pt-BR" sz="1200" dirty="0"/>
                        <a:t>LPA06</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 gênero e/ou os elementos constitutivos da organização interna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8"/>
                  </a:ext>
                </a:extLst>
              </a:tr>
              <a:tr h="227622">
                <a:tc>
                  <a:txBody>
                    <a:bodyPr/>
                    <a:lstStyle/>
                    <a:p>
                      <a:pPr algn="just">
                        <a:lnSpc>
                          <a:spcPct val="115000"/>
                        </a:lnSpc>
                        <a:spcAft>
                          <a:spcPts val="0"/>
                        </a:spcAft>
                      </a:pPr>
                      <a:r>
                        <a:rPr lang="pt-BR" sz="1200" dirty="0"/>
                        <a:t>LPA07</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s episódios principais de uma narrativa.</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9"/>
                  </a:ext>
                </a:extLst>
              </a:tr>
              <a:tr h="227622">
                <a:tc>
                  <a:txBody>
                    <a:bodyPr/>
                    <a:lstStyle/>
                    <a:p>
                      <a:pPr algn="just">
                        <a:lnSpc>
                          <a:spcPct val="115000"/>
                        </a:lnSpc>
                        <a:spcAft>
                          <a:spcPts val="0"/>
                        </a:spcAft>
                      </a:pPr>
                      <a:r>
                        <a:rPr lang="pt-BR" sz="1200" dirty="0"/>
                        <a:t>LPA08</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s elementos constitutivos da narrativa (enredo, espaço, tempo, foco narrativo, narrador, personagen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0"/>
                  </a:ext>
                </a:extLst>
              </a:tr>
              <a:tr h="227622">
                <a:tc>
                  <a:txBody>
                    <a:bodyPr/>
                    <a:lstStyle/>
                    <a:p>
                      <a:pPr algn="just">
                        <a:lnSpc>
                          <a:spcPct val="115000"/>
                        </a:lnSpc>
                        <a:spcAft>
                          <a:spcPts val="0"/>
                        </a:spcAft>
                      </a:pPr>
                      <a:r>
                        <a:rPr lang="pt-BR" sz="1200" dirty="0"/>
                        <a:t>LPA09 </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Selecionar legenda ou título apropriado a uma foto ou texto escri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1"/>
                  </a:ext>
                </a:extLst>
              </a:tr>
              <a:tr h="227622">
                <a:tc>
                  <a:txBody>
                    <a:bodyPr/>
                    <a:lstStyle/>
                    <a:p>
                      <a:pPr algn="just">
                        <a:lnSpc>
                          <a:spcPct val="115000"/>
                        </a:lnSpc>
                        <a:spcAft>
                          <a:spcPts val="0"/>
                        </a:spcAft>
                      </a:pPr>
                      <a:r>
                        <a:rPr lang="pt-BR" sz="1200" dirty="0"/>
                        <a:t>LPA10</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Estabelecer relações de causa-consequência entre segmentos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2"/>
                  </a:ext>
                </a:extLst>
              </a:tr>
              <a:tr h="227622">
                <a:tc>
                  <a:txBody>
                    <a:bodyPr/>
                    <a:lstStyle/>
                    <a:p>
                      <a:pPr algn="just">
                        <a:lnSpc>
                          <a:spcPct val="115000"/>
                        </a:lnSpc>
                        <a:spcAft>
                          <a:spcPts val="0"/>
                        </a:spcAft>
                      </a:pPr>
                      <a:r>
                        <a:rPr lang="pt-BR" sz="1200" dirty="0"/>
                        <a:t>LPA11</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terpretar um texto com apoio em seus recursos gráficos e visuai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3"/>
                  </a:ext>
                </a:extLst>
              </a:tr>
              <a:tr h="227622">
                <a:tc>
                  <a:txBody>
                    <a:bodyPr/>
                    <a:lstStyle/>
                    <a:p>
                      <a:pPr algn="just">
                        <a:lnSpc>
                          <a:spcPct val="115000"/>
                        </a:lnSpc>
                        <a:spcAft>
                          <a:spcPts val="0"/>
                        </a:spcAft>
                      </a:pP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Tema III - LINGUAGEM</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14"/>
                  </a:ext>
                </a:extLst>
              </a:tr>
              <a:tr h="227622">
                <a:tc>
                  <a:txBody>
                    <a:bodyPr/>
                    <a:lstStyle/>
                    <a:p>
                      <a:pPr algn="just">
                        <a:lnSpc>
                          <a:spcPct val="115000"/>
                        </a:lnSpc>
                        <a:spcAft>
                          <a:spcPts val="0"/>
                        </a:spcAft>
                      </a:pPr>
                      <a:r>
                        <a:rPr lang="pt-BR" sz="1200" dirty="0"/>
                        <a:t>LPA12</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 efeito de sentido produzido em um texto pelo uso de pontuação (exclamação, interrogação, reticências </a:t>
                      </a:r>
                      <a:r>
                        <a:rPr lang="pt-BR" sz="1200" dirty="0" err="1"/>
                        <a:t>etc</a:t>
                      </a:r>
                      <a:r>
                        <a:rPr lang="pt-BR" sz="1200" dirty="0"/>
                        <a:t>).</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5"/>
                  </a:ext>
                </a:extLst>
              </a:tr>
              <a:tr h="227622">
                <a:tc>
                  <a:txBody>
                    <a:bodyPr/>
                    <a:lstStyle/>
                    <a:p>
                      <a:pPr algn="just">
                        <a:lnSpc>
                          <a:spcPct val="115000"/>
                        </a:lnSpc>
                        <a:spcAft>
                          <a:spcPts val="0"/>
                        </a:spcAft>
                      </a:pPr>
                      <a:r>
                        <a:rPr lang="pt-BR" sz="1200" dirty="0"/>
                        <a:t>LPA13</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as marcas linguísticas que evidenciam o locutor e o interlocutor de um texto (variações linguística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6"/>
                  </a:ext>
                </a:extLst>
              </a:tr>
              <a:tr h="227622">
                <a:tc>
                  <a:txBody>
                    <a:bodyPr/>
                    <a:lstStyle/>
                    <a:p>
                      <a:pPr algn="just">
                        <a:lnSpc>
                          <a:spcPct val="115000"/>
                        </a:lnSpc>
                        <a:spcAft>
                          <a:spcPts val="0"/>
                        </a:spcAft>
                      </a:pPr>
                      <a:r>
                        <a:rPr lang="pt-BR" sz="1200" dirty="0"/>
                        <a:t>LPA14</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a:t>Estabelecer relação entre segmentos de texto, identificando substituições por formas pronominais. </a:t>
                      </a:r>
                      <a:endParaRPr lang="pt-BR" sz="1200">
                        <a:latin typeface="+mn-lt"/>
                        <a:ea typeface="Calibri"/>
                        <a:cs typeface="Times New Roman"/>
                      </a:endParaRPr>
                    </a:p>
                  </a:txBody>
                  <a:tcPr marL="42624" marR="42624" marT="0" marB="0"/>
                </a:tc>
                <a:extLst>
                  <a:ext uri="{0D108BD9-81ED-4DB2-BD59-A6C34878D82A}">
                    <a16:rowId xmlns:a16="http://schemas.microsoft.com/office/drawing/2014/main" val="10017"/>
                  </a:ext>
                </a:extLst>
              </a:tr>
              <a:tr h="227622">
                <a:tc>
                  <a:txBody>
                    <a:bodyPr/>
                    <a:lstStyle/>
                    <a:p>
                      <a:pPr algn="just">
                        <a:lnSpc>
                          <a:spcPct val="115000"/>
                        </a:lnSpc>
                        <a:spcAft>
                          <a:spcPts val="0"/>
                        </a:spcAft>
                      </a:pPr>
                      <a:r>
                        <a:rPr lang="pt-BR" sz="1200"/>
                        <a:t>LPA15</a:t>
                      </a:r>
                      <a:endParaRPr lang="pt-BR" sz="120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ferir o efeito de humor produzido em um texto verbal ou não verbal pelo uso de palavras, expressões ou imagen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8"/>
                  </a:ext>
                </a:extLst>
              </a:tr>
            </a:tbl>
          </a:graphicData>
        </a:graphic>
      </p:graphicFrame>
      <p:sp>
        <p:nvSpPr>
          <p:cNvPr id="2" name="Título 1">
            <a:extLst>
              <a:ext uri="{FF2B5EF4-FFF2-40B4-BE49-F238E27FC236}">
                <a16:creationId xmlns:a16="http://schemas.microsoft.com/office/drawing/2014/main" id="{13D146F8-A514-4EE1-82F3-BF87064FB003}"/>
              </a:ext>
            </a:extLst>
          </p:cNvPr>
          <p:cNvSpPr>
            <a:spLocks noGrp="1"/>
          </p:cNvSpPr>
          <p:nvPr>
            <p:ph type="title"/>
          </p:nvPr>
        </p:nvSpPr>
        <p:spPr/>
        <p:txBody>
          <a:bodyPr/>
          <a:lstStyle/>
          <a:p>
            <a:r>
              <a:rPr lang="en-US" dirty="0"/>
              <a:t>MATRIZ DE REFERÊNCIAS</a:t>
            </a:r>
          </a:p>
        </p:txBody>
      </p:sp>
    </p:spTree>
    <p:extLst>
      <p:ext uri="{BB962C8B-B14F-4D97-AF65-F5344CB8AC3E}">
        <p14:creationId xmlns:p14="http://schemas.microsoft.com/office/powerpoint/2010/main" val="130225121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cstate="print"/>
          <a:stretch>
            <a:fillRect/>
          </a:stretch>
        </p:blipFill>
        <p:spPr>
          <a:xfrm>
            <a:off x="0" y="762000"/>
            <a:ext cx="2445488" cy="2286000"/>
          </a:xfrm>
          <a:prstGeom prst="rect">
            <a:avLst/>
          </a:prstGeom>
        </p:spPr>
      </p:pic>
      <p:pic>
        <p:nvPicPr>
          <p:cNvPr id="9" name="Imagem 8"/>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79512" y="908720"/>
            <a:ext cx="4392488" cy="4752088"/>
          </a:xfrm>
          <a:prstGeom prst="rect">
            <a:avLst/>
          </a:prstGeom>
          <a:noFill/>
          <a:ln>
            <a:solidFill>
              <a:schemeClr val="accent6">
                <a:lumMod val="75000"/>
              </a:schemeClr>
            </a:solidFill>
          </a:ln>
        </p:spPr>
      </p:pic>
      <p:sp>
        <p:nvSpPr>
          <p:cNvPr id="10" name="Title 8"/>
          <p:cNvSpPr>
            <a:spLocks noGrp="1"/>
          </p:cNvSpPr>
          <p:nvPr>
            <p:ph type="title"/>
          </p:nvPr>
        </p:nvSpPr>
        <p:spPr>
          <a:xfrm>
            <a:off x="436180" y="76200"/>
            <a:ext cx="8403020" cy="685800"/>
          </a:xfrm>
        </p:spPr>
        <p:txBody>
          <a:bodyPr>
            <a:normAutofit/>
          </a:bodyPr>
          <a:lstStyle/>
          <a:p>
            <a:pPr lvl="0">
              <a:spcBef>
                <a:spcPts val="0"/>
              </a:spcBef>
            </a:pPr>
            <a:r>
              <a:rPr lang="pt-BR" sz="3600" b="1" dirty="0">
                <a:solidFill>
                  <a:prstClr val="black">
                    <a:lumMod val="85000"/>
                    <a:lumOff val="15000"/>
                  </a:prstClr>
                </a:solidFill>
                <a:latin typeface="+mn-lt"/>
                <a:ea typeface="+mn-ea"/>
                <a:cs typeface="+mn-cs"/>
              </a:rPr>
              <a:t>Perfil da prova</a:t>
            </a:r>
            <a:endParaRPr lang="pt-BR" sz="3600" dirty="0">
              <a:latin typeface="+mn-lt"/>
            </a:endParaRPr>
          </a:p>
        </p:txBody>
      </p:sp>
      <p:graphicFrame>
        <p:nvGraphicFramePr>
          <p:cNvPr id="11" name="Gráfico 10"/>
          <p:cNvGraphicFramePr/>
          <p:nvPr/>
        </p:nvGraphicFramePr>
        <p:xfrm>
          <a:off x="4895528" y="908720"/>
          <a:ext cx="3996952" cy="19805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Gráfico 11"/>
          <p:cNvGraphicFramePr/>
          <p:nvPr/>
        </p:nvGraphicFramePr>
        <p:xfrm>
          <a:off x="4824000" y="3284984"/>
          <a:ext cx="4068480" cy="2340610"/>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extLst>
      <p:ext uri="{BB962C8B-B14F-4D97-AF65-F5344CB8AC3E}">
        <p14:creationId xmlns:p14="http://schemas.microsoft.com/office/powerpoint/2010/main" val="2220439055"/>
      </p:ext>
    </p:extLst>
  </p:cSld>
  <p:clrMapOvr>
    <a:masterClrMapping/>
  </p:clrMapOvr>
  <mc:AlternateContent xmlns:mc="http://schemas.openxmlformats.org/markup-compatibility/2006" xmlns:p14="http://schemas.microsoft.com/office/powerpoint/2010/main">
    <mc:Choice Requires="p14">
      <p:transition spd="slow" p14:dur="20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a 3"/>
          <p:cNvGraphicFramePr>
            <a:graphicFrameLocks noGrp="1"/>
          </p:cNvGraphicFramePr>
          <p:nvPr/>
        </p:nvGraphicFramePr>
        <p:xfrm>
          <a:off x="179512" y="1340768"/>
          <a:ext cx="8485188" cy="4432872"/>
        </p:xfrm>
        <a:graphic>
          <a:graphicData uri="http://schemas.openxmlformats.org/drawingml/2006/table">
            <a:tbl>
              <a:tblPr firstRow="1" firstCol="1" bandRow="1"/>
              <a:tblGrid>
                <a:gridCol w="1912573">
                  <a:extLst>
                    <a:ext uri="{9D8B030D-6E8A-4147-A177-3AD203B41FA5}">
                      <a16:colId xmlns:a16="http://schemas.microsoft.com/office/drawing/2014/main" val="20000"/>
                    </a:ext>
                  </a:extLst>
                </a:gridCol>
                <a:gridCol w="6572615">
                  <a:extLst>
                    <a:ext uri="{9D8B030D-6E8A-4147-A177-3AD203B41FA5}">
                      <a16:colId xmlns:a16="http://schemas.microsoft.com/office/drawing/2014/main" val="20001"/>
                    </a:ext>
                  </a:extLst>
                </a:gridCol>
              </a:tblGrid>
              <a:tr h="576064">
                <a:tc>
                  <a:txBody>
                    <a:bodyPr/>
                    <a:lstStyle/>
                    <a:p>
                      <a:pPr algn="ctr">
                        <a:lnSpc>
                          <a:spcPct val="150000"/>
                        </a:lnSpc>
                        <a:spcAft>
                          <a:spcPts val="600"/>
                        </a:spcAft>
                      </a:pPr>
                      <a:r>
                        <a:rPr lang="pt-BR" sz="2400" b="1" dirty="0">
                          <a:solidFill>
                            <a:srgbClr val="FFFFFF"/>
                          </a:solidFill>
                          <a:effectLst/>
                          <a:latin typeface="Arial"/>
                          <a:ea typeface="Times New Roman"/>
                          <a:cs typeface="Times New Roman"/>
                        </a:rPr>
                        <a:t>Níveis</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solidFill>
                      <a:srgbClr val="31849B"/>
                    </a:solidFill>
                  </a:tcPr>
                </a:tc>
                <a:tc>
                  <a:txBody>
                    <a:bodyPr/>
                    <a:lstStyle/>
                    <a:p>
                      <a:pPr algn="ctr">
                        <a:lnSpc>
                          <a:spcPct val="150000"/>
                        </a:lnSpc>
                        <a:spcAft>
                          <a:spcPts val="0"/>
                        </a:spcAft>
                      </a:pPr>
                      <a:r>
                        <a:rPr lang="pt-BR" sz="2000" b="1" dirty="0">
                          <a:solidFill>
                            <a:srgbClr val="FFFFFF"/>
                          </a:solidFill>
                          <a:effectLst/>
                          <a:latin typeface="Arial"/>
                          <a:ea typeface="Times New Roman"/>
                          <a:cs typeface="Times New Roman"/>
                        </a:rPr>
                        <a:t>Descrição</a:t>
                      </a:r>
                      <a:endParaRPr lang="pt-BR" sz="20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solidFill>
                      <a:srgbClr val="31849B"/>
                    </a:solidFill>
                  </a:tcPr>
                </a:tc>
                <a:extLst>
                  <a:ext uri="{0D108BD9-81ED-4DB2-BD59-A6C34878D82A}">
                    <a16:rowId xmlns:a16="http://schemas.microsoft.com/office/drawing/2014/main" val="10000"/>
                  </a:ext>
                </a:extLst>
              </a:tr>
              <a:tr h="810692">
                <a:tc>
                  <a:txBody>
                    <a:bodyPr/>
                    <a:lstStyle/>
                    <a:p>
                      <a:pPr algn="ctr">
                        <a:lnSpc>
                          <a:spcPct val="150000"/>
                        </a:lnSpc>
                        <a:spcAft>
                          <a:spcPts val="600"/>
                        </a:spcAft>
                      </a:pPr>
                      <a:r>
                        <a:rPr lang="pt-BR" sz="2400" dirty="0">
                          <a:effectLst/>
                          <a:latin typeface="Arial"/>
                          <a:ea typeface="Times New Roman"/>
                          <a:cs typeface="Times New Roman"/>
                        </a:rPr>
                        <a:t>Abaixo do Básic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insuficiente dos conteúdos, competências e habilidades desejáveis para o ano/série escolar em que se encontram.</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1"/>
                  </a:ext>
                </a:extLst>
              </a:tr>
              <a:tr h="1149231">
                <a:tc>
                  <a:txBody>
                    <a:bodyPr/>
                    <a:lstStyle/>
                    <a:p>
                      <a:pPr algn="ctr">
                        <a:lnSpc>
                          <a:spcPct val="150000"/>
                        </a:lnSpc>
                        <a:spcAft>
                          <a:spcPts val="600"/>
                        </a:spcAft>
                      </a:pPr>
                      <a:r>
                        <a:rPr lang="pt-BR" sz="2400" dirty="0">
                          <a:effectLst/>
                          <a:latin typeface="Arial"/>
                          <a:ea typeface="Times New Roman"/>
                          <a:cs typeface="Times New Roman"/>
                        </a:rPr>
                        <a:t>Básic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mínimo dos conteúdos, competências e habilidades, mas possuem as estruturas necessárias para interagir com a proposta curricular no ano/série subsequente.</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2"/>
                  </a:ext>
                </a:extLst>
              </a:tr>
              <a:tr h="810692">
                <a:tc>
                  <a:txBody>
                    <a:bodyPr/>
                    <a:lstStyle/>
                    <a:p>
                      <a:pPr algn="ctr">
                        <a:lnSpc>
                          <a:spcPct val="150000"/>
                        </a:lnSpc>
                        <a:spcBef>
                          <a:spcPts val="600"/>
                        </a:spcBef>
                        <a:spcAft>
                          <a:spcPts val="600"/>
                        </a:spcAft>
                      </a:pPr>
                      <a:r>
                        <a:rPr lang="pt-BR" sz="2400" dirty="0">
                          <a:effectLst/>
                          <a:latin typeface="Arial"/>
                          <a:ea typeface="Times New Roman"/>
                          <a:cs typeface="Times New Roman"/>
                        </a:rPr>
                        <a:t>Adequad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pleno dos conteúdos, competências e habilidades desejáveis para o ano/série escolar em que se encontram</a:t>
                      </a:r>
                      <a:r>
                        <a:rPr lang="pt-BR" sz="2000" dirty="0">
                          <a:effectLst/>
                          <a:latin typeface="Arial"/>
                          <a:ea typeface="Times New Roman"/>
                          <a:cs typeface="Times New Roman"/>
                        </a:rPr>
                        <a:t>.</a:t>
                      </a:r>
                      <a:endParaRPr lang="pt-BR" sz="20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3"/>
                  </a:ext>
                </a:extLst>
              </a:tr>
              <a:tr h="810692">
                <a:tc>
                  <a:txBody>
                    <a:bodyPr/>
                    <a:lstStyle/>
                    <a:p>
                      <a:pPr algn="ctr">
                        <a:lnSpc>
                          <a:spcPct val="150000"/>
                        </a:lnSpc>
                        <a:spcAft>
                          <a:spcPts val="600"/>
                        </a:spcAft>
                      </a:pPr>
                      <a:r>
                        <a:rPr lang="pt-BR" sz="2400" dirty="0">
                          <a:effectLst/>
                          <a:latin typeface="Arial"/>
                          <a:ea typeface="Times New Roman"/>
                          <a:cs typeface="Times New Roman"/>
                        </a:rPr>
                        <a:t>Avançad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conhecimentos e domínio dos conteúdos, competências e habilidades acima do requerido no ano/série escolar em que se encontram.</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ext Box 4"/>
          <p:cNvSpPr txBox="1">
            <a:spLocks noChangeArrowheads="1"/>
          </p:cNvSpPr>
          <p:nvPr/>
        </p:nvSpPr>
        <p:spPr bwMode="auto">
          <a:xfrm>
            <a:off x="179512" y="260648"/>
            <a:ext cx="8712968" cy="792088"/>
          </a:xfrm>
          <a:prstGeom prst="rect">
            <a:avLst/>
          </a:prstGeom>
          <a:solidFill>
            <a:schemeClr val="accent5">
              <a:lumMod val="75000"/>
            </a:schemeClr>
          </a:solidFill>
          <a:ln>
            <a:headEnd/>
            <a:tailEnd/>
          </a:ln>
        </p:spPr>
        <p:style>
          <a:lnRef idx="0">
            <a:schemeClr val="accent2"/>
          </a:lnRef>
          <a:fillRef idx="3">
            <a:schemeClr val="accent2"/>
          </a:fillRef>
          <a:effectRef idx="3">
            <a:schemeClr val="accent2"/>
          </a:effectRef>
          <a:fontRef idx="minor">
            <a:schemeClr val="lt1"/>
          </a:fontRef>
        </p:style>
        <p:txBody>
          <a:bodyPr lIns="36000" tIns="36000" rIns="36000" bIns="36000"/>
          <a:lstStyle/>
          <a:p>
            <a:pPr algn="ctr">
              <a:spcBef>
                <a:spcPct val="50000"/>
              </a:spcBef>
              <a:buClr>
                <a:srgbClr val="000066"/>
              </a:buClr>
              <a:buSzPct val="60000"/>
              <a:defRPr/>
            </a:pPr>
            <a:r>
              <a:rPr lang="pt-BR" sz="3200" dirty="0"/>
              <a:t>Escala SisPAE de LP </a:t>
            </a:r>
            <a:r>
              <a:rPr lang="pt-BR" sz="3200"/>
              <a:t>e MT</a:t>
            </a:r>
            <a:endParaRPr lang="pt-BR" sz="3200" dirty="0"/>
          </a:p>
        </p:txBody>
      </p:sp>
    </p:spTree>
    <p:extLst>
      <p:ext uri="{BB962C8B-B14F-4D97-AF65-F5344CB8AC3E}">
        <p14:creationId xmlns:p14="http://schemas.microsoft.com/office/powerpoint/2010/main" val="277429424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VOLTANDO AO BILOG-MG</a:t>
            </a:r>
          </a:p>
        </p:txBody>
      </p:sp>
      <p:sp>
        <p:nvSpPr>
          <p:cNvPr id="3" name="Retângulo 2">
            <a:extLst>
              <a:ext uri="{FF2B5EF4-FFF2-40B4-BE49-F238E27FC236}">
                <a16:creationId xmlns:a16="http://schemas.microsoft.com/office/drawing/2014/main" id="{0B815782-A23D-4C2D-9589-E8B2CF13817A}"/>
              </a:ext>
            </a:extLst>
          </p:cNvPr>
          <p:cNvSpPr/>
          <p:nvPr/>
        </p:nvSpPr>
        <p:spPr>
          <a:xfrm>
            <a:off x="436180" y="980728"/>
            <a:ext cx="7880236" cy="4324261"/>
          </a:xfrm>
          <a:prstGeom prst="rect">
            <a:avLst/>
          </a:prstGeom>
        </p:spPr>
        <p:txBody>
          <a:bodyPr wrap="square">
            <a:spAutoFit/>
          </a:bodyPr>
          <a:lstStyle/>
          <a:p>
            <a:pPr marL="171450" indent="-171450">
              <a:spcAft>
                <a:spcPts val="600"/>
              </a:spcAft>
              <a:buFont typeface="Arial" panose="020B0604020202020204" pitchFamily="34" charset="0"/>
              <a:buChar char="•"/>
            </a:pPr>
            <a:r>
              <a:rPr lang="en-US" sz="1600" dirty="0"/>
              <a:t>O BILOG-MG </a:t>
            </a:r>
            <a:r>
              <a:rPr lang="en-US" sz="1600" dirty="0" err="1"/>
              <a:t>tem</a:t>
            </a:r>
            <a:r>
              <a:rPr lang="en-US" sz="1600" dirty="0"/>
              <a:t> </a:t>
            </a:r>
            <a:r>
              <a:rPr lang="en-US" sz="1600" dirty="0" err="1"/>
              <a:t>muitos</a:t>
            </a:r>
            <a:r>
              <a:rPr lang="en-US" sz="1600" dirty="0"/>
              <a:t> </a:t>
            </a:r>
            <a:r>
              <a:rPr lang="en-US" sz="1600" dirty="0" err="1"/>
              <a:t>exemplos</a:t>
            </a:r>
            <a:r>
              <a:rPr lang="en-US" sz="1600" dirty="0"/>
              <a:t> </a:t>
            </a:r>
            <a:r>
              <a:rPr lang="en-US" sz="1600" dirty="0" err="1"/>
              <a:t>na</a:t>
            </a:r>
            <a:r>
              <a:rPr lang="en-US" sz="1600" dirty="0"/>
              <a:t> pasta do </a:t>
            </a:r>
            <a:r>
              <a:rPr lang="en-US" sz="1600" dirty="0" err="1"/>
              <a:t>aplicativo</a:t>
            </a:r>
            <a:r>
              <a:rPr lang="en-US" sz="1600" dirty="0"/>
              <a:t>, </a:t>
            </a:r>
            <a:r>
              <a:rPr lang="en-US" sz="1600" dirty="0" err="1"/>
              <a:t>nas</a:t>
            </a:r>
            <a:r>
              <a:rPr lang="en-US" sz="1600" dirty="0"/>
              <a:t> sub-pastas Examples, Extra, </a:t>
            </a:r>
            <a:r>
              <a:rPr lang="en-US" sz="1600" dirty="0" err="1"/>
              <a:t>Domscore</a:t>
            </a:r>
            <a:r>
              <a:rPr lang="en-US" sz="1600" dirty="0"/>
              <a:t>, </a:t>
            </a:r>
            <a:r>
              <a:rPr lang="en-US" sz="1600" dirty="0" err="1"/>
              <a:t>Dif</a:t>
            </a:r>
            <a:r>
              <a:rPr lang="en-US" sz="1600" dirty="0"/>
              <a:t>, Compare</a:t>
            </a:r>
          </a:p>
          <a:p>
            <a:pPr marL="171450" indent="-171450">
              <a:spcAft>
                <a:spcPts val="600"/>
              </a:spcAft>
              <a:buFont typeface="Arial" panose="020B0604020202020204" pitchFamily="34" charset="0"/>
              <a:buChar char="•"/>
            </a:pPr>
            <a:r>
              <a:rPr lang="en-US" sz="1600" dirty="0"/>
              <a:t>Como </a:t>
            </a:r>
            <a:r>
              <a:rPr lang="en-US" sz="1600" dirty="0" err="1"/>
              <a:t>ele</a:t>
            </a:r>
            <a:r>
              <a:rPr lang="en-US" sz="1600" dirty="0"/>
              <a:t> é de </a:t>
            </a:r>
            <a:r>
              <a:rPr lang="en-US" sz="1600" dirty="0" err="1"/>
              <a:t>uma</a:t>
            </a:r>
            <a:r>
              <a:rPr lang="en-US" sz="1600" dirty="0"/>
              <a:t> </a:t>
            </a:r>
            <a:r>
              <a:rPr lang="en-US" sz="1600" dirty="0" err="1"/>
              <a:t>versão</a:t>
            </a:r>
            <a:r>
              <a:rPr lang="en-US" sz="1600" dirty="0"/>
              <a:t> </a:t>
            </a:r>
            <a:r>
              <a:rPr lang="en-US" sz="1600" dirty="0" err="1"/>
              <a:t>antiga</a:t>
            </a:r>
            <a:r>
              <a:rPr lang="en-US" sz="1600" dirty="0"/>
              <a:t> do Windows, o HELP dele </a:t>
            </a:r>
            <a:r>
              <a:rPr lang="en-US" sz="1600" dirty="0" err="1"/>
              <a:t>não</a:t>
            </a:r>
            <a:r>
              <a:rPr lang="en-US" sz="1600" dirty="0"/>
              <a:t> </a:t>
            </a:r>
            <a:r>
              <a:rPr lang="en-US" sz="1600" dirty="0" err="1"/>
              <a:t>funciona</a:t>
            </a:r>
            <a:r>
              <a:rPr lang="en-US" sz="1600" dirty="0"/>
              <a:t> no Windows 8 e 10. </a:t>
            </a:r>
            <a:r>
              <a:rPr lang="en-US" sz="1600" dirty="0" err="1"/>
              <a:t>Pra</a:t>
            </a:r>
            <a:r>
              <a:rPr lang="en-US" sz="1600" dirty="0"/>
              <a:t> </a:t>
            </a:r>
            <a:r>
              <a:rPr lang="en-US" sz="1600" dirty="0" err="1"/>
              <a:t>vermos</a:t>
            </a:r>
            <a:r>
              <a:rPr lang="en-US" sz="1600" dirty="0"/>
              <a:t> o Help do </a:t>
            </a:r>
            <a:r>
              <a:rPr lang="en-US" sz="1600" dirty="0" err="1"/>
              <a:t>BILOg</a:t>
            </a:r>
            <a:r>
              <a:rPr lang="en-US" sz="1600" dirty="0"/>
              <a:t>-MG, </a:t>
            </a:r>
            <a:r>
              <a:rPr lang="en-US" sz="1600" dirty="0" err="1"/>
              <a:t>basta</a:t>
            </a:r>
            <a:r>
              <a:rPr lang="en-US" sz="1600" dirty="0"/>
              <a:t> </a:t>
            </a:r>
            <a:r>
              <a:rPr lang="en-US" sz="1600" dirty="0" err="1"/>
              <a:t>baixar</a:t>
            </a:r>
            <a:r>
              <a:rPr lang="en-US" sz="1600" dirty="0"/>
              <a:t> </a:t>
            </a:r>
            <a:r>
              <a:rPr lang="en-US" sz="1600" dirty="0" err="1"/>
              <a:t>uma</a:t>
            </a:r>
            <a:r>
              <a:rPr lang="en-US" sz="1600" dirty="0"/>
              <a:t> </a:t>
            </a:r>
            <a:r>
              <a:rPr lang="en-US" sz="1600" dirty="0" err="1"/>
              <a:t>versão</a:t>
            </a:r>
            <a:r>
              <a:rPr lang="en-US" sz="1600" dirty="0"/>
              <a:t> </a:t>
            </a:r>
            <a:r>
              <a:rPr lang="en-US" sz="1600" dirty="0" err="1"/>
              <a:t>compatível</a:t>
            </a:r>
            <a:r>
              <a:rPr lang="en-US" sz="1600" dirty="0"/>
              <a:t> de help do Windows, </a:t>
            </a:r>
            <a:r>
              <a:rPr lang="en-US" sz="1600" dirty="0" err="1"/>
              <a:t>em</a:t>
            </a:r>
            <a:r>
              <a:rPr lang="en-US" sz="1600" dirty="0"/>
              <a:t> </a:t>
            </a:r>
            <a:r>
              <a:rPr lang="en-US" sz="1600" dirty="0">
                <a:hlinkClick r:id="rId2"/>
              </a:rPr>
              <a:t>www.helitontavares.com/aplicativos/winhlp32.exe</a:t>
            </a:r>
            <a:endParaRPr lang="en-US" sz="1600" dirty="0"/>
          </a:p>
          <a:p>
            <a:pPr marL="171450" indent="-171450">
              <a:spcAft>
                <a:spcPts val="600"/>
              </a:spcAft>
              <a:buFont typeface="Arial" panose="020B0604020202020204" pitchFamily="34" charset="0"/>
              <a:buChar char="•"/>
            </a:pPr>
            <a:r>
              <a:rPr lang="en-US" sz="1600" dirty="0"/>
              <a:t>Se o antivirus </a:t>
            </a:r>
            <a:r>
              <a:rPr lang="en-US" sz="1600" dirty="0" err="1"/>
              <a:t>não</a:t>
            </a:r>
            <a:r>
              <a:rPr lang="en-US" sz="1600" dirty="0"/>
              <a:t> </a:t>
            </a:r>
            <a:r>
              <a:rPr lang="en-US" sz="1600" dirty="0" err="1"/>
              <a:t>permitir</a:t>
            </a:r>
            <a:r>
              <a:rPr lang="en-US" sz="1600" dirty="0"/>
              <a:t> </a:t>
            </a:r>
            <a:r>
              <a:rPr lang="en-US" sz="1600" dirty="0" err="1"/>
              <a:t>baixar</a:t>
            </a:r>
            <a:r>
              <a:rPr lang="en-US" sz="1600" dirty="0"/>
              <a:t> o </a:t>
            </a:r>
            <a:r>
              <a:rPr lang="en-US" sz="1600" dirty="0" err="1"/>
              <a:t>arquivo</a:t>
            </a:r>
            <a:r>
              <a:rPr lang="en-US" sz="1600" dirty="0"/>
              <a:t> .exe, </a:t>
            </a:r>
            <a:r>
              <a:rPr lang="en-US" sz="1600" dirty="0" err="1"/>
              <a:t>basixe</a:t>
            </a:r>
            <a:r>
              <a:rPr lang="en-US" sz="1600" dirty="0"/>
              <a:t> o </a:t>
            </a:r>
            <a:r>
              <a:rPr lang="en-US" sz="1600" dirty="0" err="1"/>
              <a:t>compactado</a:t>
            </a:r>
            <a:r>
              <a:rPr lang="en-US" sz="1600" dirty="0"/>
              <a:t> </a:t>
            </a:r>
            <a:r>
              <a:rPr lang="en-US" sz="1600" b="1" dirty="0"/>
              <a:t>winhlp32.rar</a:t>
            </a:r>
            <a:r>
              <a:rPr lang="en-US" sz="1600" dirty="0"/>
              <a:t> e </a:t>
            </a:r>
            <a:r>
              <a:rPr lang="en-US" sz="1600" dirty="0" err="1"/>
              <a:t>descompacte</a:t>
            </a:r>
            <a:r>
              <a:rPr lang="en-US" sz="1600" dirty="0"/>
              <a:t>-o.</a:t>
            </a:r>
          </a:p>
          <a:p>
            <a:pPr marL="171450" indent="-171450">
              <a:spcAft>
                <a:spcPts val="600"/>
              </a:spcAft>
              <a:buFont typeface="Arial" panose="020B0604020202020204" pitchFamily="34" charset="0"/>
              <a:buChar char="•"/>
            </a:pPr>
            <a:r>
              <a:rPr lang="en-US" sz="1600" dirty="0" err="1"/>
              <a:t>Depois</a:t>
            </a:r>
            <a:r>
              <a:rPr lang="en-US" sz="1600" dirty="0"/>
              <a:t> de </a:t>
            </a:r>
            <a:r>
              <a:rPr lang="en-US" sz="1600" dirty="0" err="1"/>
              <a:t>clicar</a:t>
            </a:r>
            <a:r>
              <a:rPr lang="en-US" sz="1600" dirty="0"/>
              <a:t> no winhlp32.exe </a:t>
            </a:r>
            <a:r>
              <a:rPr lang="en-US" sz="1600" dirty="0" err="1"/>
              <a:t>ele</a:t>
            </a:r>
            <a:r>
              <a:rPr lang="en-US" sz="1600" dirty="0"/>
              <a:t> </a:t>
            </a:r>
            <a:r>
              <a:rPr lang="en-US" sz="1600" dirty="0" err="1"/>
              <a:t>abrirá</a:t>
            </a:r>
            <a:r>
              <a:rPr lang="en-US" sz="1600" dirty="0"/>
              <a:t> </a:t>
            </a:r>
            <a:r>
              <a:rPr lang="en-US" sz="1600" dirty="0" err="1"/>
              <a:t>solicitando</a:t>
            </a:r>
            <a:r>
              <a:rPr lang="en-US" sz="1600" dirty="0"/>
              <a:t> </a:t>
            </a:r>
            <a:r>
              <a:rPr lang="en-US" sz="1600" dirty="0" err="1"/>
              <a:t>algum</a:t>
            </a:r>
            <a:r>
              <a:rPr lang="en-US" sz="1600" dirty="0"/>
              <a:t> </a:t>
            </a:r>
            <a:r>
              <a:rPr lang="en-US" sz="1600" dirty="0" err="1"/>
              <a:t>arquivo</a:t>
            </a:r>
            <a:r>
              <a:rPr lang="en-US" sz="1600" dirty="0"/>
              <a:t>. </a:t>
            </a:r>
            <a:r>
              <a:rPr lang="en-US" sz="1600" dirty="0" err="1"/>
              <a:t>Vá</a:t>
            </a:r>
            <a:r>
              <a:rPr lang="en-US" sz="1600" dirty="0"/>
              <a:t> </a:t>
            </a:r>
            <a:r>
              <a:rPr lang="en-US" sz="1600" dirty="0" err="1"/>
              <a:t>até</a:t>
            </a:r>
            <a:r>
              <a:rPr lang="en-US" sz="1600" dirty="0"/>
              <a:t> a pasta do BILOG-MG e </a:t>
            </a:r>
            <a:r>
              <a:rPr lang="en-US" sz="1600" dirty="0" err="1"/>
              <a:t>abra</a:t>
            </a:r>
            <a:r>
              <a:rPr lang="en-US" sz="1600" dirty="0"/>
              <a:t> o </a:t>
            </a:r>
            <a:r>
              <a:rPr lang="en-US" sz="1600" dirty="0" err="1"/>
              <a:t>arquivo</a:t>
            </a:r>
            <a:r>
              <a:rPr lang="en-US" sz="1600" dirty="0"/>
              <a:t> BLMWin.HLP</a:t>
            </a:r>
          </a:p>
          <a:p>
            <a:pPr marL="171450" indent="-171450">
              <a:spcAft>
                <a:spcPts val="600"/>
              </a:spcAft>
              <a:buFont typeface="Arial" panose="020B0604020202020204" pitchFamily="34" charset="0"/>
              <a:buChar char="•"/>
            </a:pPr>
            <a:r>
              <a:rPr lang="en-US" sz="1600" dirty="0" err="1"/>
              <a:t>Vamos</a:t>
            </a:r>
            <a:r>
              <a:rPr lang="en-US" sz="1600" dirty="0"/>
              <a:t> </a:t>
            </a:r>
            <a:r>
              <a:rPr lang="en-US" sz="1600" dirty="0" err="1"/>
              <a:t>explorar</a:t>
            </a:r>
            <a:r>
              <a:rPr lang="en-US" sz="1600" dirty="0"/>
              <a:t> </a:t>
            </a:r>
            <a:r>
              <a:rPr lang="en-US" sz="1600" dirty="0" err="1"/>
              <a:t>algumas</a:t>
            </a:r>
            <a:r>
              <a:rPr lang="en-US" sz="1600" dirty="0"/>
              <a:t> </a:t>
            </a:r>
            <a:r>
              <a:rPr lang="en-US" sz="1600" dirty="0" err="1"/>
              <a:t>sintaxes</a:t>
            </a:r>
            <a:r>
              <a:rPr lang="en-US" sz="1600" dirty="0"/>
              <a:t> da pasta Examples, com </a:t>
            </a:r>
            <a:r>
              <a:rPr lang="en-US" sz="1600" dirty="0" err="1"/>
              <a:t>extensão</a:t>
            </a:r>
            <a:r>
              <a:rPr lang="en-US" sz="1600" dirty="0"/>
              <a:t> BLM, </a:t>
            </a:r>
            <a:r>
              <a:rPr lang="en-US" sz="1600" dirty="0" err="1"/>
              <a:t>tais</a:t>
            </a:r>
            <a:r>
              <a:rPr lang="en-US" sz="1600" dirty="0"/>
              <a:t> </a:t>
            </a:r>
            <a:r>
              <a:rPr lang="en-US" sz="1600" dirty="0" err="1"/>
              <a:t>como</a:t>
            </a:r>
            <a:r>
              <a:rPr lang="en-US" sz="1600" dirty="0"/>
              <a:t> EXAMPL01.BLM </a:t>
            </a:r>
          </a:p>
          <a:p>
            <a:pPr marL="171450" indent="-171450">
              <a:spcAft>
                <a:spcPts val="600"/>
              </a:spcAft>
              <a:buFont typeface="Arial" panose="020B0604020202020204" pitchFamily="34" charset="0"/>
              <a:buChar char="•"/>
            </a:pPr>
            <a:r>
              <a:rPr lang="en-US" sz="1600" dirty="0" err="1"/>
              <a:t>Muito</a:t>
            </a:r>
            <a:r>
              <a:rPr lang="en-US" sz="1600" dirty="0"/>
              <a:t> </a:t>
            </a:r>
            <a:r>
              <a:rPr lang="en-US" sz="1600" dirty="0" err="1"/>
              <a:t>cuidado</a:t>
            </a:r>
            <a:r>
              <a:rPr lang="en-US" sz="1600" dirty="0"/>
              <a:t> com o </a:t>
            </a:r>
            <a:r>
              <a:rPr lang="en-US" sz="1600" dirty="0" err="1"/>
              <a:t>formato</a:t>
            </a:r>
            <a:r>
              <a:rPr lang="en-US" sz="1600" dirty="0"/>
              <a:t> de </a:t>
            </a:r>
            <a:r>
              <a:rPr lang="en-US" sz="1600" dirty="0" err="1"/>
              <a:t>leitura</a:t>
            </a:r>
            <a:r>
              <a:rPr lang="en-US" sz="1600" dirty="0"/>
              <a:t> dos dados, </a:t>
            </a:r>
            <a:r>
              <a:rPr lang="en-US" sz="1600" dirty="0" err="1"/>
              <a:t>pois</a:t>
            </a:r>
            <a:r>
              <a:rPr lang="en-US" sz="1600" dirty="0"/>
              <a:t> </a:t>
            </a:r>
            <a:r>
              <a:rPr lang="en-US" sz="1600" dirty="0" err="1"/>
              <a:t>muitos</a:t>
            </a:r>
            <a:r>
              <a:rPr lang="en-US" sz="1600" dirty="0"/>
              <a:t> </a:t>
            </a:r>
            <a:r>
              <a:rPr lang="en-US" sz="1600" dirty="0" err="1"/>
              <a:t>erros</a:t>
            </a:r>
            <a:r>
              <a:rPr lang="en-US" sz="1600" dirty="0"/>
              <a:t> </a:t>
            </a:r>
            <a:r>
              <a:rPr lang="en-US" sz="1600" dirty="0" err="1"/>
              <a:t>provém</a:t>
            </a:r>
            <a:r>
              <a:rPr lang="en-US" sz="1600" dirty="0"/>
              <a:t> </a:t>
            </a:r>
            <a:r>
              <a:rPr lang="en-US" sz="1600" dirty="0" err="1"/>
              <a:t>desta</a:t>
            </a:r>
            <a:r>
              <a:rPr lang="en-US" sz="1600" dirty="0"/>
              <a:t> </a:t>
            </a:r>
            <a:r>
              <a:rPr lang="en-US" sz="1600" dirty="0" err="1"/>
              <a:t>etapa</a:t>
            </a:r>
            <a:r>
              <a:rPr lang="en-US" sz="1600" dirty="0"/>
              <a:t>. Por </a:t>
            </a:r>
            <a:r>
              <a:rPr lang="en-US" sz="1600" dirty="0" err="1"/>
              <a:t>exemplo</a:t>
            </a:r>
            <a:r>
              <a:rPr lang="en-US" sz="1600" dirty="0"/>
              <a:t>, (4A1,1X,15A1)</a:t>
            </a:r>
          </a:p>
          <a:p>
            <a:pPr marL="171450" indent="-171450">
              <a:spcAft>
                <a:spcPts val="600"/>
              </a:spcAft>
              <a:buFont typeface="Arial" panose="020B0604020202020204" pitchFamily="34" charset="0"/>
              <a:buChar char="•"/>
            </a:pPr>
            <a:r>
              <a:rPr lang="en-US" sz="1600" dirty="0" err="1"/>
              <a:t>Os</a:t>
            </a:r>
            <a:r>
              <a:rPr lang="en-US" sz="1600" dirty="0"/>
              <a:t> </a:t>
            </a:r>
            <a:r>
              <a:rPr lang="en-US" sz="1600" dirty="0" err="1"/>
              <a:t>arquivos</a:t>
            </a:r>
            <a:r>
              <a:rPr lang="en-US" sz="1600" dirty="0"/>
              <a:t> de DADOS, GABARITO (KEY), OMITIDOS </a:t>
            </a:r>
            <a:r>
              <a:rPr lang="en-US" sz="1600" dirty="0" err="1"/>
              <a:t>devem</a:t>
            </a:r>
            <a:r>
              <a:rPr lang="en-US" sz="1600" dirty="0"/>
              <a:t> </a:t>
            </a:r>
            <a:r>
              <a:rPr lang="en-US" sz="1600" dirty="0" err="1"/>
              <a:t>obedecer</a:t>
            </a:r>
            <a:r>
              <a:rPr lang="en-US" sz="1600" dirty="0"/>
              <a:t> </a:t>
            </a:r>
            <a:r>
              <a:rPr lang="en-US" sz="1600" dirty="0" err="1"/>
              <a:t>ao</a:t>
            </a:r>
            <a:r>
              <a:rPr lang="en-US" sz="1600" dirty="0"/>
              <a:t> </a:t>
            </a:r>
            <a:r>
              <a:rPr lang="en-US" sz="1600" dirty="0" err="1"/>
              <a:t>mesmo</a:t>
            </a:r>
            <a:r>
              <a:rPr lang="en-US" sz="1600" dirty="0"/>
              <a:t> </a:t>
            </a:r>
            <a:r>
              <a:rPr lang="en-US" sz="1600" dirty="0" err="1"/>
              <a:t>formato</a:t>
            </a:r>
            <a:endParaRPr lang="en-US" sz="1600" dirty="0"/>
          </a:p>
          <a:p>
            <a:pPr marL="171450" indent="-171450">
              <a:spcAft>
                <a:spcPts val="600"/>
              </a:spcAft>
              <a:buFont typeface="Arial" panose="020B0604020202020204" pitchFamily="34" charset="0"/>
              <a:buChar char="•"/>
            </a:pPr>
            <a:r>
              <a:rPr lang="en-US" sz="1600" dirty="0"/>
              <a:t>Se as </a:t>
            </a:r>
            <a:r>
              <a:rPr lang="en-US" sz="1600" dirty="0" err="1"/>
              <a:t>respostas</a:t>
            </a:r>
            <a:r>
              <a:rPr lang="en-US" sz="1600" dirty="0"/>
              <a:t> </a:t>
            </a:r>
            <a:r>
              <a:rPr lang="en-US" sz="1600" dirty="0" err="1"/>
              <a:t>forem</a:t>
            </a:r>
            <a:r>
              <a:rPr lang="en-US" sz="1600" dirty="0"/>
              <a:t> </a:t>
            </a:r>
            <a:r>
              <a:rPr lang="en-US" sz="1600" dirty="0" err="1"/>
              <a:t>dicotômics</a:t>
            </a:r>
            <a:r>
              <a:rPr lang="en-US" sz="1600" dirty="0"/>
              <a:t>, </a:t>
            </a:r>
            <a:r>
              <a:rPr lang="en-US" sz="1600" dirty="0" err="1"/>
              <a:t>não</a:t>
            </a:r>
            <a:r>
              <a:rPr lang="en-US" sz="1600" dirty="0"/>
              <a:t> </a:t>
            </a:r>
            <a:r>
              <a:rPr lang="en-US" sz="1600" dirty="0" err="1"/>
              <a:t>há</a:t>
            </a:r>
            <a:r>
              <a:rPr lang="en-US" sz="1600" dirty="0"/>
              <a:t> </a:t>
            </a:r>
            <a:r>
              <a:rPr lang="en-US" sz="1600" dirty="0" err="1"/>
              <a:t>necessidade</a:t>
            </a:r>
            <a:r>
              <a:rPr lang="en-US" sz="1600" dirty="0"/>
              <a:t> de </a:t>
            </a:r>
            <a:r>
              <a:rPr lang="en-US" sz="1600" dirty="0" err="1"/>
              <a:t>fornecer</a:t>
            </a:r>
            <a:r>
              <a:rPr lang="en-US" sz="1600" dirty="0"/>
              <a:t> o KEY</a:t>
            </a:r>
          </a:p>
        </p:txBody>
      </p:sp>
    </p:spTree>
    <p:extLst>
      <p:ext uri="{BB962C8B-B14F-4D97-AF65-F5344CB8AC3E}">
        <p14:creationId xmlns:p14="http://schemas.microsoft.com/office/powerpoint/2010/main" val="9492309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EXAMPL01.BLM</a:t>
            </a:r>
          </a:p>
        </p:txBody>
      </p:sp>
      <p:sp>
        <p:nvSpPr>
          <p:cNvPr id="3" name="Retângulo 2">
            <a:extLst>
              <a:ext uri="{FF2B5EF4-FFF2-40B4-BE49-F238E27FC236}">
                <a16:creationId xmlns:a16="http://schemas.microsoft.com/office/drawing/2014/main" id="{0B815782-A23D-4C2D-9589-E8B2CF13817A}"/>
              </a:ext>
            </a:extLst>
          </p:cNvPr>
          <p:cNvSpPr/>
          <p:nvPr/>
        </p:nvSpPr>
        <p:spPr>
          <a:xfrm>
            <a:off x="436180" y="980728"/>
            <a:ext cx="7880236" cy="5262979"/>
          </a:xfrm>
          <a:prstGeom prst="rect">
            <a:avLst/>
          </a:prstGeom>
        </p:spPr>
        <p:txBody>
          <a:bodyPr wrap="square">
            <a:spAutoFit/>
          </a:bodyPr>
          <a:lstStyle/>
          <a:p>
            <a:r>
              <a:rPr lang="en-US" sz="1200" dirty="0"/>
              <a:t>EXAMPL01.BLM - TRADITIONAL IRT ANALYSIS OF A FIFTEEN-ITEM PRETEST FROM</a:t>
            </a:r>
          </a:p>
          <a:p>
            <a:r>
              <a:rPr lang="en-US" sz="1200" dirty="0"/>
              <a:t>               A TWO-STAGE TEST OF </a:t>
            </a:r>
            <a:r>
              <a:rPr lang="en-US" sz="1200" b="1" dirty="0"/>
              <a:t>MATHEMATICS</a:t>
            </a:r>
            <a:r>
              <a:rPr lang="en-US" sz="1200" dirty="0"/>
              <a:t> AT THE </a:t>
            </a:r>
            <a:r>
              <a:rPr lang="en-US" sz="1200" b="1" dirty="0"/>
              <a:t>EIGHTH-GRADE LEVEL</a:t>
            </a:r>
          </a:p>
          <a:p>
            <a:r>
              <a:rPr lang="en-US" sz="1200" dirty="0"/>
              <a:t>&gt;COMMENTS</a:t>
            </a:r>
          </a:p>
          <a:p>
            <a:endParaRPr lang="en-US" sz="1200" dirty="0"/>
          </a:p>
          <a:p>
            <a:r>
              <a:rPr lang="en-US" sz="1200" dirty="0"/>
              <a:t>This example illustrates how the BILOG-MG program can be used for traditional IRT analyses. The data are responses to 15 multiple-choice mathematics items that were administered to a sample of eighth-grade students. The answer key </a:t>
            </a:r>
          </a:p>
          <a:p>
            <a:r>
              <a:rPr lang="en-US" sz="1200" dirty="0"/>
              <a:t>and the omitted response key are in files called EXAMPL01.KEY and EXAMPL01.OMT, respectively (defined on the INPUT command).</a:t>
            </a:r>
          </a:p>
          <a:p>
            <a:endParaRPr lang="en-US" sz="1200" dirty="0"/>
          </a:p>
          <a:p>
            <a:r>
              <a:rPr lang="en-US" sz="1200" dirty="0"/>
              <a:t>With such a short test (15 items), item chi-squares are not reliable. For illustration purposes the minimum number of items needed for chi-square computations has been reduced from the default of 20 to the number of items in this test, using the CHI keyword on the CALIB command. With the item chi-squares computed, the PLOT=1 specification can now be used to plot all the item response functions.</a:t>
            </a:r>
          </a:p>
          <a:p>
            <a:endParaRPr lang="en-US" sz="1200" dirty="0"/>
          </a:p>
          <a:p>
            <a:r>
              <a:rPr lang="en-US" sz="1200" dirty="0"/>
              <a:t>The scoring phase includes an information analysis (INFO=2) with expected information indices for a normal population (POP). Rescaling of the scores and item parameters to mean 0 and standard deviation 1 in the estimated </a:t>
            </a:r>
          </a:p>
          <a:p>
            <a:r>
              <a:rPr lang="en-US" sz="1200" dirty="0"/>
              <a:t>latent distribution has been requested (RSC=4). </a:t>
            </a:r>
          </a:p>
          <a:p>
            <a:endParaRPr lang="en-US" sz="1200" dirty="0"/>
          </a:p>
          <a:p>
            <a:r>
              <a:rPr lang="en-US" sz="1200" dirty="0"/>
              <a:t>&gt;GLOBAL  DFNAME='EXAMPL01.DAT', NPARM=3, SAVE;</a:t>
            </a:r>
          </a:p>
          <a:p>
            <a:r>
              <a:rPr lang="en-US" sz="1200" dirty="0"/>
              <a:t>&gt;SAVE    PARM='EXAMPL01.PAR', SCORE='EXAMPL01.SCO';</a:t>
            </a:r>
          </a:p>
          <a:p>
            <a:r>
              <a:rPr lang="en-US" sz="1200" dirty="0"/>
              <a:t>&gt;LENGTH  NITEMS=15;</a:t>
            </a:r>
          </a:p>
          <a:p>
            <a:r>
              <a:rPr lang="en-US" sz="1200" dirty="0"/>
              <a:t>&gt;INPUT   NTOTAL=15, NALT=5, NIDCHAR=4, </a:t>
            </a:r>
          </a:p>
          <a:p>
            <a:r>
              <a:rPr lang="en-US" sz="1200" dirty="0"/>
              <a:t>         KFNAME='EXAMPL01.KEY', OFNAME='EXAMPL01.OMT';</a:t>
            </a:r>
          </a:p>
          <a:p>
            <a:r>
              <a:rPr lang="en-US" sz="1200" dirty="0"/>
              <a:t>&gt;ITEMS   INAMES=(MATH01(1)MATH15);</a:t>
            </a:r>
          </a:p>
          <a:p>
            <a:r>
              <a:rPr lang="en-US" sz="1200" dirty="0"/>
              <a:t>&gt;TEST1   TNAME='PRETEST', INUMBER=(1(1)15);</a:t>
            </a:r>
          </a:p>
          <a:p>
            <a:r>
              <a:rPr lang="en-US" sz="1200" dirty="0"/>
              <a:t>(4A1,1X,15A1)</a:t>
            </a:r>
          </a:p>
          <a:p>
            <a:r>
              <a:rPr lang="en-US" sz="1200" dirty="0"/>
              <a:t>&gt;CALIB   NQPT=31, CYCLES=25, NEWTON=10, CRIT=0.001, ACCEL=0.0, CHI=15, PLOT=1;</a:t>
            </a:r>
          </a:p>
          <a:p>
            <a:r>
              <a:rPr lang="en-US" sz="1200" dirty="0"/>
              <a:t>&gt;SCORE   NOPRINT, RSCTYPE=4, INFO=2, POP;</a:t>
            </a:r>
          </a:p>
        </p:txBody>
      </p:sp>
      <p:sp>
        <p:nvSpPr>
          <p:cNvPr id="4" name="CaixaDeTexto 3">
            <a:extLst>
              <a:ext uri="{FF2B5EF4-FFF2-40B4-BE49-F238E27FC236}">
                <a16:creationId xmlns:a16="http://schemas.microsoft.com/office/drawing/2014/main" id="{D8F7BF37-4F1E-44E6-A604-0DE05946E9B3}"/>
              </a:ext>
            </a:extLst>
          </p:cNvPr>
          <p:cNvSpPr txBox="1"/>
          <p:nvPr/>
        </p:nvSpPr>
        <p:spPr>
          <a:xfrm>
            <a:off x="6103234" y="5458877"/>
            <a:ext cx="2232248" cy="523220"/>
          </a:xfrm>
          <a:prstGeom prst="rect">
            <a:avLst/>
          </a:prstGeom>
          <a:noFill/>
        </p:spPr>
        <p:txBody>
          <a:bodyPr wrap="square" rtlCol="0">
            <a:spAutoFit/>
          </a:bodyPr>
          <a:lstStyle/>
          <a:p>
            <a:r>
              <a:rPr lang="en-US" sz="1400" dirty="0">
                <a:solidFill>
                  <a:srgbClr val="FF0000"/>
                </a:solidFill>
              </a:rPr>
              <a:t>KFNAME='EXAMPL01.KEY’:</a:t>
            </a:r>
          </a:p>
          <a:p>
            <a:r>
              <a:rPr lang="en-US" sz="1400" dirty="0"/>
              <a:t>KEY  341421323441413</a:t>
            </a:r>
          </a:p>
        </p:txBody>
      </p:sp>
      <p:sp>
        <p:nvSpPr>
          <p:cNvPr id="5" name="CaixaDeTexto 4">
            <a:extLst>
              <a:ext uri="{FF2B5EF4-FFF2-40B4-BE49-F238E27FC236}">
                <a16:creationId xmlns:a16="http://schemas.microsoft.com/office/drawing/2014/main" id="{DCE5C7DD-D45A-4D24-86E1-27BE76AE242D}"/>
              </a:ext>
            </a:extLst>
          </p:cNvPr>
          <p:cNvSpPr txBox="1"/>
          <p:nvPr/>
        </p:nvSpPr>
        <p:spPr>
          <a:xfrm>
            <a:off x="6103234" y="6022015"/>
            <a:ext cx="2285190" cy="523220"/>
          </a:xfrm>
          <a:prstGeom prst="rect">
            <a:avLst/>
          </a:prstGeom>
          <a:noFill/>
        </p:spPr>
        <p:txBody>
          <a:bodyPr wrap="square" rtlCol="0">
            <a:spAutoFit/>
          </a:bodyPr>
          <a:lstStyle/>
          <a:p>
            <a:r>
              <a:rPr lang="en-US" sz="1400" dirty="0">
                <a:solidFill>
                  <a:srgbClr val="FF0000"/>
                </a:solidFill>
              </a:rPr>
              <a:t>KFNAME='EXAMPL01.OMT’:</a:t>
            </a:r>
          </a:p>
          <a:p>
            <a:r>
              <a:rPr lang="en-US" sz="1400" dirty="0"/>
              <a:t>KEY  999999999999999</a:t>
            </a:r>
            <a:endParaRPr lang="en-US" dirty="0"/>
          </a:p>
        </p:txBody>
      </p:sp>
      <p:sp>
        <p:nvSpPr>
          <p:cNvPr id="6" name="CaixaDeTexto 5">
            <a:extLst>
              <a:ext uri="{FF2B5EF4-FFF2-40B4-BE49-F238E27FC236}">
                <a16:creationId xmlns:a16="http://schemas.microsoft.com/office/drawing/2014/main" id="{610E5B4D-A81B-4A54-884A-C1E5DE7220C3}"/>
              </a:ext>
            </a:extLst>
          </p:cNvPr>
          <p:cNvSpPr txBox="1"/>
          <p:nvPr/>
        </p:nvSpPr>
        <p:spPr>
          <a:xfrm>
            <a:off x="6300192" y="4680295"/>
            <a:ext cx="2232248" cy="738664"/>
          </a:xfrm>
          <a:prstGeom prst="rect">
            <a:avLst/>
          </a:prstGeom>
          <a:noFill/>
        </p:spPr>
        <p:txBody>
          <a:bodyPr wrap="square" rtlCol="0">
            <a:spAutoFit/>
          </a:bodyPr>
          <a:lstStyle/>
          <a:p>
            <a:r>
              <a:rPr lang="en-US" sz="1400" dirty="0"/>
              <a:t>    1 242311431435242</a:t>
            </a:r>
          </a:p>
          <a:p>
            <a:r>
              <a:rPr lang="en-US" sz="1400" dirty="0"/>
              <a:t>    2 243323413213131</a:t>
            </a:r>
          </a:p>
          <a:p>
            <a:r>
              <a:rPr lang="en-US" sz="1400" dirty="0"/>
              <a:t>    3 142212441212312</a:t>
            </a:r>
          </a:p>
        </p:txBody>
      </p:sp>
      <p:sp>
        <p:nvSpPr>
          <p:cNvPr id="8" name="CaixaDeTexto 7">
            <a:extLst>
              <a:ext uri="{FF2B5EF4-FFF2-40B4-BE49-F238E27FC236}">
                <a16:creationId xmlns:a16="http://schemas.microsoft.com/office/drawing/2014/main" id="{5DBFAC27-E1DD-4DCC-8A40-C3D61408C9D7}"/>
              </a:ext>
            </a:extLst>
          </p:cNvPr>
          <p:cNvSpPr txBox="1"/>
          <p:nvPr/>
        </p:nvSpPr>
        <p:spPr>
          <a:xfrm>
            <a:off x="6084168" y="4372518"/>
            <a:ext cx="2232248" cy="307777"/>
          </a:xfrm>
          <a:prstGeom prst="rect">
            <a:avLst/>
          </a:prstGeom>
          <a:noFill/>
        </p:spPr>
        <p:txBody>
          <a:bodyPr wrap="square" rtlCol="0">
            <a:spAutoFit/>
          </a:bodyPr>
          <a:lstStyle/>
          <a:p>
            <a:r>
              <a:rPr lang="en-US" sz="1400" dirty="0">
                <a:solidFill>
                  <a:srgbClr val="FF0000"/>
                </a:solidFill>
              </a:rPr>
              <a:t>DFNAME='EXAMPL01.DAT’:</a:t>
            </a:r>
          </a:p>
        </p:txBody>
      </p:sp>
    </p:spTree>
    <p:extLst>
      <p:ext uri="{BB962C8B-B14F-4D97-AF65-F5344CB8AC3E}">
        <p14:creationId xmlns:p14="http://schemas.microsoft.com/office/powerpoint/2010/main" val="210814273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EXAMPL02.BLM (DIF)</a:t>
            </a:r>
          </a:p>
        </p:txBody>
      </p:sp>
      <p:pic>
        <p:nvPicPr>
          <p:cNvPr id="5" name="Imagem 4">
            <a:extLst>
              <a:ext uri="{FF2B5EF4-FFF2-40B4-BE49-F238E27FC236}">
                <a16:creationId xmlns:a16="http://schemas.microsoft.com/office/drawing/2014/main" id="{561D8FF2-AD2F-4FFC-B293-2F8C6C09461E}"/>
              </a:ext>
            </a:extLst>
          </p:cNvPr>
          <p:cNvPicPr>
            <a:picLocks noChangeAspect="1"/>
          </p:cNvPicPr>
          <p:nvPr/>
        </p:nvPicPr>
        <p:blipFill>
          <a:blip r:embed="rId2"/>
          <a:stretch>
            <a:fillRect/>
          </a:stretch>
        </p:blipFill>
        <p:spPr>
          <a:xfrm>
            <a:off x="7380312" y="836712"/>
            <a:ext cx="1038095" cy="5533333"/>
          </a:xfrm>
          <a:prstGeom prst="rect">
            <a:avLst/>
          </a:prstGeom>
        </p:spPr>
      </p:pic>
      <p:sp>
        <p:nvSpPr>
          <p:cNvPr id="6" name="Retângulo 5">
            <a:extLst>
              <a:ext uri="{FF2B5EF4-FFF2-40B4-BE49-F238E27FC236}">
                <a16:creationId xmlns:a16="http://schemas.microsoft.com/office/drawing/2014/main" id="{FB8C7843-B3C3-4222-990E-6F642F62553F}"/>
              </a:ext>
            </a:extLst>
          </p:cNvPr>
          <p:cNvSpPr/>
          <p:nvPr/>
        </p:nvSpPr>
        <p:spPr>
          <a:xfrm>
            <a:off x="323528" y="840566"/>
            <a:ext cx="6922909" cy="5262979"/>
          </a:xfrm>
          <a:prstGeom prst="rect">
            <a:avLst/>
          </a:prstGeom>
        </p:spPr>
        <p:txBody>
          <a:bodyPr wrap="square">
            <a:spAutoFit/>
          </a:bodyPr>
          <a:lstStyle/>
          <a:p>
            <a:r>
              <a:rPr lang="en-US" sz="1200" dirty="0"/>
              <a:t>EXAMPL02.BLM - MALE VS FEMALE DIFFERENTIAL ITEM FUNCTIONING</a:t>
            </a:r>
          </a:p>
          <a:p>
            <a:r>
              <a:rPr lang="en-US" sz="1200" dirty="0"/>
              <a:t>               SPELLING, GIRDER ITEM 4, OTHER 3 ITEMS 1-3</a:t>
            </a:r>
          </a:p>
          <a:p>
            <a:r>
              <a:rPr lang="en-US" sz="1200" dirty="0"/>
              <a:t>&gt;COMMENTS</a:t>
            </a:r>
          </a:p>
          <a:p>
            <a:endParaRPr lang="en-US" sz="1200" dirty="0"/>
          </a:p>
          <a:p>
            <a:r>
              <a:rPr lang="en-US" sz="1200" dirty="0"/>
              <a:t>The data have been sorted into answer patterns, and the frequencies are found </a:t>
            </a:r>
          </a:p>
          <a:p>
            <a:r>
              <a:rPr lang="en-US" sz="1200" dirty="0"/>
              <a:t>in columns 10-11. These frequencies serve as case weights in the analysis. </a:t>
            </a:r>
          </a:p>
          <a:p>
            <a:r>
              <a:rPr lang="en-US" sz="1200" dirty="0"/>
              <a:t>The TYPE=2 and NWGHT=3 keywords describe this type of data. Because the</a:t>
            </a:r>
          </a:p>
          <a:p>
            <a:r>
              <a:rPr lang="en-US" sz="1200" dirty="0"/>
              <a:t>items are already coded as 0 (wrong) and 1 (right), no response key</a:t>
            </a:r>
          </a:p>
          <a:p>
            <a:r>
              <a:rPr lang="en-US" sz="1200" dirty="0"/>
              <a:t>is needed.</a:t>
            </a:r>
          </a:p>
          <a:p>
            <a:r>
              <a:rPr lang="en-US" sz="1200" dirty="0"/>
              <a:t>   </a:t>
            </a:r>
          </a:p>
          <a:p>
            <a:r>
              <a:rPr lang="en-US" sz="1200" dirty="0"/>
              <a:t>The REFERENCE=1 keyword on the CALIB command designates males as the </a:t>
            </a:r>
          </a:p>
          <a:p>
            <a:r>
              <a:rPr lang="en-US" sz="1200" dirty="0"/>
              <a:t>reference group. The 1-parameter logistic model is assumed. </a:t>
            </a:r>
          </a:p>
          <a:p>
            <a:r>
              <a:rPr lang="en-US" sz="1200" dirty="0"/>
              <a:t>   </a:t>
            </a:r>
          </a:p>
          <a:p>
            <a:r>
              <a:rPr lang="en-US" sz="1200" dirty="0"/>
              <a:t>The SAVE command indicates that the item  parameter estimates will be </a:t>
            </a:r>
          </a:p>
          <a:p>
            <a:r>
              <a:rPr lang="en-US" sz="1200" dirty="0"/>
              <a:t>written to an external file called EXAMPL01.PAR and the DIF analysis </a:t>
            </a:r>
          </a:p>
          <a:p>
            <a:r>
              <a:rPr lang="en-US" sz="1200" dirty="0"/>
              <a:t>results written to an external file called EXAMPL01.DIF. </a:t>
            </a:r>
          </a:p>
          <a:p>
            <a:endParaRPr lang="en-US" sz="1200" dirty="0"/>
          </a:p>
          <a:p>
            <a:r>
              <a:rPr lang="en-US" sz="1200" dirty="0"/>
              <a:t>&gt;GLOBAL   NPARM=1, LOGISTIC, SAVE, NWGHT=3, DFNAME='EXAMPL02.DAT';</a:t>
            </a:r>
          </a:p>
          <a:p>
            <a:r>
              <a:rPr lang="en-US" sz="1200" dirty="0"/>
              <a:t>&gt;SAVE     PARM='EXAMPL02.PAR', DIF='EXAMPL02.DIF';</a:t>
            </a:r>
          </a:p>
          <a:p>
            <a:r>
              <a:rPr lang="en-US" sz="1200" dirty="0"/>
              <a:t>&gt;LENGTH   NITEMS=4;</a:t>
            </a:r>
          </a:p>
          <a:p>
            <a:r>
              <a:rPr lang="en-US" sz="1200" dirty="0"/>
              <a:t>&gt;INPUT    NTOTAL=4, NGROUPS=2, DIF, NIDCHAR=2, TYPE=2;</a:t>
            </a:r>
          </a:p>
          <a:p>
            <a:r>
              <a:rPr lang="en-US" sz="1200" dirty="0"/>
              <a:t>&gt;ITEMS    INAMES=(SP1(1)SP4), INUMBERS=(1(1)4);</a:t>
            </a:r>
          </a:p>
          <a:p>
            <a:r>
              <a:rPr lang="en-US" sz="1200" dirty="0"/>
              <a:t>&gt;TEST     TNAME=SPELL;</a:t>
            </a:r>
          </a:p>
          <a:p>
            <a:r>
              <a:rPr lang="en-US" sz="1200" dirty="0"/>
              <a:t>&gt;GROUP1   GNAME=MALES;</a:t>
            </a:r>
          </a:p>
          <a:p>
            <a:r>
              <a:rPr lang="en-US" sz="1200" dirty="0"/>
              <a:t>&gt;GROUP2   GNAME=FEMALES;</a:t>
            </a:r>
          </a:p>
          <a:p>
            <a:r>
              <a:rPr lang="en-US" sz="1200" dirty="0"/>
              <a:t>(2A1,I1,T10,F2.0,T5,4A1)</a:t>
            </a:r>
          </a:p>
          <a:p>
            <a:r>
              <a:rPr lang="en-US" sz="1200" dirty="0"/>
              <a:t>&gt;CALIB    NQPT=10, CYCLES=15, CRIT=0.005, NEWTON=2, REFERENCE=1, PLOT=1;</a:t>
            </a:r>
          </a:p>
        </p:txBody>
      </p:sp>
    </p:spTree>
    <p:extLst>
      <p:ext uri="{BB962C8B-B14F-4D97-AF65-F5344CB8AC3E}">
        <p14:creationId xmlns:p14="http://schemas.microsoft.com/office/powerpoint/2010/main" val="208163156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com FORMs – EXAMPL04.BLM</a:t>
            </a:r>
          </a:p>
        </p:txBody>
      </p:sp>
      <p:sp>
        <p:nvSpPr>
          <p:cNvPr id="4" name="Retângulo 3">
            <a:extLst>
              <a:ext uri="{FF2B5EF4-FFF2-40B4-BE49-F238E27FC236}">
                <a16:creationId xmlns:a16="http://schemas.microsoft.com/office/drawing/2014/main" id="{B423C865-F0F3-400A-901A-D245974580BB}"/>
              </a:ext>
            </a:extLst>
          </p:cNvPr>
          <p:cNvSpPr/>
          <p:nvPr/>
        </p:nvSpPr>
        <p:spPr>
          <a:xfrm>
            <a:off x="481338" y="908720"/>
            <a:ext cx="8453941" cy="4893647"/>
          </a:xfrm>
          <a:prstGeom prst="rect">
            <a:avLst/>
          </a:prstGeom>
        </p:spPr>
        <p:txBody>
          <a:bodyPr wrap="square">
            <a:spAutoFit/>
          </a:bodyPr>
          <a:lstStyle/>
          <a:p>
            <a:r>
              <a:rPr lang="en-US" sz="1200" dirty="0"/>
              <a:t>EXAMPL04.BLM - EQUIVALENT GROUPS EQUATING</a:t>
            </a:r>
          </a:p>
          <a:p>
            <a:r>
              <a:rPr lang="en-US" sz="1200" dirty="0"/>
              <a:t>               SIMULATED RESPONSES TO TWO 20-ITEM PARALLEL TEST FORMS</a:t>
            </a:r>
          </a:p>
          <a:p>
            <a:r>
              <a:rPr lang="en-US" sz="1200" dirty="0"/>
              <a:t>&gt;COMMENTS</a:t>
            </a:r>
          </a:p>
          <a:p>
            <a:endParaRPr lang="en-US" sz="1200" dirty="0"/>
          </a:p>
          <a:p>
            <a:r>
              <a:rPr lang="en-US" sz="1200" dirty="0"/>
              <a:t>This example illustrates the equating of equivalent groups with the BILOG-MG</a:t>
            </a:r>
          </a:p>
          <a:p>
            <a:r>
              <a:rPr lang="en-US" sz="1200" dirty="0"/>
              <a:t>program. Two parallel test forms of 20 multiple-choice items were administered </a:t>
            </a:r>
          </a:p>
          <a:p>
            <a:r>
              <a:rPr lang="en-US" sz="1200" dirty="0"/>
              <a:t>to two equivalent samples of 200 examinees drawn from the same population. </a:t>
            </a:r>
          </a:p>
          <a:p>
            <a:r>
              <a:rPr lang="en-US" sz="1200" dirty="0"/>
              <a:t>There are no common items between the forms. Because the samples were drawn </a:t>
            </a:r>
          </a:p>
          <a:p>
            <a:r>
              <a:rPr lang="en-US" sz="1200" dirty="0"/>
              <a:t>from the same population, GROUP commands are not required. The FORM1 command </a:t>
            </a:r>
          </a:p>
          <a:p>
            <a:r>
              <a:rPr lang="en-US" sz="1200" dirty="0"/>
              <a:t>lists the order of the items in Form 1 and the FORM2 command lists the order of</a:t>
            </a:r>
          </a:p>
          <a:p>
            <a:r>
              <a:rPr lang="en-US" sz="1200" dirty="0"/>
              <a:t>the items in Form 2.</a:t>
            </a:r>
          </a:p>
          <a:p>
            <a:endParaRPr lang="en-US" sz="1200" dirty="0"/>
          </a:p>
          <a:p>
            <a:r>
              <a:rPr lang="en-US" sz="1200" dirty="0"/>
              <a:t>Maximum Likelihood estimates of ability are rescaled to a mean of 250 and </a:t>
            </a:r>
          </a:p>
          <a:p>
            <a:r>
              <a:rPr lang="en-US" sz="1200" dirty="0"/>
              <a:t>standard deviation of 50 in Phase 3 (METHOD=1,RSCTYPE=3,LOCATION=250,SCALE=50).</a:t>
            </a:r>
          </a:p>
          <a:p>
            <a:endParaRPr lang="en-US" sz="1200" dirty="0"/>
          </a:p>
          <a:p>
            <a:r>
              <a:rPr lang="en-US" sz="1200" dirty="0"/>
              <a:t>&gt;GLOBAL  DFNAME='EXAMPL04.DAT', NPARM=2, SAVE;</a:t>
            </a:r>
          </a:p>
          <a:p>
            <a:r>
              <a:rPr lang="en-US" sz="1200" dirty="0"/>
              <a:t>&gt;SAVE    SCORE='EXAMPL04.SCO', PARM='EXAMPL04.PAR';</a:t>
            </a:r>
          </a:p>
          <a:p>
            <a:r>
              <a:rPr lang="en-US" sz="1200" dirty="0"/>
              <a:t>&gt;LENGTH  NITEMS=40;</a:t>
            </a:r>
          </a:p>
          <a:p>
            <a:r>
              <a:rPr lang="en-US" sz="1200" dirty="0"/>
              <a:t>&gt;INPUT   NTOT=40, NFORM=2, KFNAME='EXAMPL04.DAT', NALT=5,NIDCH=5; </a:t>
            </a:r>
          </a:p>
          <a:p>
            <a:r>
              <a:rPr lang="en-US" sz="1200" dirty="0"/>
              <a:t>&gt;ITEMS   INUM=(1(1)40), INAME=(T01(1)T40);</a:t>
            </a:r>
          </a:p>
          <a:p>
            <a:r>
              <a:rPr lang="en-US" sz="1200" dirty="0"/>
              <a:t>&gt;TEST    TNAME=SIM;</a:t>
            </a:r>
          </a:p>
          <a:p>
            <a:r>
              <a:rPr lang="en-US" sz="1200" dirty="0"/>
              <a:t>&gt;FORM1   LENGTH=20, INUM=(1(1)20);</a:t>
            </a:r>
          </a:p>
          <a:p>
            <a:r>
              <a:rPr lang="en-US" sz="1200" dirty="0"/>
              <a:t>&gt;FORM2   LENGTH=20, INUM=(21(1)40);</a:t>
            </a:r>
          </a:p>
          <a:p>
            <a:r>
              <a:rPr lang="en-US" sz="1200" dirty="0"/>
              <a:t>(5A1,T1,I1,T7,20A1)</a:t>
            </a:r>
          </a:p>
          <a:p>
            <a:r>
              <a:rPr lang="en-US" sz="1200" dirty="0"/>
              <a:t>&gt;CALIB   FIXED, FLOAT, NQPT=31, TPRIOR, PLOT=.05;</a:t>
            </a:r>
          </a:p>
          <a:p>
            <a:r>
              <a:rPr lang="en-US" sz="1200" dirty="0"/>
              <a:t>&gt;SCORE   METHOD=1, RSCTYPE=3, LOCATION=250, SCALE=50, NOPRINT, INFO=1;</a:t>
            </a:r>
          </a:p>
        </p:txBody>
      </p:sp>
      <p:pic>
        <p:nvPicPr>
          <p:cNvPr id="5" name="Imagem 4">
            <a:extLst>
              <a:ext uri="{FF2B5EF4-FFF2-40B4-BE49-F238E27FC236}">
                <a16:creationId xmlns:a16="http://schemas.microsoft.com/office/drawing/2014/main" id="{A06AC8BE-5642-4CF3-BFC7-ECEDCD1598D0}"/>
              </a:ext>
            </a:extLst>
          </p:cNvPr>
          <p:cNvPicPr>
            <a:picLocks noChangeAspect="1"/>
          </p:cNvPicPr>
          <p:nvPr/>
        </p:nvPicPr>
        <p:blipFill>
          <a:blip r:embed="rId2"/>
          <a:stretch>
            <a:fillRect/>
          </a:stretch>
        </p:blipFill>
        <p:spPr>
          <a:xfrm>
            <a:off x="6591562" y="3861048"/>
            <a:ext cx="2095238" cy="1238095"/>
          </a:xfrm>
          <a:prstGeom prst="rect">
            <a:avLst/>
          </a:prstGeom>
        </p:spPr>
      </p:pic>
    </p:spTree>
    <p:extLst>
      <p:ext uri="{BB962C8B-B14F-4D97-AF65-F5344CB8AC3E}">
        <p14:creationId xmlns:p14="http://schemas.microsoft.com/office/powerpoint/2010/main" val="108492444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com </a:t>
            </a:r>
            <a:r>
              <a:rPr lang="en-US" dirty="0" err="1"/>
              <a:t>Grupos</a:t>
            </a:r>
            <a:endParaRPr lang="en-US" dirty="0"/>
          </a:p>
        </p:txBody>
      </p:sp>
      <p:sp>
        <p:nvSpPr>
          <p:cNvPr id="4" name="Retângulo 3">
            <a:extLst>
              <a:ext uri="{FF2B5EF4-FFF2-40B4-BE49-F238E27FC236}">
                <a16:creationId xmlns:a16="http://schemas.microsoft.com/office/drawing/2014/main" id="{20545697-629D-4A8F-BAB4-76DD50ABC90F}"/>
              </a:ext>
            </a:extLst>
          </p:cNvPr>
          <p:cNvSpPr/>
          <p:nvPr/>
        </p:nvSpPr>
        <p:spPr>
          <a:xfrm>
            <a:off x="323528" y="764704"/>
            <a:ext cx="5472608" cy="5632311"/>
          </a:xfrm>
          <a:prstGeom prst="rect">
            <a:avLst/>
          </a:prstGeom>
        </p:spPr>
        <p:txBody>
          <a:bodyPr wrap="square">
            <a:spAutoFit/>
          </a:bodyPr>
          <a:lstStyle/>
          <a:p>
            <a:r>
              <a:rPr lang="en-US" sz="1200" dirty="0"/>
              <a:t>EXAMPL05.BLM - VERTICAL EQUATING OF TEST FORMS OVER THREE GRADE LEVELS</a:t>
            </a:r>
          </a:p>
          <a:p>
            <a:endParaRPr lang="en-US" sz="1200" dirty="0"/>
          </a:p>
          <a:p>
            <a:r>
              <a:rPr lang="en-US" sz="1200" dirty="0"/>
              <a:t>&gt;COMMENTS</a:t>
            </a:r>
          </a:p>
          <a:p>
            <a:endParaRPr lang="en-US" sz="1200" dirty="0"/>
          </a:p>
          <a:p>
            <a:r>
              <a:rPr lang="en-US" sz="1200" dirty="0"/>
              <a:t>Two-hundred students at each of three grade levels, grades four, six, and </a:t>
            </a:r>
          </a:p>
          <a:p>
            <a:r>
              <a:rPr lang="en-US" sz="1200" dirty="0"/>
              <a:t>eight, were given grade-appropriate versions of a 20-item arithmetic </a:t>
            </a:r>
          </a:p>
          <a:p>
            <a:r>
              <a:rPr lang="en-US" sz="1200" dirty="0"/>
              <a:t>examination. Items 19 and 20 appear in the grade 4 and 6 forms; items 37 and </a:t>
            </a:r>
          </a:p>
          <a:p>
            <a:r>
              <a:rPr lang="en-US" sz="1200" dirty="0"/>
              <a:t>38 appear in the grade 6 and 8 forms. Because each item is assigned a unique </a:t>
            </a:r>
          </a:p>
          <a:p>
            <a:r>
              <a:rPr lang="en-US" sz="1200" dirty="0"/>
              <a:t>column in the data records, a forms command is not required. </a:t>
            </a:r>
          </a:p>
          <a:p>
            <a:r>
              <a:rPr lang="en-US" sz="1200" dirty="0"/>
              <a:t>    </a:t>
            </a:r>
          </a:p>
          <a:p>
            <a:r>
              <a:rPr lang="en-US" sz="1200" dirty="0"/>
              <a:t>The distributions of ability are assumed to be normal at each grade level </a:t>
            </a:r>
          </a:p>
          <a:p>
            <a:r>
              <a:rPr lang="en-US" sz="1200" dirty="0"/>
              <a:t>(NORMAL on the CALIB command). Grade 6 serves as the reference group in the </a:t>
            </a:r>
          </a:p>
          <a:p>
            <a:r>
              <a:rPr lang="en-US" sz="1200" dirty="0"/>
              <a:t>calibration of the items. EAP estimates of ability are calculated using the </a:t>
            </a:r>
          </a:p>
          <a:p>
            <a:r>
              <a:rPr lang="en-US" sz="1200" dirty="0"/>
              <a:t>information in the posterior distributions from Phase 2. The ability estimates </a:t>
            </a:r>
          </a:p>
          <a:p>
            <a:r>
              <a:rPr lang="en-US" sz="1200" dirty="0"/>
              <a:t>are rescaled to a mean of 0 and standard deviation of 1 by specifying </a:t>
            </a:r>
          </a:p>
          <a:p>
            <a:r>
              <a:rPr lang="en-US" sz="1200" dirty="0"/>
              <a:t>RSCTYPE=3 on the SCORE command.   </a:t>
            </a:r>
          </a:p>
          <a:p>
            <a:endParaRPr lang="en-US" sz="1200" dirty="0"/>
          </a:p>
          <a:p>
            <a:r>
              <a:rPr lang="en-US" sz="1200" dirty="0"/>
              <a:t>&gt;GLOBAL  DFNAME='EXAMPL05.DAT', NPARM=2, SAVE;</a:t>
            </a:r>
          </a:p>
          <a:p>
            <a:r>
              <a:rPr lang="en-US" sz="1200" dirty="0"/>
              <a:t>&gt;SAVE    SCORE='EXAMPL05.SCO', PARM='EXAMPL05.PAR';</a:t>
            </a:r>
          </a:p>
          <a:p>
            <a:r>
              <a:rPr lang="en-US" sz="1200" dirty="0"/>
              <a:t>&gt;LENGTH  NITEMS=56;</a:t>
            </a:r>
          </a:p>
          <a:p>
            <a:r>
              <a:rPr lang="en-US" sz="1200" dirty="0"/>
              <a:t>&gt;INPUT   NTOT=56, NGROUPS=3, NIDCH=3,</a:t>
            </a:r>
          </a:p>
          <a:p>
            <a:r>
              <a:rPr lang="en-US" sz="1200" dirty="0"/>
              <a:t>         KFNAME='EXAMPL05.DAT', NFNAME='EXAMPL05.DAT';</a:t>
            </a:r>
          </a:p>
          <a:p>
            <a:r>
              <a:rPr lang="en-US" sz="1200" dirty="0"/>
              <a:t>&gt;ITEMS   INUM=(1(1)56), INAME=(M01(1)M56);</a:t>
            </a:r>
          </a:p>
          <a:p>
            <a:r>
              <a:rPr lang="en-US" sz="1200" dirty="0"/>
              <a:t>&gt;TEST    TNAME=MATH;</a:t>
            </a:r>
          </a:p>
          <a:p>
            <a:r>
              <a:rPr lang="en-US" sz="1200" dirty="0"/>
              <a:t>&gt;GROUP1  GNAME='GRADE 4', LENGTH=20, INUM=(1(1)20);     </a:t>
            </a:r>
          </a:p>
          <a:p>
            <a:r>
              <a:rPr lang="en-US" sz="1200" dirty="0"/>
              <a:t>&gt;GROUP2  GNAME='GRADE 6', LENGTH=20, INUM=(19(1)38);    </a:t>
            </a:r>
          </a:p>
          <a:p>
            <a:r>
              <a:rPr lang="en-US" sz="1200" dirty="0"/>
              <a:t>&gt;GROUP3  GNAME='GRADE 8', LENGTH=20, INUM=(37(1)56);    </a:t>
            </a:r>
          </a:p>
          <a:p>
            <a:r>
              <a:rPr lang="en-US" sz="1200" dirty="0"/>
              <a:t>(3A1,1X,I1,1X,56A1)</a:t>
            </a:r>
          </a:p>
          <a:p>
            <a:r>
              <a:rPr lang="en-US" sz="1200" dirty="0"/>
              <a:t>&gt;CALIB   NQPT=51, NORMAL, CYCLE=30, TPRIOR, REFERENCE=2;</a:t>
            </a:r>
          </a:p>
          <a:p>
            <a:r>
              <a:rPr lang="en-US" sz="1200" dirty="0"/>
              <a:t>&gt;SCORE   METHOD=2, IDIST=3, NOPRINT, RSCTYPE=3;</a:t>
            </a:r>
          </a:p>
        </p:txBody>
      </p:sp>
      <p:pic>
        <p:nvPicPr>
          <p:cNvPr id="5" name="Imagem 4">
            <a:extLst>
              <a:ext uri="{FF2B5EF4-FFF2-40B4-BE49-F238E27FC236}">
                <a16:creationId xmlns:a16="http://schemas.microsoft.com/office/drawing/2014/main" id="{86FF127D-5640-4DB5-86CB-A2C8AE2B197A}"/>
              </a:ext>
            </a:extLst>
          </p:cNvPr>
          <p:cNvPicPr>
            <a:picLocks noChangeAspect="1"/>
          </p:cNvPicPr>
          <p:nvPr/>
        </p:nvPicPr>
        <p:blipFill>
          <a:blip r:embed="rId2"/>
          <a:stretch>
            <a:fillRect/>
          </a:stretch>
        </p:blipFill>
        <p:spPr>
          <a:xfrm>
            <a:off x="4489995" y="4005064"/>
            <a:ext cx="4196805" cy="1041130"/>
          </a:xfrm>
          <a:prstGeom prst="rect">
            <a:avLst/>
          </a:prstGeom>
        </p:spPr>
      </p:pic>
      <p:pic>
        <p:nvPicPr>
          <p:cNvPr id="6" name="Imagem 5">
            <a:extLst>
              <a:ext uri="{FF2B5EF4-FFF2-40B4-BE49-F238E27FC236}">
                <a16:creationId xmlns:a16="http://schemas.microsoft.com/office/drawing/2014/main" id="{437464DB-D1AD-4D86-8538-D6A411C33877}"/>
              </a:ext>
            </a:extLst>
          </p:cNvPr>
          <p:cNvPicPr>
            <a:picLocks noChangeAspect="1"/>
          </p:cNvPicPr>
          <p:nvPr/>
        </p:nvPicPr>
        <p:blipFill>
          <a:blip r:embed="rId3"/>
          <a:stretch>
            <a:fillRect/>
          </a:stretch>
        </p:blipFill>
        <p:spPr>
          <a:xfrm>
            <a:off x="4497029" y="5244730"/>
            <a:ext cx="2955291" cy="1157827"/>
          </a:xfrm>
          <a:prstGeom prst="rect">
            <a:avLst/>
          </a:prstGeom>
        </p:spPr>
      </p:pic>
    </p:spTree>
    <p:extLst>
      <p:ext uri="{BB962C8B-B14F-4D97-AF65-F5344CB8AC3E}">
        <p14:creationId xmlns:p14="http://schemas.microsoft.com/office/powerpoint/2010/main" val="530322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3v16PQG0CY6g2POb5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Y..NE4fQEuAK6DgDiwj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Hb7cLU3mkmGNdNMiWPc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dDhkX7gM0yNTa0FGSNllw"/>
</p:tagLst>
</file>

<file path=ppt/tags/tag6.xml><?xml version="1.0" encoding="utf-8"?>
<p:tagLst xmlns:a="http://schemas.openxmlformats.org/drawingml/2006/main" xmlns:r="http://schemas.openxmlformats.org/officeDocument/2006/relationships" xmlns:p="http://schemas.openxmlformats.org/presentationml/2006/main">
  <p:tag name="DVSHAPEID" val="jbkdZuEZ0Onown8fg9IOmK"/>
</p:tagLst>
</file>

<file path=ppt/tags/tag7.xml><?xml version="1.0" encoding="utf-8"?>
<p:tagLst xmlns:a="http://schemas.openxmlformats.org/drawingml/2006/main" xmlns:r="http://schemas.openxmlformats.org/officeDocument/2006/relationships" xmlns:p="http://schemas.openxmlformats.org/presentationml/2006/main">
  <p:tag name="DVSHAPEID" val="jbkdZuEZ0Onown8fg9IOmK"/>
</p:tagLst>
</file>

<file path=ppt/tags/tag8.xml><?xml version="1.0" encoding="utf-8"?>
<p:tagLst xmlns:a="http://schemas.openxmlformats.org/drawingml/2006/main" xmlns:r="http://schemas.openxmlformats.org/officeDocument/2006/relationships" xmlns:p="http://schemas.openxmlformats.org/presentationml/2006/main">
  <p:tag name="DVSECTIONID" val="otb5iYcBF5pNknMcsH5Nw4"/>
</p:tagLst>
</file>

<file path=ppt/tags/tag9.xml><?xml version="1.0" encoding="utf-8"?>
<p:tagLst xmlns:a="http://schemas.openxmlformats.org/drawingml/2006/main" xmlns:r="http://schemas.openxmlformats.org/officeDocument/2006/relationships" xmlns:p="http://schemas.openxmlformats.org/presentationml/2006/main">
  <p:tag name="DVSECTIONID" val="C09QH3iDYSZce3zG7lU8ci"/>
</p:tagLst>
</file>

<file path=ppt/theme/theme1.xml><?xml version="1.0" encoding="utf-8"?>
<a:theme xmlns:a="http://schemas.openxmlformats.org/drawingml/2006/main" name="IntroducingPowerPoint2010">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ducingPowerPoint2010</Template>
  <TotalTime>0</TotalTime>
  <Words>7437</Words>
  <Application>Microsoft Office PowerPoint</Application>
  <PresentationFormat>Apresentação na tela (4:3)</PresentationFormat>
  <Paragraphs>1587</Paragraphs>
  <Slides>107</Slides>
  <Notes>48</Notes>
  <HiddenSlides>0</HiddenSlides>
  <MMClips>0</MMClips>
  <ScaleCrop>false</ScaleCrop>
  <HeadingPairs>
    <vt:vector size="8" baseType="variant">
      <vt:variant>
        <vt:lpstr>Fontes usadas</vt:lpstr>
      </vt:variant>
      <vt:variant>
        <vt:i4>11</vt:i4>
      </vt:variant>
      <vt:variant>
        <vt:lpstr>Tema</vt:lpstr>
      </vt:variant>
      <vt:variant>
        <vt:i4>1</vt:i4>
      </vt:variant>
      <vt:variant>
        <vt:lpstr>Servidores OLE inseridos</vt:lpstr>
      </vt:variant>
      <vt:variant>
        <vt:i4>6</vt:i4>
      </vt:variant>
      <vt:variant>
        <vt:lpstr>Títulos de slides</vt:lpstr>
      </vt:variant>
      <vt:variant>
        <vt:i4>107</vt:i4>
      </vt:variant>
    </vt:vector>
  </HeadingPairs>
  <TitlesOfParts>
    <vt:vector size="125" baseType="lpstr">
      <vt:lpstr>Albertus Extra Bold</vt:lpstr>
      <vt:lpstr>Arial</vt:lpstr>
      <vt:lpstr>Baskerville Old Face</vt:lpstr>
      <vt:lpstr>Calibri</vt:lpstr>
      <vt:lpstr>Cambria Math</vt:lpstr>
      <vt:lpstr>Garamond</vt:lpstr>
      <vt:lpstr>Georgia</vt:lpstr>
      <vt:lpstr>Helvetica-Normal</vt:lpstr>
      <vt:lpstr>Tahoma</vt:lpstr>
      <vt:lpstr>Times New Roman</vt:lpstr>
      <vt:lpstr>Wingdings</vt:lpstr>
      <vt:lpstr>IntroducingPowerPoint2010</vt:lpstr>
      <vt:lpstr>think-cell Slide</vt:lpstr>
      <vt:lpstr>Equação</vt:lpstr>
      <vt:lpstr>Bitmap Image</vt:lpstr>
      <vt:lpstr>Gráfico</vt:lpstr>
      <vt:lpstr>Equation</vt:lpstr>
      <vt:lpstr>Documento</vt:lpstr>
      <vt:lpstr>Atividade Estatística Educacional</vt:lpstr>
      <vt:lpstr>Materiais</vt:lpstr>
      <vt:lpstr>Datas Importantes:</vt:lpstr>
      <vt:lpstr>Índice</vt:lpstr>
      <vt:lpstr>Introdução e Motivação</vt:lpstr>
      <vt:lpstr>Escalas de Inteligência</vt:lpstr>
      <vt:lpstr>A volta...</vt:lpstr>
      <vt:lpstr>Algumas perguntas a fazer...</vt:lpstr>
      <vt:lpstr>Principais aplicações: Indicadores</vt:lpstr>
      <vt:lpstr>Principais Avaliações Educacionais</vt:lpstr>
      <vt:lpstr>Podemos prever a altura de uma pessoa?</vt:lpstr>
      <vt:lpstr>Distribuição do Heliton Tavares (link)</vt:lpstr>
      <vt:lpstr>Apresentação do PowerPoint</vt:lpstr>
      <vt:lpstr>Possíveis escalas a mensurar</vt:lpstr>
      <vt:lpstr>Apresentação do PowerPoint</vt:lpstr>
      <vt:lpstr>Características da TCT</vt:lpstr>
      <vt:lpstr>Medidas de Interesse na TCT</vt:lpstr>
      <vt:lpstr>Nomenclaturas Gerais</vt:lpstr>
      <vt:lpstr>Dificuldade do item i (proporção de acerto)</vt:lpstr>
      <vt:lpstr>Ilustração 1</vt:lpstr>
      <vt:lpstr>Ilustração 2</vt:lpstr>
      <vt:lpstr>Discriminação do Item</vt:lpstr>
      <vt:lpstr>Quais as pontuações de determinam os grupos???</vt:lpstr>
      <vt:lpstr>Proporção de Acerto em cada Grupo</vt:lpstr>
      <vt:lpstr>Parâmetro de Discriminação</vt:lpstr>
      <vt:lpstr>Resumo TCT</vt:lpstr>
      <vt:lpstr>Plotando...</vt:lpstr>
      <vt:lpstr>E agora José ???</vt:lpstr>
      <vt:lpstr>Apresentação do PowerPoint</vt:lpstr>
      <vt:lpstr>Apresentação do PowerPoint</vt:lpstr>
      <vt:lpstr>ItemAN 4.1</vt:lpstr>
      <vt:lpstr>Informações por item</vt:lpstr>
      <vt:lpstr>OUTRAS MEDIDAS</vt:lpstr>
      <vt:lpstr>Correlação Ponto-Bisserial</vt:lpstr>
      <vt:lpstr>Correlação Bisserial</vt:lpstr>
      <vt:lpstr>Fidedignidade</vt:lpstr>
      <vt:lpstr>Erro-Padrão de Medida</vt:lpstr>
      <vt:lpstr>Escore ajustado por Caderno: Normit</vt:lpstr>
      <vt:lpstr>Distribuições de notas em testes</vt:lpstr>
      <vt:lpstr>Apresentação do PowerPoint</vt:lpstr>
      <vt:lpstr>TEORIA DA RESPOSTA AO ITEM (TRI)</vt:lpstr>
      <vt:lpstr>Introdução</vt:lpstr>
      <vt:lpstr>O que queremos estimar?</vt:lpstr>
      <vt:lpstr>Ideias subjacentes:</vt:lpstr>
      <vt:lpstr>Apresentação do PowerPoint</vt:lpstr>
      <vt:lpstr>              Cada Item: Modelo Ogiva Normal de 3 parâmetros</vt:lpstr>
      <vt:lpstr>              Cada Item: Modelo Logístico de 3 parâmetros</vt:lpstr>
      <vt:lpstr>Comparação modelo Normal e Logístico com D=1,702</vt:lpstr>
      <vt:lpstr>Distribuição Normal (média, desvio-padrão)</vt:lpstr>
      <vt:lpstr>Aplicação a dados do ENEM</vt:lpstr>
      <vt:lpstr>Enem</vt:lpstr>
      <vt:lpstr>Apresentação do PowerPoint</vt:lpstr>
      <vt:lpstr>Apresentação do PowerPoint</vt:lpstr>
      <vt:lpstr>Matriz de Curvas Características</vt:lpstr>
      <vt:lpstr>OUTRAS CARACTERÍSTICAS DO ITEM E DO TESTE</vt:lpstr>
      <vt:lpstr>Função de Informação do Item</vt:lpstr>
      <vt:lpstr>Origem: Função de Informação de Fisher</vt:lpstr>
      <vt:lpstr>Apresentação do PowerPoint</vt:lpstr>
      <vt:lpstr>Apresentação do PowerPoint</vt:lpstr>
      <vt:lpstr>Função de Informação do TESTE</vt:lpstr>
      <vt:lpstr>Função de Informação do Teste</vt:lpstr>
      <vt:lpstr>Apresentação do PowerPoint</vt:lpstr>
      <vt:lpstr>Apresentação do PowerPoint</vt:lpstr>
      <vt:lpstr>Bock (1972) considera todas as categorias m de resposta</vt:lpstr>
      <vt:lpstr>        </vt:lpstr>
      <vt:lpstr> Samejima (1969) - categorias ordinais</vt:lpstr>
      <vt:lpstr>Apresentação do PowerPoint</vt:lpstr>
      <vt:lpstr>Apresentação do PowerPoint</vt:lpstr>
      <vt:lpstr>Modelos de Desdobramen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Estimativas das Habilidades</vt:lpstr>
      <vt:lpstr>RECURSOS COMPUTACIONAIS</vt:lpstr>
      <vt:lpstr>Softwares</vt:lpstr>
      <vt:lpstr>BILOG-MG</vt:lpstr>
      <vt:lpstr>BILOG-MG: Base de Dados (dicotômicos)</vt:lpstr>
      <vt:lpstr>Apresentação do PowerPoint</vt:lpstr>
      <vt:lpstr>Sintaxe do BILOG-MG</vt:lpstr>
      <vt:lpstr>Outras situações:</vt:lpstr>
      <vt:lpstr>Apresentação do PowerPoint</vt:lpstr>
      <vt:lpstr>Apresentação do PowerPoint</vt:lpstr>
      <vt:lpstr>     Montagem dos Cadernos de Prova (LP e MAT) </vt:lpstr>
      <vt:lpstr>Representação Espiral:</vt:lpstr>
      <vt:lpstr>MATRIZ DE REFERÊNCIAS</vt:lpstr>
      <vt:lpstr>Perfil da prova</vt:lpstr>
      <vt:lpstr>Apresentação do PowerPoint</vt:lpstr>
      <vt:lpstr>VOLTANDO AO BILOG-MG</vt:lpstr>
      <vt:lpstr>BILOG-MG – EXAMPL01.BLM</vt:lpstr>
      <vt:lpstr>BILOG-MG – EXAMPL02.BLM (DIF)</vt:lpstr>
      <vt:lpstr>BILOG-MG com FORMs – EXAMPL04.BLM</vt:lpstr>
      <vt:lpstr>BILOG-MG com Grupos</vt:lpstr>
      <vt:lpstr>BILOG-MG: Fixando com o PAR</vt:lpstr>
      <vt:lpstr>BILOG-MG -  Itens Calibrados - PRM</vt:lpstr>
      <vt:lpstr>Excluindo item no PRM</vt:lpstr>
      <vt:lpstr>Formato Caderno x Aberto</vt:lpstr>
      <vt:lpstr>MIRT (R Project)</vt:lpstr>
      <vt:lpstr>MIRT</vt:lpstr>
      <vt:lpstr>Parametrização e Ciclos EM</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10-18T15:03:21Z</dcterms:created>
  <dcterms:modified xsi:type="dcterms:W3CDTF">2019-04-15T19:37:46Z</dcterms:modified>
</cp:coreProperties>
</file>